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notesSlides/notesSlide3.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4.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tags/tag219.xml" ContentType="application/vnd.openxmlformats-officedocument.presentationml.tags+xml"/>
  <Override PartName="/ppt/tags/tag220.xml" ContentType="application/vnd.openxmlformats-officedocument.presentationml.tags+xml"/>
  <Override PartName="/ppt/notesSlides/notesSlide5.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6.xml" ContentType="application/vnd.openxmlformats-officedocument.presentationml.notesSlide+xml"/>
  <Override PartName="/ppt/tags/tag223.xml" ContentType="application/vnd.openxmlformats-officedocument.presentationml.tags+xml"/>
  <Override PartName="/ppt/notesSlides/notesSlide7.xml" ContentType="application/vnd.openxmlformats-officedocument.presentationml.notesSlide+xml"/>
  <Override PartName="/ppt/tags/tag224.xml" ContentType="application/vnd.openxmlformats-officedocument.presentationml.tags+xml"/>
  <Override PartName="/ppt/tags/tag225.xml" ContentType="application/vnd.openxmlformats-officedocument.presentationml.tags+xml"/>
  <Override PartName="/ppt/notesSlides/notesSlide8.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285.xml" ContentType="application/vnd.openxmlformats-officedocument.presentationml.tags+xml"/>
  <Override PartName="/ppt/tags/tag286.xml" ContentType="application/vnd.openxmlformats-officedocument.presentationml.tags+xml"/>
  <Override PartName="/ppt/notesSlides/notesSlide9.xml" ContentType="application/vnd.openxmlformats-officedocument.presentationml.notesSlide+xml"/>
  <Override PartName="/ppt/tags/tag287.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17"/>
  </p:notesMasterIdLst>
  <p:handoutMasterIdLst>
    <p:handoutMasterId r:id="rId18"/>
  </p:handoutMasterIdLst>
  <p:sldIdLst>
    <p:sldId id="1983" r:id="rId2"/>
    <p:sldId id="2929" r:id="rId3"/>
    <p:sldId id="2330" r:id="rId4"/>
    <p:sldId id="2944" r:id="rId5"/>
    <p:sldId id="2937" r:id="rId6"/>
    <p:sldId id="2938" r:id="rId7"/>
    <p:sldId id="2935" r:id="rId8"/>
    <p:sldId id="2939" r:id="rId9"/>
    <p:sldId id="2362" r:id="rId10"/>
    <p:sldId id="2354" r:id="rId11"/>
    <p:sldId id="3082" r:id="rId12"/>
    <p:sldId id="2390" r:id="rId13"/>
    <p:sldId id="2401" r:id="rId14"/>
    <p:sldId id="2238" r:id="rId15"/>
    <p:sldId id="2945" r:id="rId16"/>
  </p:sldIdLst>
  <p:sldSz cx="12192000" cy="6858000"/>
  <p:notesSz cx="6881813" cy="9296400"/>
  <p:embeddedFontLst>
    <p:embeddedFont>
      <p:font typeface="Corbel" panose="020B0503020204020204" pitchFamily="34" charset="0"/>
      <p:regular r:id="rId19"/>
      <p:bold r:id="rId20"/>
      <p:italic r:id="rId21"/>
      <p:boldItalic r:id="rId22"/>
    </p:embeddedFont>
    <p:embeddedFont>
      <p:font typeface="Franklin Gothic Book" panose="020B0503020102020204" pitchFamily="34" charset="0"/>
      <p:regular r:id="rId23"/>
      <p:italic r:id="rId24"/>
    </p:embeddedFont>
  </p:embeddedFontLst>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4CC3C012-BC1C-4822-AA23-F1888A33269E}">
          <p14:sldIdLst>
            <p14:sldId id="1983"/>
          </p14:sldIdLst>
        </p14:section>
        <p14:section name="Basics" id="{D5A38796-1A08-486C-BDF2-C9B40ABE8302}">
          <p14:sldIdLst>
            <p14:sldId id="2929"/>
            <p14:sldId id="2330"/>
            <p14:sldId id="2944"/>
            <p14:sldId id="2937"/>
            <p14:sldId id="2938"/>
            <p14:sldId id="2935"/>
            <p14:sldId id="2939"/>
            <p14:sldId id="2362"/>
            <p14:sldId id="2354"/>
            <p14:sldId id="3082"/>
            <p14:sldId id="2390"/>
            <p14:sldId id="2401"/>
            <p14:sldId id="2238"/>
            <p14:sldId id="2945"/>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Wendy Higgins" initials="WH" lastIdx="5" clrIdx="0"/>
  <p:cmAuthor id="2" name="Kees van der Meeren" initials="KvdM" lastIdx="1" clrIdx="1">
    <p:extLst>
      <p:ext uri="{19B8F6BF-5375-455C-9EA6-DF929625EA0E}">
        <p15:presenceInfo xmlns:p15="http://schemas.microsoft.com/office/powerpoint/2012/main" userId="9f3381916005cbc6"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3F3"/>
    <a:srgbClr val="F2FAEA"/>
    <a:srgbClr val="BFBFBF"/>
    <a:srgbClr val="68ABB0"/>
    <a:srgbClr val="22777B"/>
    <a:srgbClr val="408E94"/>
    <a:srgbClr val="7F7F7F"/>
    <a:srgbClr val="A6A6A6"/>
    <a:srgbClr val="E7F5D7"/>
    <a:srgbClr val="CEEAB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352" autoAdjust="0"/>
    <p:restoredTop sz="94125" autoAdjust="0"/>
  </p:normalViewPr>
  <p:slideViewPr>
    <p:cSldViewPr snapToGrid="0">
      <p:cViewPr varScale="1">
        <p:scale>
          <a:sx n="110" d="100"/>
          <a:sy n="110" d="100"/>
        </p:scale>
        <p:origin x="876" y="108"/>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843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font" Target="fonts/font3.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2.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6.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5.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1.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4.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28285537445844E-2"/>
          <c:y val="9.154929577464789E-2"/>
          <c:w val="0.97854342892510837"/>
          <c:h val="0.81690140845070425"/>
        </c:manualLayout>
      </c:layout>
      <c:barChart>
        <c:barDir val="col"/>
        <c:grouping val="stacked"/>
        <c:varyColors val="0"/>
        <c:ser>
          <c:idx val="0"/>
          <c:order val="0"/>
          <c:spPr>
            <a:solidFill>
              <a:schemeClr val="accent2"/>
            </a:solidFill>
            <a:ln>
              <a:noFill/>
            </a:ln>
          </c:spPr>
          <c:invertIfNegative val="0"/>
          <c:val>
            <c:numRef>
              <c:f>Sheet1!$A$1:$AN$1</c:f>
              <c:numCache>
                <c:formatCode>General</c:formatCode>
                <c:ptCount val="40"/>
                <c:pt idx="5">
                  <c:v>-143.54066985645935</c:v>
                </c:pt>
                <c:pt idx="6">
                  <c:v>-183.14599024747605</c:v>
                </c:pt>
                <c:pt idx="7">
                  <c:v>-175.25932081098188</c:v>
                </c:pt>
                <c:pt idx="8">
                  <c:v>-167.71226871864297</c:v>
                </c:pt>
                <c:pt idx="9">
                  <c:v>-120.36765697510262</c:v>
                </c:pt>
                <c:pt idx="10">
                  <c:v>-6.1114651418133112</c:v>
                </c:pt>
                <c:pt idx="11">
                  <c:v>4.329948480141713</c:v>
                </c:pt>
                <c:pt idx="12">
                  <c:v>17.390014168604228</c:v>
                </c:pt>
                <c:pt idx="13">
                  <c:v>18.377060043545647</c:v>
                </c:pt>
                <c:pt idx="14">
                  <c:v>19.295593538708445</c:v>
                </c:pt>
                <c:pt idx="15">
                  <c:v>20.14898524153438</c:v>
                </c:pt>
                <c:pt idx="16">
                  <c:v>20.94045253887586</c:v>
                </c:pt>
                <c:pt idx="17">
                  <c:v>21.673066416886428</c:v>
                </c:pt>
                <c:pt idx="18">
                  <c:v>22.349757961432029</c:v>
                </c:pt>
                <c:pt idx="19">
                  <c:v>22.97332457217637</c:v>
                </c:pt>
                <c:pt idx="20">
                  <c:v>23.546435902916844</c:v>
                </c:pt>
                <c:pt idx="21">
                  <c:v>23.567490773955907</c:v>
                </c:pt>
                <c:pt idx="22">
                  <c:v>23.562366459632166</c:v>
                </c:pt>
                <c:pt idx="23">
                  <c:v>23.532816919335986</c:v>
                </c:pt>
                <c:pt idx="24">
                  <c:v>23.480504643805435</c:v>
                </c:pt>
                <c:pt idx="25">
                  <c:v>23.407005016124341</c:v>
                </c:pt>
                <c:pt idx="26">
                  <c:v>23.376453942744934</c:v>
                </c:pt>
                <c:pt idx="27">
                  <c:v>23.202334475755826</c:v>
                </c:pt>
                <c:pt idx="28">
                  <c:v>23.07391529816292</c:v>
                </c:pt>
                <c:pt idx="29">
                  <c:v>22.929819641682066</c:v>
                </c:pt>
                <c:pt idx="30">
                  <c:v>22.77124608353996</c:v>
                </c:pt>
                <c:pt idx="31">
                  <c:v>22.599328366543755</c:v>
                </c:pt>
                <c:pt idx="32">
                  <c:v>22.415138537292549</c:v>
                </c:pt>
                <c:pt idx="33">
                  <c:v>22.219689939673739</c:v>
                </c:pt>
                <c:pt idx="34">
                  <c:v>22.013940070160917</c:v>
                </c:pt>
                <c:pt idx="35">
                  <c:v>21.798793301139778</c:v>
                </c:pt>
                <c:pt idx="36">
                  <c:v>21.575103478211865</c:v>
                </c:pt>
                <c:pt idx="37">
                  <c:v>21.343676397160937</c:v>
                </c:pt>
                <c:pt idx="38">
                  <c:v>21.105272166013805</c:v>
                </c:pt>
                <c:pt idx="39">
                  <c:v>20.86060745738552</c:v>
                </c:pt>
              </c:numCache>
            </c:numRef>
          </c:val>
          <c:extLst>
            <c:ext xmlns:c16="http://schemas.microsoft.com/office/drawing/2014/chart" uri="{C3380CC4-5D6E-409C-BE32-E72D297353CC}">
              <c16:uniqueId val="{00000000-FECE-40DB-9EEA-6D7E56047B04}"/>
            </c:ext>
          </c:extLst>
        </c:ser>
        <c:dLbls>
          <c:showLegendKey val="0"/>
          <c:showVal val="0"/>
          <c:showCatName val="0"/>
          <c:showSerName val="0"/>
          <c:showPercent val="0"/>
          <c:showBubbleSize val="0"/>
        </c:dLbls>
        <c:gapWidth val="80"/>
        <c:overlap val="100"/>
        <c:axId val="415224720"/>
        <c:axId val="1"/>
      </c:barChart>
      <c:catAx>
        <c:axId val="4152247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415224720"/>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68275005177056E-2"/>
          <c:y val="0.11428571428571428"/>
          <c:w val="0.97846344998964585"/>
          <c:h val="0.77142857142857146"/>
        </c:manualLayout>
      </c:layout>
      <c:barChart>
        <c:barDir val="col"/>
        <c:grouping val="stacked"/>
        <c:varyColors val="0"/>
        <c:ser>
          <c:idx val="0"/>
          <c:order val="0"/>
          <c:spPr>
            <a:solidFill>
              <a:schemeClr val="tx2"/>
            </a:solidFill>
            <a:ln>
              <a:noFill/>
            </a:ln>
          </c:spPr>
          <c:invertIfNegative val="0"/>
          <c:dLbls>
            <c:dLbl>
              <c:idx val="0"/>
              <c:layout>
                <c:manualLayout>
                  <c:x val="0"/>
                  <c:y val="-0.3252747252747252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4DB-4735-90E4-7A3D4A6C6D9E}"/>
                </c:ext>
              </c:extLst>
            </c:dLbl>
            <c:dLbl>
              <c:idx val="5"/>
              <c:layout>
                <c:manualLayout>
                  <c:x val="0"/>
                  <c:y val="-0.189010989010989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4DB-4735-90E4-7A3D4A6C6D9E}"/>
                </c:ext>
              </c:extLst>
            </c:dLbl>
            <c:dLbl>
              <c:idx val="6"/>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4DB-4735-90E4-7A3D4A6C6D9E}"/>
                </c:ext>
              </c:extLst>
            </c:dLbl>
            <c:dLbl>
              <c:idx val="7"/>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4DB-4735-90E4-7A3D4A6C6D9E}"/>
                </c:ext>
              </c:extLst>
            </c:dLbl>
            <c:dLbl>
              <c:idx val="8"/>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4DB-4735-90E4-7A3D4A6C6D9E}"/>
                </c:ext>
              </c:extLst>
            </c:dLbl>
            <c:dLbl>
              <c:idx val="9"/>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4DB-4735-90E4-7A3D4A6C6D9E}"/>
                </c:ext>
              </c:extLst>
            </c:dLbl>
            <c:dLbl>
              <c:idx val="10"/>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4DB-4735-90E4-7A3D4A6C6D9E}"/>
                </c:ext>
              </c:extLst>
            </c:dLbl>
            <c:dLbl>
              <c:idx val="11"/>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4DB-4735-90E4-7A3D4A6C6D9E}"/>
                </c:ext>
              </c:extLst>
            </c:dLbl>
            <c:dLbl>
              <c:idx val="12"/>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4DB-4735-90E4-7A3D4A6C6D9E}"/>
                </c:ext>
              </c:extLst>
            </c:dLbl>
            <c:dLbl>
              <c:idx val="13"/>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4DB-4735-90E4-7A3D4A6C6D9E}"/>
                </c:ext>
              </c:extLst>
            </c:dLbl>
            <c:dLbl>
              <c:idx val="14"/>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4DB-4735-90E4-7A3D4A6C6D9E}"/>
                </c:ext>
              </c:extLst>
            </c:dLbl>
            <c:dLbl>
              <c:idx val="15"/>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4DB-4735-90E4-7A3D4A6C6D9E}"/>
                </c:ext>
              </c:extLst>
            </c:dLbl>
            <c:dLbl>
              <c:idx val="16"/>
              <c:layout>
                <c:manualLayout>
                  <c:x val="0"/>
                  <c:y val="-0.2263736263736263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4DB-4735-90E4-7A3D4A6C6D9E}"/>
                </c:ext>
              </c:extLst>
            </c:dLbl>
            <c:dLbl>
              <c:idx val="17"/>
              <c:layout>
                <c:manualLayout>
                  <c:x val="0"/>
                  <c:y val="-0.1912087912087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4DB-4735-90E4-7A3D4A6C6D9E}"/>
                </c:ext>
              </c:extLst>
            </c:dLbl>
            <c:dLbl>
              <c:idx val="18"/>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4DB-4735-90E4-7A3D4A6C6D9E}"/>
                </c:ext>
              </c:extLst>
            </c:dLbl>
            <c:dLbl>
              <c:idx val="19"/>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4DB-4735-90E4-7A3D4A6C6D9E}"/>
                </c:ext>
              </c:extLst>
            </c:dLbl>
            <c:dLbl>
              <c:idx val="20"/>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4DB-4735-90E4-7A3D4A6C6D9E}"/>
                </c:ext>
              </c:extLst>
            </c:dLbl>
            <c:dLbl>
              <c:idx val="21"/>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4DB-4735-90E4-7A3D4A6C6D9E}"/>
                </c:ext>
              </c:extLst>
            </c:dLbl>
            <c:dLbl>
              <c:idx val="22"/>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4DB-4735-90E4-7A3D4A6C6D9E}"/>
                </c:ext>
              </c:extLst>
            </c:dLbl>
            <c:dLbl>
              <c:idx val="23"/>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4DB-4735-90E4-7A3D4A6C6D9E}"/>
                </c:ext>
              </c:extLst>
            </c:dLbl>
            <c:dLbl>
              <c:idx val="24"/>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4DB-4735-90E4-7A3D4A6C6D9E}"/>
                </c:ext>
              </c:extLst>
            </c:dLbl>
            <c:dLbl>
              <c:idx val="25"/>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4DB-4735-90E4-7A3D4A6C6D9E}"/>
                </c:ext>
              </c:extLst>
            </c:dLbl>
            <c:dLbl>
              <c:idx val="26"/>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4DB-4735-90E4-7A3D4A6C6D9E}"/>
                </c:ext>
              </c:extLst>
            </c:dLbl>
            <c:dLbl>
              <c:idx val="27"/>
              <c:layout>
                <c:manualLayout>
                  <c:x val="0"/>
                  <c:y val="-0.193406593406593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4DB-4735-90E4-7A3D4A6C6D9E}"/>
                </c:ext>
              </c:extLst>
            </c:dLbl>
            <c:dLbl>
              <c:idx val="28"/>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4DB-4735-90E4-7A3D4A6C6D9E}"/>
                </c:ext>
              </c:extLst>
            </c:dLbl>
            <c:dLbl>
              <c:idx val="29"/>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4DB-4735-90E4-7A3D4A6C6D9E}"/>
                </c:ext>
              </c:extLst>
            </c:dLbl>
            <c:dLbl>
              <c:idx val="30"/>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4DB-4735-90E4-7A3D4A6C6D9E}"/>
                </c:ext>
              </c:extLst>
            </c:dLbl>
            <c:dLbl>
              <c:idx val="31"/>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4DB-4735-90E4-7A3D4A6C6D9E}"/>
                </c:ext>
              </c:extLst>
            </c:dLbl>
            <c:dLbl>
              <c:idx val="32"/>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4DB-4735-90E4-7A3D4A6C6D9E}"/>
                </c:ext>
              </c:extLst>
            </c:dLbl>
            <c:dLbl>
              <c:idx val="33"/>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4DB-4735-90E4-7A3D4A6C6D9E}"/>
                </c:ext>
              </c:extLst>
            </c:dLbl>
            <c:dLbl>
              <c:idx val="34"/>
              <c:layout>
                <c:manualLayout>
                  <c:x val="0"/>
                  <c:y val="-0.19560439560439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4DB-4735-90E4-7A3D4A6C6D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110</c:v>
                </c:pt>
                <c:pt idx="1">
                  <c:v>0</c:v>
                </c:pt>
                <c:pt idx="2">
                  <c:v>0</c:v>
                </c:pt>
                <c:pt idx="3">
                  <c:v>0</c:v>
                </c:pt>
                <c:pt idx="4">
                  <c:v>0</c:v>
                </c:pt>
                <c:pt idx="5">
                  <c:v>38.739279902513182</c:v>
                </c:pt>
                <c:pt idx="6">
                  <c:v>38.852512990466785</c:v>
                </c:pt>
                <c:pt idx="7">
                  <c:v>38.970156575332489</c:v>
                </c:pt>
                <c:pt idx="8">
                  <c:v>39.092342972017683</c:v>
                </c:pt>
                <c:pt idx="9">
                  <c:v>39.219208464876928</c:v>
                </c:pt>
                <c:pt idx="10">
                  <c:v>39.350893426795466</c:v>
                </c:pt>
                <c:pt idx="11">
                  <c:v>39.43073161156736</c:v>
                </c:pt>
                <c:pt idx="12">
                  <c:v>39.512842229550373</c:v>
                </c:pt>
                <c:pt idx="13">
                  <c:v>39.597270729408713</c:v>
                </c:pt>
                <c:pt idx="14">
                  <c:v>39.684063468779897</c:v>
                </c:pt>
                <c:pt idx="15">
                  <c:v>39.773267732454158</c:v>
                </c:pt>
                <c:pt idx="16">
                  <c:v>58.292282178268003</c:v>
                </c:pt>
                <c:pt idx="17">
                  <c:v>39.959104719265937</c:v>
                </c:pt>
                <c:pt idx="18">
                  <c:v>40.055836816496942</c:v>
                </c:pt>
                <c:pt idx="19">
                  <c:v>40.155179225188228</c:v>
                </c:pt>
                <c:pt idx="20">
                  <c:v>40.257184151569014</c:v>
                </c:pt>
                <c:pt idx="21">
                  <c:v>40.361904845993081</c:v>
                </c:pt>
                <c:pt idx="22">
                  <c:v>40.469395623821306</c:v>
                </c:pt>
                <c:pt idx="23">
                  <c:v>40.579711886721746</c:v>
                </c:pt>
                <c:pt idx="24">
                  <c:v>40.692910144395881</c:v>
                </c:pt>
                <c:pt idx="25">
                  <c:v>40.809048036739171</c:v>
                </c:pt>
                <c:pt idx="26">
                  <c:v>40.928184356444987</c:v>
                </c:pt>
                <c:pt idx="27">
                  <c:v>41.050379072060586</c:v>
                </c:pt>
                <c:pt idx="28">
                  <c:v>41.175693351504179</c:v>
                </c:pt>
                <c:pt idx="29">
                  <c:v>41.30418958605231</c:v>
                </c:pt>
                <c:pt idx="30">
                  <c:v>41.30418958605231</c:v>
                </c:pt>
                <c:pt idx="31">
                  <c:v>41.30418958605231</c:v>
                </c:pt>
                <c:pt idx="32">
                  <c:v>41.30418958605231</c:v>
                </c:pt>
                <c:pt idx="33">
                  <c:v>41.30418958605231</c:v>
                </c:pt>
                <c:pt idx="34">
                  <c:v>41.30418958605231</c:v>
                </c:pt>
              </c:numCache>
            </c:numRef>
          </c:val>
          <c:extLst>
            <c:ext xmlns:c16="http://schemas.microsoft.com/office/drawing/2014/chart" uri="{C3380CC4-5D6E-409C-BE32-E72D297353CC}">
              <c16:uniqueId val="{0000001F-64DB-4735-90E4-7A3D4A6C6D9E}"/>
            </c:ext>
          </c:extLst>
        </c:ser>
        <c:dLbls>
          <c:showLegendKey val="0"/>
          <c:showVal val="0"/>
          <c:showCatName val="0"/>
          <c:showSerName val="0"/>
          <c:showPercent val="0"/>
          <c:showBubbleSize val="0"/>
        </c:dLbls>
        <c:gapWidth val="80"/>
        <c:overlap val="100"/>
        <c:axId val="156351967"/>
        <c:axId val="1"/>
      </c:barChart>
      <c:catAx>
        <c:axId val="1563519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42.86661380446364"/>
          <c:min val="-59.449415594860056"/>
        </c:scaling>
        <c:delete val="1"/>
        <c:axPos val="l"/>
        <c:numFmt formatCode="General" sourceLinked="1"/>
        <c:majorTickMark val="out"/>
        <c:minorTickMark val="none"/>
        <c:tickLblPos val="nextTo"/>
        <c:crossAx val="15635196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8167115902965E-2"/>
          <c:y val="0.17017828200972449"/>
          <c:w val="0.97843665768194066"/>
          <c:h val="0.74554294975688817"/>
        </c:manualLayout>
      </c:layout>
      <c:barChart>
        <c:barDir val="col"/>
        <c:grouping val="stacked"/>
        <c:varyColors val="0"/>
        <c:ser>
          <c:idx val="0"/>
          <c:order val="0"/>
          <c:spPr>
            <a:solidFill>
              <a:schemeClr val="tx2"/>
            </a:solidFill>
            <a:ln>
              <a:noFill/>
            </a:ln>
          </c:spPr>
          <c:invertIfNegative val="0"/>
          <c:dLbls>
            <c:dLbl>
              <c:idx val="5"/>
              <c:layout>
                <c:manualLayout>
                  <c:x val="0"/>
                  <c:y val="-0.1572123176661264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9E8-4BDF-A9EB-D0CC61E793B3}"/>
                </c:ext>
              </c:extLst>
            </c:dLbl>
            <c:dLbl>
              <c:idx val="6"/>
              <c:layout>
                <c:manualLayout>
                  <c:x val="0"/>
                  <c:y val="-0.1782820097244732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9E8-4BDF-A9EB-D0CC61E793B3}"/>
                </c:ext>
              </c:extLst>
            </c:dLbl>
            <c:dLbl>
              <c:idx val="7"/>
              <c:layout>
                <c:manualLayout>
                  <c:x val="0"/>
                  <c:y val="-0.2058346839546191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9E8-4BDF-A9EB-D0CC61E793B3}"/>
                </c:ext>
              </c:extLst>
            </c:dLbl>
            <c:dLbl>
              <c:idx val="8"/>
              <c:layout>
                <c:manualLayout>
                  <c:x val="0"/>
                  <c:y val="-0.2106969205834683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9E8-4BDF-A9EB-D0CC61E793B3}"/>
                </c:ext>
              </c:extLst>
            </c:dLbl>
            <c:dLbl>
              <c:idx val="9"/>
              <c:layout>
                <c:manualLayout>
                  <c:x val="0"/>
                  <c:y val="-0.2155591572123176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9E8-4BDF-A9EB-D0CC61E793B3}"/>
                </c:ext>
              </c:extLst>
            </c:dLbl>
            <c:dLbl>
              <c:idx val="10"/>
              <c:layout>
                <c:manualLayout>
                  <c:x val="0"/>
                  <c:y val="-0.2220421393841166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9E8-4BDF-A9EB-D0CC61E793B3}"/>
                </c:ext>
              </c:extLst>
            </c:dLbl>
            <c:dLbl>
              <c:idx val="11"/>
              <c:layout>
                <c:manualLayout>
                  <c:x val="0"/>
                  <c:y val="-0.225283630470016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9E8-4BDF-A9EB-D0CC61E793B3}"/>
                </c:ext>
              </c:extLst>
            </c:dLbl>
            <c:dLbl>
              <c:idx val="12"/>
              <c:layout>
                <c:manualLayout>
                  <c:x val="0"/>
                  <c:y val="-0.2317666126418152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9E8-4BDF-A9EB-D0CC61E793B3}"/>
                </c:ext>
              </c:extLst>
            </c:dLbl>
            <c:dLbl>
              <c:idx val="13"/>
              <c:layout>
                <c:manualLayout>
                  <c:x val="0"/>
                  <c:y val="-0.2366288492706644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9E8-4BDF-A9EB-D0CC61E793B3}"/>
                </c:ext>
              </c:extLst>
            </c:dLbl>
            <c:dLbl>
              <c:idx val="14"/>
              <c:layout>
                <c:manualLayout>
                  <c:x val="0"/>
                  <c:y val="-0.2431118314424635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9E8-4BDF-A9EB-D0CC61E793B3}"/>
                </c:ext>
              </c:extLst>
            </c:dLbl>
            <c:dLbl>
              <c:idx val="15"/>
              <c:layout>
                <c:manualLayout>
                  <c:x val="0"/>
                  <c:y val="-0.2512155591572123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9E8-4BDF-A9EB-D0CC61E793B3}"/>
                </c:ext>
              </c:extLst>
            </c:dLbl>
            <c:dLbl>
              <c:idx val="16"/>
              <c:layout>
                <c:manualLayout>
                  <c:x val="0"/>
                  <c:y val="-0.2544570502431118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9E8-4BDF-A9EB-D0CC61E793B3}"/>
                </c:ext>
              </c:extLst>
            </c:dLbl>
            <c:dLbl>
              <c:idx val="17"/>
              <c:layout>
                <c:manualLayout>
                  <c:x val="0"/>
                  <c:y val="-0.25931928687196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9E8-4BDF-A9EB-D0CC61E793B3}"/>
                </c:ext>
              </c:extLst>
            </c:dLbl>
            <c:dLbl>
              <c:idx val="18"/>
              <c:layout>
                <c:manualLayout>
                  <c:x val="0"/>
                  <c:y val="-0.2641815235008103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9E8-4BDF-A9EB-D0CC61E793B3}"/>
                </c:ext>
              </c:extLst>
            </c:dLbl>
            <c:dLbl>
              <c:idx val="19"/>
              <c:layout>
                <c:manualLayout>
                  <c:x val="0"/>
                  <c:y val="-0.270664505672609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9E8-4BDF-A9EB-D0CC61E793B3}"/>
                </c:ext>
              </c:extLst>
            </c:dLbl>
            <c:dLbl>
              <c:idx val="20"/>
              <c:layout>
                <c:manualLayout>
                  <c:x val="0"/>
                  <c:y val="-0.2755267423014586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9E8-4BDF-A9EB-D0CC61E793B3}"/>
                </c:ext>
              </c:extLst>
            </c:dLbl>
            <c:dLbl>
              <c:idx val="21"/>
              <c:layout>
                <c:manualLayout>
                  <c:x val="0"/>
                  <c:y val="-0.28200972447325767"/>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9E8-4BDF-A9EB-D0CC61E793B3}"/>
                </c:ext>
              </c:extLst>
            </c:dLbl>
            <c:dLbl>
              <c:idx val="22"/>
              <c:layout>
                <c:manualLayout>
                  <c:x val="0"/>
                  <c:y val="-0.2868719611021069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9E8-4BDF-A9EB-D0CC61E793B3}"/>
                </c:ext>
              </c:extLst>
            </c:dLbl>
            <c:dLbl>
              <c:idx val="23"/>
              <c:layout>
                <c:manualLayout>
                  <c:x val="0"/>
                  <c:y val="-0.2949756888168557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9E8-4BDF-A9EB-D0CC61E793B3}"/>
                </c:ext>
              </c:extLst>
            </c:dLbl>
            <c:dLbl>
              <c:idx val="24"/>
              <c:layout>
                <c:manualLayout>
                  <c:x val="0"/>
                  <c:y val="-0.2998379254457050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9E8-4BDF-A9EB-D0CC61E793B3}"/>
                </c:ext>
              </c:extLst>
            </c:dLbl>
            <c:dLbl>
              <c:idx val="25"/>
              <c:layout>
                <c:manualLayout>
                  <c:x val="0"/>
                  <c:y val="-0.3063209076175040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9E8-4BDF-A9EB-D0CC61E793B3}"/>
                </c:ext>
              </c:extLst>
            </c:dLbl>
            <c:dLbl>
              <c:idx val="26"/>
              <c:layout>
                <c:manualLayout>
                  <c:x val="0"/>
                  <c:y val="-0.3128038897893030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9E8-4BDF-A9EB-D0CC61E793B3}"/>
                </c:ext>
              </c:extLst>
            </c:dLbl>
            <c:dLbl>
              <c:idx val="27"/>
              <c:layout>
                <c:manualLayout>
                  <c:x val="0"/>
                  <c:y val="-0.319286871961102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59E8-4BDF-A9EB-D0CC61E793B3}"/>
                </c:ext>
              </c:extLst>
            </c:dLbl>
            <c:dLbl>
              <c:idx val="28"/>
              <c:layout>
                <c:manualLayout>
                  <c:x val="0"/>
                  <c:y val="-0.325769854132901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59E8-4BDF-A9EB-D0CC61E793B3}"/>
                </c:ext>
              </c:extLst>
            </c:dLbl>
            <c:dLbl>
              <c:idx val="29"/>
              <c:layout>
                <c:manualLayout>
                  <c:x val="0"/>
                  <c:y val="-0.3338735818476499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59E8-4BDF-A9EB-D0CC61E793B3}"/>
                </c:ext>
              </c:extLst>
            </c:dLbl>
            <c:dLbl>
              <c:idx val="30"/>
              <c:layout>
                <c:manualLayout>
                  <c:x val="0"/>
                  <c:y val="-0.3403565640194489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59E8-4BDF-A9EB-D0CC61E793B3}"/>
                </c:ext>
              </c:extLst>
            </c:dLbl>
            <c:dLbl>
              <c:idx val="31"/>
              <c:layout>
                <c:manualLayout>
                  <c:x val="0"/>
                  <c:y val="-0.3484602917341977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59E8-4BDF-A9EB-D0CC61E793B3}"/>
                </c:ext>
              </c:extLst>
            </c:dLbl>
            <c:dLbl>
              <c:idx val="32"/>
              <c:layout>
                <c:manualLayout>
                  <c:x val="0"/>
                  <c:y val="-0.3581847649918962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59E8-4BDF-A9EB-D0CC61E793B3}"/>
                </c:ext>
              </c:extLst>
            </c:dLbl>
            <c:dLbl>
              <c:idx val="33"/>
              <c:layout>
                <c:manualLayout>
                  <c:x val="0"/>
                  <c:y val="-0.3646677471636953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59E8-4BDF-A9EB-D0CC61E793B3}"/>
                </c:ext>
              </c:extLst>
            </c:dLbl>
            <c:dLbl>
              <c:idx val="34"/>
              <c:layout>
                <c:manualLayout>
                  <c:x val="0"/>
                  <c:y val="-0.3727714748784440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59E8-4BDF-A9EB-D0CC61E793B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0</c:v>
                </c:pt>
                <c:pt idx="1">
                  <c:v>0</c:v>
                </c:pt>
                <c:pt idx="2">
                  <c:v>0</c:v>
                </c:pt>
                <c:pt idx="3">
                  <c:v>0</c:v>
                </c:pt>
                <c:pt idx="4">
                  <c:v>0</c:v>
                </c:pt>
                <c:pt idx="5">
                  <c:v>35.776960835099729</c:v>
                </c:pt>
                <c:pt idx="6">
                  <c:v>45.794509868927662</c:v>
                </c:pt>
                <c:pt idx="7">
                  <c:v>59.532862829605953</c:v>
                </c:pt>
                <c:pt idx="8">
                  <c:v>61.914177342790197</c:v>
                </c:pt>
                <c:pt idx="9">
                  <c:v>64.390744436501805</c:v>
                </c:pt>
                <c:pt idx="10">
                  <c:v>66.966374213961871</c:v>
                </c:pt>
                <c:pt idx="11">
                  <c:v>69.645029182520346</c:v>
                </c:pt>
                <c:pt idx="12">
                  <c:v>72.430830349821164</c:v>
                </c:pt>
                <c:pt idx="13">
                  <c:v>75.328063563814013</c:v>
                </c:pt>
                <c:pt idx="14">
                  <c:v>78.341186106366578</c:v>
                </c:pt>
                <c:pt idx="15">
                  <c:v>81.474833550621227</c:v>
                </c:pt>
                <c:pt idx="16">
                  <c:v>83.919078557139869</c:v>
                </c:pt>
                <c:pt idx="17">
                  <c:v>86.436650913854066</c:v>
                </c:pt>
                <c:pt idx="18">
                  <c:v>89.029750441269684</c:v>
                </c:pt>
                <c:pt idx="19">
                  <c:v>91.700642954507785</c:v>
                </c:pt>
                <c:pt idx="20">
                  <c:v>94.451662243143019</c:v>
                </c:pt>
                <c:pt idx="21">
                  <c:v>97.285212110437314</c:v>
                </c:pt>
                <c:pt idx="22">
                  <c:v>100.20376847375044</c:v>
                </c:pt>
                <c:pt idx="23">
                  <c:v>103.20988152796295</c:v>
                </c:pt>
                <c:pt idx="24">
                  <c:v>106.30617797380184</c:v>
                </c:pt>
                <c:pt idx="25">
                  <c:v>109.4953633130159</c:v>
                </c:pt>
                <c:pt idx="26">
                  <c:v>112.78022421240638</c:v>
                </c:pt>
                <c:pt idx="27">
                  <c:v>116.16363093877857</c:v>
                </c:pt>
                <c:pt idx="28">
                  <c:v>119.64853986694193</c:v>
                </c:pt>
                <c:pt idx="29">
                  <c:v>123.23799606295019</c:v>
                </c:pt>
                <c:pt idx="30">
                  <c:v>126.93513594483869</c:v>
                </c:pt>
                <c:pt idx="31">
                  <c:v>130.74319002318384</c:v>
                </c:pt>
                <c:pt idx="32">
                  <c:v>134.66548572387939</c:v>
                </c:pt>
                <c:pt idx="33">
                  <c:v>138.70545029559577</c:v>
                </c:pt>
                <c:pt idx="34">
                  <c:v>142.86661380446364</c:v>
                </c:pt>
              </c:numCache>
            </c:numRef>
          </c:val>
          <c:extLst>
            <c:ext xmlns:c16="http://schemas.microsoft.com/office/drawing/2014/chart" uri="{C3380CC4-5D6E-409C-BE32-E72D297353CC}">
              <c16:uniqueId val="{0000001E-59E8-4BDF-A9EB-D0CC61E793B3}"/>
            </c:ext>
          </c:extLst>
        </c:ser>
        <c:dLbls>
          <c:showLegendKey val="0"/>
          <c:showVal val="0"/>
          <c:showCatName val="0"/>
          <c:showSerName val="0"/>
          <c:showPercent val="0"/>
          <c:showBubbleSize val="0"/>
        </c:dLbls>
        <c:gapWidth val="80"/>
        <c:overlap val="100"/>
        <c:axId val="35576607"/>
        <c:axId val="1"/>
      </c:barChart>
      <c:catAx>
        <c:axId val="355766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42.86661380446364"/>
          <c:min val="-42.440869955380094"/>
        </c:scaling>
        <c:delete val="1"/>
        <c:axPos val="l"/>
        <c:numFmt formatCode="General" sourceLinked="1"/>
        <c:majorTickMark val="out"/>
        <c:minorTickMark val="none"/>
        <c:tickLblPos val="nextTo"/>
        <c:crossAx val="35576607"/>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360774818401937E-2"/>
          <c:y val="0.16984924623115577"/>
          <c:w val="0.85278450363196123"/>
          <c:h val="0.66733668341708541"/>
        </c:manualLayout>
      </c:layout>
      <c:scatterChart>
        <c:scatterStyle val="lineMarker"/>
        <c:varyColors val="0"/>
        <c:ser>
          <c:idx val="0"/>
          <c:order val="0"/>
          <c:spPr>
            <a:ln w="19050" algn="ctr">
              <a:solidFill>
                <a:schemeClr val="accent2"/>
              </a:solidFill>
              <a:prstDash val="solid"/>
            </a:ln>
          </c:spPr>
          <c:marker>
            <c:symbol val="none"/>
          </c:marker>
          <c:dPt>
            <c:idx val="0"/>
            <c:marker>
              <c:symbol val="circle"/>
              <c:size val="4"/>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0-E0EC-4ACE-BF7C-C7F2A26BFD00}"/>
              </c:ext>
            </c:extLst>
          </c:dPt>
          <c:dPt>
            <c:idx val="1"/>
            <c:marker>
              <c:symbol val="circle"/>
              <c:size val="4"/>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1-E0EC-4ACE-BF7C-C7F2A26BFD00}"/>
              </c:ext>
            </c:extLst>
          </c:dPt>
          <c:dPt>
            <c:idx val="2"/>
            <c:marker>
              <c:symbol val="circle"/>
              <c:size val="4"/>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2-E0EC-4ACE-BF7C-C7F2A26BFD00}"/>
              </c:ext>
            </c:extLst>
          </c:dPt>
          <c:dPt>
            <c:idx val="3"/>
            <c:marker>
              <c:symbol val="circle"/>
              <c:size val="4"/>
              <c:spPr>
                <a:solidFill>
                  <a:schemeClr val="accent2"/>
                </a:solidFill>
                <a:ln w="9525" algn="ctr">
                  <a:solidFill>
                    <a:schemeClr val="accent2"/>
                  </a:solidFill>
                  <a:prstDash val="solid"/>
                </a:ln>
              </c:spPr>
            </c:marker>
            <c:bubble3D val="0"/>
            <c:extLst>
              <c:ext xmlns:c16="http://schemas.microsoft.com/office/drawing/2014/chart" uri="{C3380CC4-5D6E-409C-BE32-E72D297353CC}">
                <c16:uniqueId val="{00000003-E0EC-4ACE-BF7C-C7F2A26BFD00}"/>
              </c:ext>
            </c:extLst>
          </c:dPt>
          <c:dLbls>
            <c:dLbl>
              <c:idx val="0"/>
              <c:layout>
                <c:manualLayout>
                  <c:x val="3.1961259079903145E-2"/>
                  <c:y val="-0.12060301507537688"/>
                </c:manualLayout>
              </c:layout>
              <c:numFmt formatCode="#,##0;&quot;-&quot;#,##0" sourceLinked="0"/>
              <c:spPr>
                <a:noFill/>
                <a:ln>
                  <a:noFill/>
                </a:ln>
              </c:spPr>
              <c:txPr>
                <a:bodyPr wrap="none"/>
                <a:lstStyle/>
                <a:p>
                  <a:pPr>
                    <a:defRPr sz="9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0EC-4ACE-BF7C-C7F2A26BFD00}"/>
                </c:ext>
              </c:extLst>
            </c:dLbl>
            <c:dLbl>
              <c:idx val="1"/>
              <c:layout>
                <c:manualLayout>
                  <c:x val="-4.3583535108958835E-2"/>
                  <c:y val="-0.11256281407035176"/>
                </c:manualLayout>
              </c:layout>
              <c:numFmt formatCode="#,##0;&quot;-&quot;#,##0" sourceLinked="0"/>
              <c:spPr>
                <a:noFill/>
                <a:ln>
                  <a:noFill/>
                </a:ln>
              </c:spPr>
              <c:txPr>
                <a:bodyPr wrap="none"/>
                <a:lstStyle/>
                <a:p>
                  <a:pPr>
                    <a:defRPr sz="9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0EC-4ACE-BF7C-C7F2A26BFD00}"/>
                </c:ext>
              </c:extLst>
            </c:dLbl>
            <c:dLbl>
              <c:idx val="2"/>
              <c:layout>
                <c:manualLayout>
                  <c:x val="-4.3583535108958835E-2"/>
                  <c:y val="-0.11256281407035176"/>
                </c:manualLayout>
              </c:layout>
              <c:numFmt formatCode="#,##0;&quot;-&quot;#,##0" sourceLinked="0"/>
              <c:spPr>
                <a:noFill/>
                <a:ln>
                  <a:noFill/>
                </a:ln>
              </c:spPr>
              <c:txPr>
                <a:bodyPr wrap="none"/>
                <a:lstStyle/>
                <a:p>
                  <a:pPr>
                    <a:defRPr sz="9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0EC-4ACE-BF7C-C7F2A26BFD00}"/>
                </c:ext>
              </c:extLst>
            </c:dLbl>
            <c:dLbl>
              <c:idx val="3"/>
              <c:layout>
                <c:manualLayout>
                  <c:x val="-4.3583535108958835E-2"/>
                  <c:y val="-0.11256281407035176"/>
                </c:manualLayout>
              </c:layout>
              <c:numFmt formatCode="#,##0;&quot;-&quot;#,##0" sourceLinked="0"/>
              <c:spPr>
                <a:noFill/>
                <a:ln>
                  <a:noFill/>
                </a:ln>
              </c:spPr>
              <c:txPr>
                <a:bodyPr wrap="none"/>
                <a:lstStyle/>
                <a:p>
                  <a:pPr>
                    <a:defRPr sz="9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0EC-4ACE-BF7C-C7F2A26BFD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D$1</c:f>
              <c:numCache>
                <c:formatCode>General</c:formatCode>
                <c:ptCount val="4"/>
                <c:pt idx="0">
                  <c:v>2030</c:v>
                </c:pt>
                <c:pt idx="1">
                  <c:v>2040</c:v>
                </c:pt>
                <c:pt idx="2">
                  <c:v>2050</c:v>
                </c:pt>
                <c:pt idx="3">
                  <c:v>2059</c:v>
                </c:pt>
              </c:numCache>
            </c:numRef>
          </c:xVal>
          <c:yVal>
            <c:numRef>
              <c:f>Sheet1!$A$2:$D$2</c:f>
              <c:numCache>
                <c:formatCode>General</c:formatCode>
                <c:ptCount val="4"/>
                <c:pt idx="0">
                  <c:v>119</c:v>
                </c:pt>
                <c:pt idx="1">
                  <c:v>270</c:v>
                </c:pt>
                <c:pt idx="2">
                  <c:v>363</c:v>
                </c:pt>
                <c:pt idx="3">
                  <c:v>473</c:v>
                </c:pt>
              </c:numCache>
            </c:numRef>
          </c:yVal>
          <c:smooth val="0"/>
          <c:extLst>
            <c:ext xmlns:c16="http://schemas.microsoft.com/office/drawing/2014/chart" uri="{C3380CC4-5D6E-409C-BE32-E72D297353CC}">
              <c16:uniqueId val="{00000004-E0EC-4ACE-BF7C-C7F2A26BFD00}"/>
            </c:ext>
          </c:extLst>
        </c:ser>
        <c:dLbls>
          <c:showLegendKey val="0"/>
          <c:showVal val="0"/>
          <c:showCatName val="0"/>
          <c:showSerName val="0"/>
          <c:showPercent val="0"/>
          <c:showBubbleSize val="0"/>
        </c:dLbls>
        <c:axId val="370004687"/>
        <c:axId val="1"/>
      </c:scatterChart>
      <c:valAx>
        <c:axId val="370004687"/>
        <c:scaling>
          <c:orientation val="minMax"/>
          <c:max val="2060"/>
          <c:min val="2030"/>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900" b="1">
                <a:solidFill>
                  <a:schemeClr val="tx1"/>
                </a:solidFill>
                <a:latin typeface="+mn-lt"/>
                <a:ea typeface="+mn-ea"/>
                <a:cs typeface="+mn-cs"/>
                <a:sym typeface="+mn-lt"/>
              </a:defRPr>
            </a:pPr>
            <a:endParaRPr lang="en-NL"/>
          </a:p>
        </c:txPr>
        <c:crossAx val="1"/>
        <c:crosses val="min"/>
        <c:crossBetween val="midCat"/>
        <c:majorUnit val="10"/>
      </c:valAx>
      <c:valAx>
        <c:axId val="1"/>
        <c:scaling>
          <c:orientation val="minMax"/>
          <c:max val="473"/>
          <c:min val="0"/>
        </c:scaling>
        <c:delete val="1"/>
        <c:axPos val="l"/>
        <c:numFmt formatCode="General" sourceLinked="1"/>
        <c:majorTickMark val="out"/>
        <c:minorTickMark val="none"/>
        <c:tickLblPos val="nextTo"/>
        <c:crossAx val="370004687"/>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464915197871639E-3"/>
          <c:y val="0.21384928716904278"/>
          <c:w val="0.98270701696042573"/>
          <c:h val="0.68024439918533608"/>
        </c:manualLayout>
      </c:layout>
      <c:barChart>
        <c:barDir val="col"/>
        <c:grouping val="stacked"/>
        <c:varyColors val="0"/>
        <c:ser>
          <c:idx val="0"/>
          <c:order val="0"/>
          <c:spPr>
            <a:solidFill>
              <a:schemeClr val="tx2"/>
            </a:solidFill>
            <a:ln>
              <a:noFill/>
            </a:ln>
          </c:spPr>
          <c:invertIfNegative val="0"/>
          <c:dLbls>
            <c:dLbl>
              <c:idx val="5"/>
              <c:layout>
                <c:manualLayout>
                  <c:x val="0"/>
                  <c:y val="-0.221995926680244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442-441E-BE76-9C9A4E036287}"/>
                </c:ext>
              </c:extLst>
            </c:dLbl>
            <c:dLbl>
              <c:idx val="6"/>
              <c:layout>
                <c:manualLayout>
                  <c:x val="0"/>
                  <c:y val="-0.2525458248472505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442-441E-BE76-9C9A4E036287}"/>
                </c:ext>
              </c:extLst>
            </c:dLbl>
            <c:dLbl>
              <c:idx val="7"/>
              <c:layout>
                <c:manualLayout>
                  <c:x val="0"/>
                  <c:y val="-0.2932790224032586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442-441E-BE76-9C9A4E036287}"/>
                </c:ext>
              </c:extLst>
            </c:dLbl>
            <c:dLbl>
              <c:idx val="8"/>
              <c:layout>
                <c:manualLayout>
                  <c:x val="0"/>
                  <c:y val="-0.2973523421588594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442-441E-BE76-9C9A4E036287}"/>
                </c:ext>
              </c:extLst>
            </c:dLbl>
            <c:dLbl>
              <c:idx val="9"/>
              <c:layout>
                <c:manualLayout>
                  <c:x val="0"/>
                  <c:y val="-0.3034623217922606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442-441E-BE76-9C9A4E036287}"/>
                </c:ext>
              </c:extLst>
            </c:dLbl>
            <c:dLbl>
              <c:idx val="10"/>
              <c:layout>
                <c:manualLayout>
                  <c:x val="0"/>
                  <c:y val="-0.3095723014256618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442-441E-BE76-9C9A4E036287}"/>
                </c:ext>
              </c:extLst>
            </c:dLbl>
            <c:dLbl>
              <c:idx val="11"/>
              <c:layout>
                <c:manualLayout>
                  <c:x val="0"/>
                  <c:y val="-0.3156822810590631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442-441E-BE76-9C9A4E036287}"/>
                </c:ext>
              </c:extLst>
            </c:dLbl>
            <c:dLbl>
              <c:idx val="12"/>
              <c:layout>
                <c:manualLayout>
                  <c:x val="0"/>
                  <c:y val="-0.321792260692464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442-441E-BE76-9C9A4E036287}"/>
                </c:ext>
              </c:extLst>
            </c:dLbl>
            <c:dLbl>
              <c:idx val="13"/>
              <c:layout>
                <c:manualLayout>
                  <c:x val="0"/>
                  <c:y val="-0.3279022403258655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442-441E-BE76-9C9A4E036287}"/>
                </c:ext>
              </c:extLst>
            </c:dLbl>
            <c:dLbl>
              <c:idx val="14"/>
              <c:layout>
                <c:manualLayout>
                  <c:x val="0"/>
                  <c:y val="-0.3360488798370672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442-441E-BE76-9C9A4E036287}"/>
                </c:ext>
              </c:extLst>
            </c:dLbl>
            <c:dLbl>
              <c:idx val="15"/>
              <c:layout>
                <c:manualLayout>
                  <c:x val="0"/>
                  <c:y val="-0.3401221995926680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442-441E-BE76-9C9A4E036287}"/>
                </c:ext>
              </c:extLst>
            </c:dLbl>
            <c:dLbl>
              <c:idx val="16"/>
              <c:layout>
                <c:manualLayout>
                  <c:x val="0"/>
                  <c:y val="-0.3462321792260692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442-441E-BE76-9C9A4E036287}"/>
                </c:ext>
              </c:extLst>
            </c:dLbl>
            <c:dLbl>
              <c:idx val="17"/>
              <c:layout>
                <c:manualLayout>
                  <c:x val="0"/>
                  <c:y val="-0.352342158859470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442-441E-BE76-9C9A4E036287}"/>
                </c:ext>
              </c:extLst>
            </c:dLbl>
            <c:dLbl>
              <c:idx val="18"/>
              <c:layout>
                <c:manualLayout>
                  <c:x val="0"/>
                  <c:y val="-0.354378818737270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442-441E-BE76-9C9A4E036287}"/>
                </c:ext>
              </c:extLst>
            </c:dLbl>
            <c:dLbl>
              <c:idx val="19"/>
              <c:layout>
                <c:manualLayout>
                  <c:x val="0"/>
                  <c:y val="-0.36048879837067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442-441E-BE76-9C9A4E036287}"/>
                </c:ext>
              </c:extLst>
            </c:dLbl>
            <c:dLbl>
              <c:idx val="20"/>
              <c:layout>
                <c:manualLayout>
                  <c:x val="0"/>
                  <c:y val="-0.3645621181262729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442-441E-BE76-9C9A4E036287}"/>
                </c:ext>
              </c:extLst>
            </c:dLbl>
            <c:dLbl>
              <c:idx val="21"/>
              <c:layout>
                <c:manualLayout>
                  <c:x val="0"/>
                  <c:y val="-0.3706720977596741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442-441E-BE76-9C9A4E036287}"/>
                </c:ext>
              </c:extLst>
            </c:dLbl>
            <c:dLbl>
              <c:idx val="22"/>
              <c:layout>
                <c:manualLayout>
                  <c:x val="0"/>
                  <c:y val="-0.3747454175152749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442-441E-BE76-9C9A4E036287}"/>
                </c:ext>
              </c:extLst>
            </c:dLbl>
            <c:dLbl>
              <c:idx val="23"/>
              <c:layout>
                <c:manualLayout>
                  <c:x val="0"/>
                  <c:y val="-0.3828920570264765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442-441E-BE76-9C9A4E036287}"/>
                </c:ext>
              </c:extLst>
            </c:dLbl>
            <c:dLbl>
              <c:idx val="24"/>
              <c:layout>
                <c:manualLayout>
                  <c:x val="0"/>
                  <c:y val="-0.3869653767820773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442-441E-BE76-9C9A4E036287}"/>
                </c:ext>
              </c:extLst>
            </c:dLbl>
            <c:dLbl>
              <c:idx val="25"/>
              <c:layout>
                <c:manualLayout>
                  <c:x val="0"/>
                  <c:y val="-0.391038696537678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442-441E-BE76-9C9A4E036287}"/>
                </c:ext>
              </c:extLst>
            </c:dLbl>
            <c:dLbl>
              <c:idx val="26"/>
              <c:layout>
                <c:manualLayout>
                  <c:x val="0"/>
                  <c:y val="-0.397148676171079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442-441E-BE76-9C9A4E036287}"/>
                </c:ext>
              </c:extLst>
            </c:dLbl>
            <c:dLbl>
              <c:idx val="27"/>
              <c:layout>
                <c:manualLayout>
                  <c:x val="0"/>
                  <c:y val="-0.4052953156822810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A442-441E-BE76-9C9A4E036287}"/>
                </c:ext>
              </c:extLst>
            </c:dLbl>
            <c:dLbl>
              <c:idx val="28"/>
              <c:layout>
                <c:manualLayout>
                  <c:x val="0"/>
                  <c:y val="-0.411405295315682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442-441E-BE76-9C9A4E036287}"/>
                </c:ext>
              </c:extLst>
            </c:dLbl>
            <c:dLbl>
              <c:idx val="29"/>
              <c:layout>
                <c:manualLayout>
                  <c:x val="0"/>
                  <c:y val="-0.4175152749490835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442-441E-BE76-9C9A4E036287}"/>
                </c:ext>
              </c:extLst>
            </c:dLbl>
            <c:dLbl>
              <c:idx val="30"/>
              <c:layout>
                <c:manualLayout>
                  <c:x val="0"/>
                  <c:y val="-0.4236252545824847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442-441E-BE76-9C9A4E036287}"/>
                </c:ext>
              </c:extLst>
            </c:dLbl>
            <c:dLbl>
              <c:idx val="31"/>
              <c:layout>
                <c:manualLayout>
                  <c:x val="0"/>
                  <c:y val="-0.42973523421588594"/>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442-441E-BE76-9C9A4E036287}"/>
                </c:ext>
              </c:extLst>
            </c:dLbl>
            <c:dLbl>
              <c:idx val="32"/>
              <c:layout>
                <c:manualLayout>
                  <c:x val="0"/>
                  <c:y val="-0.4338085539714867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442-441E-BE76-9C9A4E036287}"/>
                </c:ext>
              </c:extLst>
            </c:dLbl>
            <c:dLbl>
              <c:idx val="33"/>
              <c:layout>
                <c:manualLayout>
                  <c:x val="0"/>
                  <c:y val="-0.4399185336048879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442-441E-BE76-9C9A4E036287}"/>
                </c:ext>
              </c:extLst>
            </c:dLbl>
            <c:dLbl>
              <c:idx val="34"/>
              <c:layout>
                <c:manualLayout>
                  <c:x val="0"/>
                  <c:y val="-0.4480651731160896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442-441E-BE76-9C9A4E03628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0</c:v>
                </c:pt>
                <c:pt idx="1">
                  <c:v>0</c:v>
                </c:pt>
                <c:pt idx="2">
                  <c:v>0</c:v>
                </c:pt>
                <c:pt idx="3">
                  <c:v>0</c:v>
                </c:pt>
                <c:pt idx="4">
                  <c:v>0</c:v>
                </c:pt>
                <c:pt idx="5">
                  <c:v>11.220594184919243</c:v>
                </c:pt>
                <c:pt idx="6">
                  <c:v>14.224260935959162</c:v>
                </c:pt>
                <c:pt idx="7">
                  <c:v>18.313735955047424</c:v>
                </c:pt>
                <c:pt idx="8">
                  <c:v>18.863148033698845</c:v>
                </c:pt>
                <c:pt idx="9">
                  <c:v>19.429042474709806</c:v>
                </c:pt>
                <c:pt idx="10">
                  <c:v>20.011913748951105</c:v>
                </c:pt>
                <c:pt idx="11">
                  <c:v>20.612271161419635</c:v>
                </c:pt>
                <c:pt idx="12">
                  <c:v>21.230639296262229</c:v>
                </c:pt>
                <c:pt idx="13">
                  <c:v>21.867558475150094</c:v>
                </c:pt>
                <c:pt idx="14">
                  <c:v>22.523585229404596</c:v>
                </c:pt>
                <c:pt idx="15">
                  <c:v>23.199292786286737</c:v>
                </c:pt>
                <c:pt idx="16">
                  <c:v>23.663278642012468</c:v>
                </c:pt>
                <c:pt idx="17">
                  <c:v>24.136544214852719</c:v>
                </c:pt>
                <c:pt idx="18">
                  <c:v>24.619275099149778</c:v>
                </c:pt>
                <c:pt idx="19">
                  <c:v>25.111660601132776</c:v>
                </c:pt>
                <c:pt idx="20">
                  <c:v>25.613893813155428</c:v>
                </c:pt>
                <c:pt idx="21">
                  <c:v>26.126171689418534</c:v>
                </c:pt>
                <c:pt idx="22">
                  <c:v>26.64869512320691</c:v>
                </c:pt>
                <c:pt idx="23">
                  <c:v>27.181669025671056</c:v>
                </c:pt>
                <c:pt idx="24">
                  <c:v>27.725302406184472</c:v>
                </c:pt>
                <c:pt idx="25">
                  <c:v>28.279808454308164</c:v>
                </c:pt>
                <c:pt idx="26">
                  <c:v>28.845404623394327</c:v>
                </c:pt>
                <c:pt idx="27">
                  <c:v>29.422312715862219</c:v>
                </c:pt>
                <c:pt idx="28">
                  <c:v>30.010758970179456</c:v>
                </c:pt>
                <c:pt idx="29">
                  <c:v>30.610974149583047</c:v>
                </c:pt>
                <c:pt idx="30">
                  <c:v>31.223193632574706</c:v>
                </c:pt>
                <c:pt idx="31">
                  <c:v>31.847657505226209</c:v>
                </c:pt>
                <c:pt idx="32">
                  <c:v>32.484610655330727</c:v>
                </c:pt>
                <c:pt idx="33">
                  <c:v>33.134302868437345</c:v>
                </c:pt>
                <c:pt idx="34">
                  <c:v>33.796988925806097</c:v>
                </c:pt>
              </c:numCache>
            </c:numRef>
          </c:val>
          <c:extLst>
            <c:ext xmlns:c16="http://schemas.microsoft.com/office/drawing/2014/chart" uri="{C3380CC4-5D6E-409C-BE32-E72D297353CC}">
              <c16:uniqueId val="{0000001E-A442-441E-BE76-9C9A4E036287}"/>
            </c:ext>
          </c:extLst>
        </c:ser>
        <c:dLbls>
          <c:showLegendKey val="0"/>
          <c:showVal val="0"/>
          <c:showCatName val="0"/>
          <c:showSerName val="0"/>
          <c:showPercent val="0"/>
          <c:showBubbleSize val="0"/>
        </c:dLbls>
        <c:gapWidth val="80"/>
        <c:overlap val="100"/>
        <c:axId val="642387504"/>
        <c:axId val="1"/>
      </c:barChart>
      <c:catAx>
        <c:axId val="642387504"/>
        <c:scaling>
          <c:orientation val="minMax"/>
        </c:scaling>
        <c:delete val="0"/>
        <c:axPos val="b"/>
        <c:majorGridlines>
          <c:spPr>
            <a:ln>
              <a:noFill/>
            </a:ln>
          </c:spPr>
        </c:majorGridlines>
        <c:majorTickMark val="none"/>
        <c:minorTickMark val="none"/>
        <c:tickLblPos val="none"/>
        <c:spPr>
          <a:ln w="9525" algn="ctr">
            <a:solidFill>
              <a:srgbClr val="D9D9D9"/>
            </a:solidFill>
            <a:prstDash val="solid"/>
          </a:ln>
        </c:spPr>
        <c:crossAx val="1"/>
        <c:crosses val="min"/>
        <c:auto val="0"/>
        <c:lblAlgn val="ctr"/>
        <c:lblOffset val="100"/>
        <c:noMultiLvlLbl val="0"/>
      </c:catAx>
      <c:valAx>
        <c:axId val="1"/>
        <c:scaling>
          <c:orientation val="minMax"/>
          <c:max val="33.796988925806097"/>
          <c:min val="0"/>
        </c:scaling>
        <c:delete val="1"/>
        <c:axPos val="l"/>
        <c:numFmt formatCode="General" sourceLinked="1"/>
        <c:majorTickMark val="out"/>
        <c:minorTickMark val="none"/>
        <c:tickLblPos val="nextTo"/>
        <c:crossAx val="642387504"/>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464915197871639E-3"/>
          <c:y val="0.11872146118721461"/>
          <c:w val="0.98270701696042573"/>
          <c:h val="0.76255707762557079"/>
        </c:manualLayout>
      </c:layout>
      <c:barChart>
        <c:barDir val="col"/>
        <c:grouping val="stacked"/>
        <c:varyColors val="0"/>
        <c:ser>
          <c:idx val="0"/>
          <c:order val="0"/>
          <c:spPr>
            <a:solidFill>
              <a:schemeClr val="tx2"/>
            </a:solidFill>
            <a:ln>
              <a:noFill/>
            </a:ln>
          </c:spPr>
          <c:invertIfNegative val="0"/>
          <c:dLbls>
            <c:dLbl>
              <c:idx val="5"/>
              <c:layout>
                <c:manualLayout>
                  <c:x val="0"/>
                  <c:y val="-0.1324200913242009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1FE-41DA-BC6B-5972FD7A9BB0}"/>
                </c:ext>
              </c:extLst>
            </c:dLbl>
            <c:dLbl>
              <c:idx val="6"/>
              <c:layout>
                <c:manualLayout>
                  <c:x val="0"/>
                  <c:y val="-0.136986301369863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1FE-41DA-BC6B-5972FD7A9BB0}"/>
                </c:ext>
              </c:extLst>
            </c:dLbl>
            <c:dLbl>
              <c:idx val="7"/>
              <c:layout>
                <c:manualLayout>
                  <c:x val="0"/>
                  <c:y val="-0.141552511415525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1FE-41DA-BC6B-5972FD7A9BB0}"/>
                </c:ext>
              </c:extLst>
            </c:dLbl>
            <c:dLbl>
              <c:idx val="8"/>
              <c:layout>
                <c:manualLayout>
                  <c:x val="0"/>
                  <c:y val="-0.143835616438356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1FE-41DA-BC6B-5972FD7A9BB0}"/>
                </c:ext>
              </c:extLst>
            </c:dLbl>
            <c:dLbl>
              <c:idx val="9"/>
              <c:layout>
                <c:manualLayout>
                  <c:x val="0"/>
                  <c:y val="-0.141552511415525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1FE-41DA-BC6B-5972FD7A9BB0}"/>
                </c:ext>
              </c:extLst>
            </c:dLbl>
            <c:dLbl>
              <c:idx val="10"/>
              <c:layout>
                <c:manualLayout>
                  <c:x val="0"/>
                  <c:y val="-0.143835616438356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1FE-41DA-BC6B-5972FD7A9BB0}"/>
                </c:ext>
              </c:extLst>
            </c:dLbl>
            <c:dLbl>
              <c:idx val="11"/>
              <c:layout>
                <c:manualLayout>
                  <c:x val="0"/>
                  <c:y val="-0.143835616438356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1FE-41DA-BC6B-5972FD7A9BB0}"/>
                </c:ext>
              </c:extLst>
            </c:dLbl>
            <c:dLbl>
              <c:idx val="12"/>
              <c:layout>
                <c:manualLayout>
                  <c:x val="0"/>
                  <c:y val="-0.146118721461187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1FE-41DA-BC6B-5972FD7A9BB0}"/>
                </c:ext>
              </c:extLst>
            </c:dLbl>
            <c:dLbl>
              <c:idx val="13"/>
              <c:layout>
                <c:manualLayout>
                  <c:x val="0"/>
                  <c:y val="-0.146118721461187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1FE-41DA-BC6B-5972FD7A9BB0}"/>
                </c:ext>
              </c:extLst>
            </c:dLbl>
            <c:dLbl>
              <c:idx val="14"/>
              <c:layout>
                <c:manualLayout>
                  <c:x val="0"/>
                  <c:y val="-0.146118721461187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1FE-41DA-BC6B-5972FD7A9BB0}"/>
                </c:ext>
              </c:extLst>
            </c:dLbl>
            <c:dLbl>
              <c:idx val="15"/>
              <c:layout>
                <c:manualLayout>
                  <c:x val="0"/>
                  <c:y val="-0.148401826484018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1FE-41DA-BC6B-5972FD7A9BB0}"/>
                </c:ext>
              </c:extLst>
            </c:dLbl>
            <c:dLbl>
              <c:idx val="16"/>
              <c:layout>
                <c:manualLayout>
                  <c:x val="0"/>
                  <c:y val="-0.146118721461187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1FE-41DA-BC6B-5972FD7A9BB0}"/>
                </c:ext>
              </c:extLst>
            </c:dLbl>
            <c:dLbl>
              <c:idx val="17"/>
              <c:layout>
                <c:manualLayout>
                  <c:x val="0"/>
                  <c:y val="-0.148401826484018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1FE-41DA-BC6B-5972FD7A9BB0}"/>
                </c:ext>
              </c:extLst>
            </c:dLbl>
            <c:dLbl>
              <c:idx val="18"/>
              <c:layout>
                <c:manualLayout>
                  <c:x val="0"/>
                  <c:y val="-0.148401826484018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1FE-41DA-BC6B-5972FD7A9BB0}"/>
                </c:ext>
              </c:extLst>
            </c:dLbl>
            <c:dLbl>
              <c:idx val="19"/>
              <c:layout>
                <c:manualLayout>
                  <c:x val="0"/>
                  <c:y val="-0.1506849315068493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1FE-41DA-BC6B-5972FD7A9BB0}"/>
                </c:ext>
              </c:extLst>
            </c:dLbl>
            <c:dLbl>
              <c:idx val="20"/>
              <c:layout>
                <c:manualLayout>
                  <c:x val="0"/>
                  <c:y val="-0.148401826484018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1FE-41DA-BC6B-5972FD7A9BB0}"/>
                </c:ext>
              </c:extLst>
            </c:dLbl>
            <c:dLbl>
              <c:idx val="21"/>
              <c:layout>
                <c:manualLayout>
                  <c:x val="0"/>
                  <c:y val="-0.1506849315068493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1FE-41DA-BC6B-5972FD7A9BB0}"/>
                </c:ext>
              </c:extLst>
            </c:dLbl>
            <c:dLbl>
              <c:idx val="22"/>
              <c:layout>
                <c:manualLayout>
                  <c:x val="0"/>
                  <c:y val="-0.1506849315068493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1FE-41DA-BC6B-5972FD7A9BB0}"/>
                </c:ext>
              </c:extLst>
            </c:dLbl>
            <c:dLbl>
              <c:idx val="23"/>
              <c:layout>
                <c:manualLayout>
                  <c:x val="0"/>
                  <c:y val="-0.152968036529680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1FE-41DA-BC6B-5972FD7A9BB0}"/>
                </c:ext>
              </c:extLst>
            </c:dLbl>
            <c:dLbl>
              <c:idx val="24"/>
              <c:layout>
                <c:manualLayout>
                  <c:x val="0"/>
                  <c:y val="-0.1506849315068493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1FE-41DA-BC6B-5972FD7A9BB0}"/>
                </c:ext>
              </c:extLst>
            </c:dLbl>
            <c:dLbl>
              <c:idx val="25"/>
              <c:layout>
                <c:manualLayout>
                  <c:x val="0"/>
                  <c:y val="-0.152968036529680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1FE-41DA-BC6B-5972FD7A9BB0}"/>
                </c:ext>
              </c:extLst>
            </c:dLbl>
            <c:dLbl>
              <c:idx val="26"/>
              <c:layout>
                <c:manualLayout>
                  <c:x val="0"/>
                  <c:y val="-0.155251141552511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1FE-41DA-BC6B-5972FD7A9BB0}"/>
                </c:ext>
              </c:extLst>
            </c:dLbl>
            <c:dLbl>
              <c:idx val="27"/>
              <c:layout>
                <c:manualLayout>
                  <c:x val="0"/>
                  <c:y val="-0.152968036529680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1FE-41DA-BC6B-5972FD7A9BB0}"/>
                </c:ext>
              </c:extLst>
            </c:dLbl>
            <c:dLbl>
              <c:idx val="28"/>
              <c:layout>
                <c:manualLayout>
                  <c:x val="0"/>
                  <c:y val="-0.155251141552511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1FE-41DA-BC6B-5972FD7A9BB0}"/>
                </c:ext>
              </c:extLst>
            </c:dLbl>
            <c:dLbl>
              <c:idx val="29"/>
              <c:layout>
                <c:manualLayout>
                  <c:x val="0"/>
                  <c:y val="-0.155251141552511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1FE-41DA-BC6B-5972FD7A9BB0}"/>
                </c:ext>
              </c:extLst>
            </c:dLbl>
            <c:dLbl>
              <c:idx val="30"/>
              <c:layout>
                <c:manualLayout>
                  <c:x val="0"/>
                  <c:y val="-0.157534246575342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1FE-41DA-BC6B-5972FD7A9BB0}"/>
                </c:ext>
              </c:extLst>
            </c:dLbl>
            <c:dLbl>
              <c:idx val="31"/>
              <c:layout>
                <c:manualLayout>
                  <c:x val="0"/>
                  <c:y val="-0.155251141552511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1FE-41DA-BC6B-5972FD7A9BB0}"/>
                </c:ext>
              </c:extLst>
            </c:dLbl>
            <c:dLbl>
              <c:idx val="32"/>
              <c:layout>
                <c:manualLayout>
                  <c:x val="0"/>
                  <c:y val="-0.157534246575342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1FE-41DA-BC6B-5972FD7A9BB0}"/>
                </c:ext>
              </c:extLst>
            </c:dLbl>
            <c:dLbl>
              <c:idx val="33"/>
              <c:layout>
                <c:manualLayout>
                  <c:x val="0"/>
                  <c:y val="-0.1598173515981735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1FE-41DA-BC6B-5972FD7A9BB0}"/>
                </c:ext>
              </c:extLst>
            </c:dLbl>
            <c:dLbl>
              <c:idx val="34"/>
              <c:layout>
                <c:manualLayout>
                  <c:x val="0"/>
                  <c:y val="-0.157534246575342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1FE-41DA-BC6B-5972FD7A9B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0</c:v>
                </c:pt>
                <c:pt idx="1">
                  <c:v>0</c:v>
                </c:pt>
                <c:pt idx="2">
                  <c:v>0</c:v>
                </c:pt>
                <c:pt idx="3">
                  <c:v>0</c:v>
                </c:pt>
                <c:pt idx="4">
                  <c:v>0</c:v>
                </c:pt>
                <c:pt idx="5">
                  <c:v>1.1220594184919244</c:v>
                </c:pt>
                <c:pt idx="6">
                  <c:v>1.4224260935959163</c:v>
                </c:pt>
                <c:pt idx="7">
                  <c:v>1.8313735955047425</c:v>
                </c:pt>
                <c:pt idx="8">
                  <c:v>1.8863148033698847</c:v>
                </c:pt>
                <c:pt idx="9">
                  <c:v>1.9429042474709808</c:v>
                </c:pt>
                <c:pt idx="10">
                  <c:v>2.0011913748951105</c:v>
                </c:pt>
                <c:pt idx="11">
                  <c:v>2.0612271161419637</c:v>
                </c:pt>
                <c:pt idx="12">
                  <c:v>2.1230639296262228</c:v>
                </c:pt>
                <c:pt idx="13">
                  <c:v>2.1867558475150095</c:v>
                </c:pt>
                <c:pt idx="14">
                  <c:v>2.2523585229404595</c:v>
                </c:pt>
                <c:pt idx="15">
                  <c:v>2.3199292786286736</c:v>
                </c:pt>
                <c:pt idx="16">
                  <c:v>2.3663278642012471</c:v>
                </c:pt>
                <c:pt idx="17">
                  <c:v>2.4136544214852722</c:v>
                </c:pt>
                <c:pt idx="18">
                  <c:v>2.461927509914978</c:v>
                </c:pt>
                <c:pt idx="19">
                  <c:v>2.5111660601132777</c:v>
                </c:pt>
                <c:pt idx="20">
                  <c:v>2.5613893813155428</c:v>
                </c:pt>
                <c:pt idx="21">
                  <c:v>2.6126171689418536</c:v>
                </c:pt>
                <c:pt idx="22">
                  <c:v>2.6648695123206911</c:v>
                </c:pt>
                <c:pt idx="23">
                  <c:v>2.7181669025671056</c:v>
                </c:pt>
                <c:pt idx="24">
                  <c:v>2.7725302406184476</c:v>
                </c:pt>
                <c:pt idx="25">
                  <c:v>2.8279808454308166</c:v>
                </c:pt>
                <c:pt idx="26">
                  <c:v>2.8845404623394328</c:v>
                </c:pt>
                <c:pt idx="27">
                  <c:v>2.942231271586222</c:v>
                </c:pt>
                <c:pt idx="28">
                  <c:v>3.0010758970179459</c:v>
                </c:pt>
                <c:pt idx="29">
                  <c:v>3.0610974149583048</c:v>
                </c:pt>
                <c:pt idx="30">
                  <c:v>3.1223193632574708</c:v>
                </c:pt>
                <c:pt idx="31">
                  <c:v>3.184765750522621</c:v>
                </c:pt>
                <c:pt idx="32">
                  <c:v>3.248461065533073</c:v>
                </c:pt>
                <c:pt idx="33">
                  <c:v>3.3134302868437349</c:v>
                </c:pt>
                <c:pt idx="34">
                  <c:v>3.3796988925806097</c:v>
                </c:pt>
              </c:numCache>
            </c:numRef>
          </c:val>
          <c:extLst>
            <c:ext xmlns:c16="http://schemas.microsoft.com/office/drawing/2014/chart" uri="{C3380CC4-5D6E-409C-BE32-E72D297353CC}">
              <c16:uniqueId val="{0000001E-31FE-41DA-BC6B-5972FD7A9BB0}"/>
            </c:ext>
          </c:extLst>
        </c:ser>
        <c:dLbls>
          <c:showLegendKey val="0"/>
          <c:showVal val="0"/>
          <c:showCatName val="0"/>
          <c:showSerName val="0"/>
          <c:showPercent val="0"/>
          <c:showBubbleSize val="0"/>
        </c:dLbls>
        <c:gapWidth val="80"/>
        <c:overlap val="100"/>
        <c:axId val="532855904"/>
        <c:axId val="1"/>
      </c:barChart>
      <c:catAx>
        <c:axId val="532855904"/>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33.796988925806097"/>
          <c:min val="0"/>
        </c:scaling>
        <c:delete val="1"/>
        <c:axPos val="l"/>
        <c:numFmt formatCode="General" sourceLinked="1"/>
        <c:majorTickMark val="out"/>
        <c:minorTickMark val="none"/>
        <c:tickLblPos val="nextTo"/>
        <c:crossAx val="532855904"/>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464915197871639E-3"/>
          <c:y val="0.11872146118721461"/>
          <c:w val="0.98270701696042573"/>
          <c:h val="0.76255707762557079"/>
        </c:manualLayout>
      </c:layout>
      <c:barChart>
        <c:barDir val="col"/>
        <c:grouping val="stacked"/>
        <c:varyColors val="0"/>
        <c:ser>
          <c:idx val="0"/>
          <c:order val="0"/>
          <c:spPr>
            <a:solidFill>
              <a:schemeClr val="tx2"/>
            </a:solidFill>
            <a:ln>
              <a:noFill/>
            </a:ln>
          </c:spPr>
          <c:invertIfNegative val="0"/>
          <c:dLbls>
            <c:dLbl>
              <c:idx val="5"/>
              <c:layout>
                <c:manualLayout>
                  <c:x val="0"/>
                  <c:y val="-0.2100456621004566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95-4787-95CD-3CC779E40F74}"/>
                </c:ext>
              </c:extLst>
            </c:dLbl>
            <c:dLbl>
              <c:idx val="6"/>
              <c:layout>
                <c:manualLayout>
                  <c:x val="0"/>
                  <c:y val="-0.232876712328767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95-4787-95CD-3CC779E40F74}"/>
                </c:ext>
              </c:extLst>
            </c:dLbl>
            <c:dLbl>
              <c:idx val="7"/>
              <c:layout>
                <c:manualLayout>
                  <c:x val="0"/>
                  <c:y val="-0.2671232876712328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95-4787-95CD-3CC779E40F74}"/>
                </c:ext>
              </c:extLst>
            </c:dLbl>
            <c:dLbl>
              <c:idx val="8"/>
              <c:layout>
                <c:manualLayout>
                  <c:x val="0"/>
                  <c:y val="-0.2694063926940639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C95-4787-95CD-3CC779E40F74}"/>
                </c:ext>
              </c:extLst>
            </c:dLbl>
            <c:dLbl>
              <c:idx val="9"/>
              <c:layout>
                <c:manualLayout>
                  <c:x val="0"/>
                  <c:y val="-0.273972602739726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C95-4787-95CD-3CC779E40F74}"/>
                </c:ext>
              </c:extLst>
            </c:dLbl>
            <c:dLbl>
              <c:idx val="10"/>
              <c:layout>
                <c:manualLayout>
                  <c:x val="0"/>
                  <c:y val="-0.278538812785388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C95-4787-95CD-3CC779E40F74}"/>
                </c:ext>
              </c:extLst>
            </c:dLbl>
            <c:dLbl>
              <c:idx val="11"/>
              <c:layout>
                <c:manualLayout>
                  <c:x val="0"/>
                  <c:y val="-0.2853881278538812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C95-4787-95CD-3CC779E40F74}"/>
                </c:ext>
              </c:extLst>
            </c:dLbl>
            <c:dLbl>
              <c:idx val="12"/>
              <c:layout>
                <c:manualLayout>
                  <c:x val="0"/>
                  <c:y val="-0.2899543378995433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C95-4787-95CD-3CC779E40F74}"/>
                </c:ext>
              </c:extLst>
            </c:dLbl>
            <c:dLbl>
              <c:idx val="13"/>
              <c:layout>
                <c:manualLayout>
                  <c:x val="0"/>
                  <c:y val="-0.292237442922374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C95-4787-95CD-3CC779E40F74}"/>
                </c:ext>
              </c:extLst>
            </c:dLbl>
            <c:dLbl>
              <c:idx val="14"/>
              <c:layout>
                <c:manualLayout>
                  <c:x val="0"/>
                  <c:y val="-0.2990867579908675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C95-4787-95CD-3CC779E40F74}"/>
                </c:ext>
              </c:extLst>
            </c:dLbl>
            <c:dLbl>
              <c:idx val="15"/>
              <c:layout>
                <c:manualLayout>
                  <c:x val="0"/>
                  <c:y val="-0.3036529680365296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C95-4787-95CD-3CC779E40F74}"/>
                </c:ext>
              </c:extLst>
            </c:dLbl>
            <c:dLbl>
              <c:idx val="16"/>
              <c:layout>
                <c:manualLayout>
                  <c:x val="0"/>
                  <c:y val="-0.3082191780821917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C95-4787-95CD-3CC779E40F74}"/>
                </c:ext>
              </c:extLst>
            </c:dLbl>
            <c:dLbl>
              <c:idx val="17"/>
              <c:layout>
                <c:manualLayout>
                  <c:x val="0"/>
                  <c:y val="-0.3127853881278538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C95-4787-95CD-3CC779E40F74}"/>
                </c:ext>
              </c:extLst>
            </c:dLbl>
            <c:dLbl>
              <c:idx val="18"/>
              <c:layout>
                <c:manualLayout>
                  <c:x val="0"/>
                  <c:y val="-0.3150684931506849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C95-4787-95CD-3CC779E40F74}"/>
                </c:ext>
              </c:extLst>
            </c:dLbl>
            <c:dLbl>
              <c:idx val="19"/>
              <c:layout>
                <c:manualLayout>
                  <c:x val="0"/>
                  <c:y val="-0.319634703196347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C95-4787-95CD-3CC779E40F74}"/>
                </c:ext>
              </c:extLst>
            </c:dLbl>
            <c:dLbl>
              <c:idx val="20"/>
              <c:layout>
                <c:manualLayout>
                  <c:x val="0"/>
                  <c:y val="-0.3219178082191780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C95-4787-95CD-3CC779E40F74}"/>
                </c:ext>
              </c:extLst>
            </c:dLbl>
            <c:dLbl>
              <c:idx val="21"/>
              <c:layout>
                <c:manualLayout>
                  <c:x val="0"/>
                  <c:y val="-0.3287671232876712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C95-4787-95CD-3CC779E40F74}"/>
                </c:ext>
              </c:extLst>
            </c:dLbl>
            <c:dLbl>
              <c:idx val="22"/>
              <c:layout>
                <c:manualLayout>
                  <c:x val="0"/>
                  <c:y val="-0.3310502283105022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C95-4787-95CD-3CC779E40F74}"/>
                </c:ext>
              </c:extLst>
            </c:dLbl>
            <c:dLbl>
              <c:idx val="23"/>
              <c:layout>
                <c:manualLayout>
                  <c:x val="0"/>
                  <c:y val="-0.3356164383561643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C95-4787-95CD-3CC779E40F74}"/>
                </c:ext>
              </c:extLst>
            </c:dLbl>
            <c:dLbl>
              <c:idx val="24"/>
              <c:layout>
                <c:manualLayout>
                  <c:x val="0"/>
                  <c:y val="-0.3401826484018264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C95-4787-95CD-3CC779E40F74}"/>
                </c:ext>
              </c:extLst>
            </c:dLbl>
            <c:dLbl>
              <c:idx val="25"/>
              <c:layout>
                <c:manualLayout>
                  <c:x val="0"/>
                  <c:y val="-0.3447488584474885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C95-4787-95CD-3CC779E40F74}"/>
                </c:ext>
              </c:extLst>
            </c:dLbl>
            <c:dLbl>
              <c:idx val="26"/>
              <c:layout>
                <c:manualLayout>
                  <c:x val="0"/>
                  <c:y val="-0.3493150684931506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C95-4787-95CD-3CC779E40F74}"/>
                </c:ext>
              </c:extLst>
            </c:dLbl>
            <c:dLbl>
              <c:idx val="27"/>
              <c:layout>
                <c:manualLayout>
                  <c:x val="0"/>
                  <c:y val="-0.3538812785388127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C95-4787-95CD-3CC779E40F74}"/>
                </c:ext>
              </c:extLst>
            </c:dLbl>
            <c:dLbl>
              <c:idx val="28"/>
              <c:layout>
                <c:manualLayout>
                  <c:x val="0"/>
                  <c:y val="-0.3584474885844748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C95-4787-95CD-3CC779E40F74}"/>
                </c:ext>
              </c:extLst>
            </c:dLbl>
            <c:dLbl>
              <c:idx val="29"/>
              <c:layout>
                <c:manualLayout>
                  <c:x val="0"/>
                  <c:y val="-0.3630136986301369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C95-4787-95CD-3CC779E40F74}"/>
                </c:ext>
              </c:extLst>
            </c:dLbl>
            <c:dLbl>
              <c:idx val="30"/>
              <c:layout>
                <c:manualLayout>
                  <c:x val="0"/>
                  <c:y val="-0.3675799086757990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C95-4787-95CD-3CC779E40F74}"/>
                </c:ext>
              </c:extLst>
            </c:dLbl>
            <c:dLbl>
              <c:idx val="31"/>
              <c:layout>
                <c:manualLayout>
                  <c:x val="0"/>
                  <c:y val="-0.3721461187214611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C95-4787-95CD-3CC779E40F74}"/>
                </c:ext>
              </c:extLst>
            </c:dLbl>
            <c:dLbl>
              <c:idx val="32"/>
              <c:layout>
                <c:manualLayout>
                  <c:x val="0"/>
                  <c:y val="-0.3789954337899543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C95-4787-95CD-3CC779E40F74}"/>
                </c:ext>
              </c:extLst>
            </c:dLbl>
            <c:dLbl>
              <c:idx val="33"/>
              <c:layout>
                <c:manualLayout>
                  <c:x val="0"/>
                  <c:y val="-0.3812785388127853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C95-4787-95CD-3CC779E40F74}"/>
                </c:ext>
              </c:extLst>
            </c:dLbl>
            <c:dLbl>
              <c:idx val="34"/>
              <c:layout>
                <c:manualLayout>
                  <c:x val="0"/>
                  <c:y val="-0.3881278538812785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C95-4787-95CD-3CC779E40F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0</c:v>
                </c:pt>
                <c:pt idx="1">
                  <c:v>0</c:v>
                </c:pt>
                <c:pt idx="2">
                  <c:v>0</c:v>
                </c:pt>
                <c:pt idx="3">
                  <c:v>0</c:v>
                </c:pt>
                <c:pt idx="4">
                  <c:v>0</c:v>
                </c:pt>
                <c:pt idx="5">
                  <c:v>7.8544159294434692</c:v>
                </c:pt>
                <c:pt idx="6">
                  <c:v>9.9569826551714122</c:v>
                </c:pt>
                <c:pt idx="7">
                  <c:v>12.819615168533195</c:v>
                </c:pt>
                <c:pt idx="8">
                  <c:v>13.204203623589191</c:v>
                </c:pt>
                <c:pt idx="9">
                  <c:v>13.600329732296863</c:v>
                </c:pt>
                <c:pt idx="10">
                  <c:v>14.008339624265773</c:v>
                </c:pt>
                <c:pt idx="11">
                  <c:v>14.428589812993744</c:v>
                </c:pt>
                <c:pt idx="12">
                  <c:v>14.861447507383559</c:v>
                </c:pt>
                <c:pt idx="13">
                  <c:v>15.307290932605065</c:v>
                </c:pt>
                <c:pt idx="14">
                  <c:v>15.766509660583216</c:v>
                </c:pt>
                <c:pt idx="15">
                  <c:v>16.239504950400715</c:v>
                </c:pt>
                <c:pt idx="16">
                  <c:v>16.564295049408727</c:v>
                </c:pt>
                <c:pt idx="17">
                  <c:v>16.895580950396901</c:v>
                </c:pt>
                <c:pt idx="18">
                  <c:v>17.233492569404845</c:v>
                </c:pt>
                <c:pt idx="19">
                  <c:v>17.578162420792943</c:v>
                </c:pt>
                <c:pt idx="20">
                  <c:v>17.9297256692088</c:v>
                </c:pt>
                <c:pt idx="21">
                  <c:v>18.288320182592972</c:v>
                </c:pt>
                <c:pt idx="22">
                  <c:v>18.654086586244837</c:v>
                </c:pt>
                <c:pt idx="23">
                  <c:v>19.027168317969739</c:v>
                </c:pt>
                <c:pt idx="24">
                  <c:v>19.407711684329129</c:v>
                </c:pt>
                <c:pt idx="25">
                  <c:v>19.795865918015714</c:v>
                </c:pt>
                <c:pt idx="26">
                  <c:v>20.191783236376029</c:v>
                </c:pt>
                <c:pt idx="27">
                  <c:v>20.595618901103553</c:v>
                </c:pt>
                <c:pt idx="28">
                  <c:v>21.007531279125619</c:v>
                </c:pt>
                <c:pt idx="29">
                  <c:v>21.42768190470813</c:v>
                </c:pt>
                <c:pt idx="30">
                  <c:v>21.856235542802292</c:v>
                </c:pt>
                <c:pt idx="31">
                  <c:v>22.293360253658346</c:v>
                </c:pt>
                <c:pt idx="32">
                  <c:v>22.739227458731506</c:v>
                </c:pt>
                <c:pt idx="33">
                  <c:v>23.194012007906139</c:v>
                </c:pt>
                <c:pt idx="34">
                  <c:v>23.657892248064268</c:v>
                </c:pt>
              </c:numCache>
            </c:numRef>
          </c:val>
          <c:extLst>
            <c:ext xmlns:c16="http://schemas.microsoft.com/office/drawing/2014/chart" uri="{C3380CC4-5D6E-409C-BE32-E72D297353CC}">
              <c16:uniqueId val="{0000001E-8C95-4787-95CD-3CC779E40F74}"/>
            </c:ext>
          </c:extLst>
        </c:ser>
        <c:dLbls>
          <c:showLegendKey val="0"/>
          <c:showVal val="0"/>
          <c:showCatName val="0"/>
          <c:showSerName val="0"/>
          <c:showPercent val="0"/>
          <c:showBubbleSize val="0"/>
        </c:dLbls>
        <c:gapWidth val="80"/>
        <c:overlap val="100"/>
        <c:axId val="1062823904"/>
        <c:axId val="1"/>
      </c:barChart>
      <c:catAx>
        <c:axId val="1062823904"/>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33.796988925806097"/>
          <c:min val="0"/>
        </c:scaling>
        <c:delete val="1"/>
        <c:axPos val="l"/>
        <c:numFmt formatCode="General" sourceLinked="1"/>
        <c:majorTickMark val="out"/>
        <c:minorTickMark val="none"/>
        <c:tickLblPos val="nextTo"/>
        <c:crossAx val="1062823904"/>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6464915197871639E-3"/>
          <c:y val="0.11872146118721461"/>
          <c:w val="0.98270701696042573"/>
          <c:h val="0.76255707762557079"/>
        </c:manualLayout>
      </c:layout>
      <c:barChart>
        <c:barDir val="col"/>
        <c:grouping val="stacked"/>
        <c:varyColors val="0"/>
        <c:ser>
          <c:idx val="0"/>
          <c:order val="0"/>
          <c:spPr>
            <a:solidFill>
              <a:schemeClr val="tx2"/>
            </a:solidFill>
            <a:ln>
              <a:noFill/>
            </a:ln>
          </c:spPr>
          <c:invertIfNegative val="0"/>
          <c:dLbls>
            <c:dLbl>
              <c:idx val="5"/>
              <c:layout>
                <c:manualLayout>
                  <c:x val="0"/>
                  <c:y val="-0.157534246575342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7B0-427A-95C2-72F75493DAFB}"/>
                </c:ext>
              </c:extLst>
            </c:dLbl>
            <c:dLbl>
              <c:idx val="6"/>
              <c:layout>
                <c:manualLayout>
                  <c:x val="0"/>
                  <c:y val="-0.1689497716894977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B0-427A-95C2-72F75493DAFB}"/>
                </c:ext>
              </c:extLst>
            </c:dLbl>
            <c:dLbl>
              <c:idx val="7"/>
              <c:layout>
                <c:manualLayout>
                  <c:x val="0"/>
                  <c:y val="-0.182648401826484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7B0-427A-95C2-72F75493DAFB}"/>
                </c:ext>
              </c:extLst>
            </c:dLbl>
            <c:dLbl>
              <c:idx val="8"/>
              <c:layout>
                <c:manualLayout>
                  <c:x val="0"/>
                  <c:y val="-0.1849315068493150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B0-427A-95C2-72F75493DAFB}"/>
                </c:ext>
              </c:extLst>
            </c:dLbl>
            <c:dLbl>
              <c:idx val="9"/>
              <c:layout>
                <c:manualLayout>
                  <c:x val="0"/>
                  <c:y val="-0.187214611872146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7B0-427A-95C2-72F75493DAFB}"/>
                </c:ext>
              </c:extLst>
            </c:dLbl>
            <c:dLbl>
              <c:idx val="10"/>
              <c:layout>
                <c:manualLayout>
                  <c:x val="0"/>
                  <c:y val="-0.187214611872146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B0-427A-95C2-72F75493DAFB}"/>
                </c:ext>
              </c:extLst>
            </c:dLbl>
            <c:dLbl>
              <c:idx val="11"/>
              <c:layout>
                <c:manualLayout>
                  <c:x val="0"/>
                  <c:y val="-0.189497716894977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7B0-427A-95C2-72F75493DAFB}"/>
                </c:ext>
              </c:extLst>
            </c:dLbl>
            <c:dLbl>
              <c:idx val="12"/>
              <c:layout>
                <c:manualLayout>
                  <c:x val="0"/>
                  <c:y val="-0.1940639269406392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B0-427A-95C2-72F75493DAFB}"/>
                </c:ext>
              </c:extLst>
            </c:dLbl>
            <c:dLbl>
              <c:idx val="13"/>
              <c:layout>
                <c:manualLayout>
                  <c:x val="0"/>
                  <c:y val="-0.1963470319634703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7B0-427A-95C2-72F75493DAFB}"/>
                </c:ext>
              </c:extLst>
            </c:dLbl>
            <c:dLbl>
              <c:idx val="14"/>
              <c:layout>
                <c:manualLayout>
                  <c:x val="0"/>
                  <c:y val="-0.198630136986301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B0-427A-95C2-72F75493DAFB}"/>
                </c:ext>
              </c:extLst>
            </c:dLbl>
            <c:dLbl>
              <c:idx val="15"/>
              <c:layout>
                <c:manualLayout>
                  <c:x val="0"/>
                  <c:y val="-0.200913242009132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7B0-427A-95C2-72F75493DAFB}"/>
                </c:ext>
              </c:extLst>
            </c:dLbl>
            <c:dLbl>
              <c:idx val="16"/>
              <c:layout>
                <c:manualLayout>
                  <c:x val="0"/>
                  <c:y val="-0.2009132420091324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B0-427A-95C2-72F75493DAFB}"/>
                </c:ext>
              </c:extLst>
            </c:dLbl>
            <c:dLbl>
              <c:idx val="17"/>
              <c:layout>
                <c:manualLayout>
                  <c:x val="0"/>
                  <c:y val="-0.2031963470319634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B0-427A-95C2-72F75493DAFB}"/>
                </c:ext>
              </c:extLst>
            </c:dLbl>
            <c:dLbl>
              <c:idx val="18"/>
              <c:layout>
                <c:manualLayout>
                  <c:x val="0"/>
                  <c:y val="-0.2054794520547945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7B0-427A-95C2-72F75493DAFB}"/>
                </c:ext>
              </c:extLst>
            </c:dLbl>
            <c:dLbl>
              <c:idx val="19"/>
              <c:layout>
                <c:manualLayout>
                  <c:x val="0"/>
                  <c:y val="-0.2054794520547945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7B0-427A-95C2-72F75493DAFB}"/>
                </c:ext>
              </c:extLst>
            </c:dLbl>
            <c:dLbl>
              <c:idx val="20"/>
              <c:layout>
                <c:manualLayout>
                  <c:x val="0"/>
                  <c:y val="-0.207762557077625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7B0-427A-95C2-72F75493DAFB}"/>
                </c:ext>
              </c:extLst>
            </c:dLbl>
            <c:dLbl>
              <c:idx val="21"/>
              <c:layout>
                <c:manualLayout>
                  <c:x val="0"/>
                  <c:y val="-0.2077625570776255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7B0-427A-95C2-72F75493DAFB}"/>
                </c:ext>
              </c:extLst>
            </c:dLbl>
            <c:dLbl>
              <c:idx val="22"/>
              <c:layout>
                <c:manualLayout>
                  <c:x val="0"/>
                  <c:y val="-0.2100456621004566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7B0-427A-95C2-72F75493DAFB}"/>
                </c:ext>
              </c:extLst>
            </c:dLbl>
            <c:dLbl>
              <c:idx val="23"/>
              <c:layout>
                <c:manualLayout>
                  <c:x val="0"/>
                  <c:y val="-0.2146118721461187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7B0-427A-95C2-72F75493DAFB}"/>
                </c:ext>
              </c:extLst>
            </c:dLbl>
            <c:dLbl>
              <c:idx val="24"/>
              <c:layout>
                <c:manualLayout>
                  <c:x val="0"/>
                  <c:y val="-0.2146118721461187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7B0-427A-95C2-72F75493DAFB}"/>
                </c:ext>
              </c:extLst>
            </c:dLbl>
            <c:dLbl>
              <c:idx val="25"/>
              <c:layout>
                <c:manualLayout>
                  <c:x val="0"/>
                  <c:y val="-0.2168949771689497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7B0-427A-95C2-72F75493DAFB}"/>
                </c:ext>
              </c:extLst>
            </c:dLbl>
            <c:dLbl>
              <c:idx val="26"/>
              <c:layout>
                <c:manualLayout>
                  <c:x val="0"/>
                  <c:y val="-0.2191780821917808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7B0-427A-95C2-72F75493DAFB}"/>
                </c:ext>
              </c:extLst>
            </c:dLbl>
            <c:dLbl>
              <c:idx val="27"/>
              <c:layout>
                <c:manualLayout>
                  <c:x val="0"/>
                  <c:y val="-0.2191780821917808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7B0-427A-95C2-72F75493DAFB}"/>
                </c:ext>
              </c:extLst>
            </c:dLbl>
            <c:dLbl>
              <c:idx val="28"/>
              <c:layout>
                <c:manualLayout>
                  <c:x val="0"/>
                  <c:y val="-0.2237442922374429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7B0-427A-95C2-72F75493DAFB}"/>
                </c:ext>
              </c:extLst>
            </c:dLbl>
            <c:dLbl>
              <c:idx val="29"/>
              <c:layout>
                <c:manualLayout>
                  <c:x val="0"/>
                  <c:y val="-0.2260273972602739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7B0-427A-95C2-72F75493DAFB}"/>
                </c:ext>
              </c:extLst>
            </c:dLbl>
            <c:dLbl>
              <c:idx val="30"/>
              <c:layout>
                <c:manualLayout>
                  <c:x val="0"/>
                  <c:y val="-0.228310502283105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7B0-427A-95C2-72F75493DAFB}"/>
                </c:ext>
              </c:extLst>
            </c:dLbl>
            <c:dLbl>
              <c:idx val="31"/>
              <c:layout>
                <c:manualLayout>
                  <c:x val="0"/>
                  <c:y val="-0.228310502283105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7B0-427A-95C2-72F75493DAFB}"/>
                </c:ext>
              </c:extLst>
            </c:dLbl>
            <c:dLbl>
              <c:idx val="32"/>
              <c:layout>
                <c:manualLayout>
                  <c:x val="0"/>
                  <c:y val="-0.2305936073059360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7B0-427A-95C2-72F75493DAFB}"/>
                </c:ext>
              </c:extLst>
            </c:dLbl>
            <c:dLbl>
              <c:idx val="33"/>
              <c:layout>
                <c:manualLayout>
                  <c:x val="0"/>
                  <c:y val="-0.2328767123287671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7B0-427A-95C2-72F75493DAFB}"/>
                </c:ext>
              </c:extLst>
            </c:dLbl>
            <c:dLbl>
              <c:idx val="34"/>
              <c:layout>
                <c:manualLayout>
                  <c:x val="0"/>
                  <c:y val="-0.2351598173515981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7B0-427A-95C2-72F75493DAF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0</c:v>
                </c:pt>
                <c:pt idx="1">
                  <c:v>0</c:v>
                </c:pt>
                <c:pt idx="2">
                  <c:v>0</c:v>
                </c:pt>
                <c:pt idx="3">
                  <c:v>0</c:v>
                </c:pt>
                <c:pt idx="4">
                  <c:v>0</c:v>
                </c:pt>
                <c:pt idx="5">
                  <c:v>3.3661782554757727</c:v>
                </c:pt>
                <c:pt idx="6">
                  <c:v>4.2672782807877487</c:v>
                </c:pt>
                <c:pt idx="7">
                  <c:v>5.4941207865142268</c:v>
                </c:pt>
                <c:pt idx="8">
                  <c:v>5.6589444101096538</c:v>
                </c:pt>
                <c:pt idx="9">
                  <c:v>5.8287127424129421</c:v>
                </c:pt>
                <c:pt idx="10">
                  <c:v>6.0035741246853318</c:v>
                </c:pt>
                <c:pt idx="11">
                  <c:v>6.1836813484258899</c:v>
                </c:pt>
                <c:pt idx="12">
                  <c:v>6.3691917888786689</c:v>
                </c:pt>
                <c:pt idx="13">
                  <c:v>6.5602675425450281</c:v>
                </c:pt>
                <c:pt idx="14">
                  <c:v>6.7570755688213788</c:v>
                </c:pt>
                <c:pt idx="15">
                  <c:v>6.9597878358860212</c:v>
                </c:pt>
                <c:pt idx="16">
                  <c:v>7.0989835926037399</c:v>
                </c:pt>
                <c:pt idx="17">
                  <c:v>7.2409632644558153</c:v>
                </c:pt>
                <c:pt idx="18">
                  <c:v>7.3857825297449331</c:v>
                </c:pt>
                <c:pt idx="19">
                  <c:v>7.5334981803398327</c:v>
                </c:pt>
                <c:pt idx="20">
                  <c:v>7.6841681439466285</c:v>
                </c:pt>
                <c:pt idx="21">
                  <c:v>7.8378515068255599</c:v>
                </c:pt>
                <c:pt idx="22">
                  <c:v>7.9946085369620725</c:v>
                </c:pt>
                <c:pt idx="23">
                  <c:v>8.1545007077013167</c:v>
                </c:pt>
                <c:pt idx="24">
                  <c:v>8.3175907218553409</c:v>
                </c:pt>
                <c:pt idx="25">
                  <c:v>8.4839425362924494</c:v>
                </c:pt>
                <c:pt idx="26">
                  <c:v>8.6536213870182976</c:v>
                </c:pt>
                <c:pt idx="27">
                  <c:v>8.8266938147586647</c:v>
                </c:pt>
                <c:pt idx="28">
                  <c:v>9.0032276910538371</c:v>
                </c:pt>
                <c:pt idx="29">
                  <c:v>9.183292244874913</c:v>
                </c:pt>
                <c:pt idx="30">
                  <c:v>9.3669580897724121</c:v>
                </c:pt>
                <c:pt idx="31">
                  <c:v>9.5542972515678617</c:v>
                </c:pt>
                <c:pt idx="32">
                  <c:v>9.7453831965992173</c:v>
                </c:pt>
                <c:pt idx="33">
                  <c:v>9.9402908605312028</c:v>
                </c:pt>
                <c:pt idx="34">
                  <c:v>10.139096677741829</c:v>
                </c:pt>
              </c:numCache>
            </c:numRef>
          </c:val>
          <c:extLst>
            <c:ext xmlns:c16="http://schemas.microsoft.com/office/drawing/2014/chart" uri="{C3380CC4-5D6E-409C-BE32-E72D297353CC}">
              <c16:uniqueId val="{0000001E-27B0-427A-95C2-72F75493DAFB}"/>
            </c:ext>
          </c:extLst>
        </c:ser>
        <c:dLbls>
          <c:showLegendKey val="0"/>
          <c:showVal val="0"/>
          <c:showCatName val="0"/>
          <c:showSerName val="0"/>
          <c:showPercent val="0"/>
          <c:showBubbleSize val="0"/>
        </c:dLbls>
        <c:gapWidth val="80"/>
        <c:overlap val="100"/>
        <c:axId val="880253104"/>
        <c:axId val="1"/>
      </c:barChart>
      <c:catAx>
        <c:axId val="880253104"/>
        <c:scaling>
          <c:orientation val="minMax"/>
        </c:scaling>
        <c:delete val="0"/>
        <c:axPos val="b"/>
        <c:majorGridlines>
          <c:spPr>
            <a:ln>
              <a:noFill/>
            </a:ln>
          </c:spPr>
        </c:majorGridlines>
        <c:majorTickMark val="none"/>
        <c:minorTickMark val="none"/>
        <c:tickLblPos val="none"/>
        <c:spPr>
          <a:ln w="9525" algn="ctr">
            <a:solidFill>
              <a:srgbClr val="F2F2F2"/>
            </a:solidFill>
            <a:prstDash val="solid"/>
          </a:ln>
        </c:spPr>
        <c:crossAx val="1"/>
        <c:crosses val="min"/>
        <c:auto val="0"/>
        <c:lblAlgn val="ctr"/>
        <c:lblOffset val="100"/>
        <c:noMultiLvlLbl val="0"/>
      </c:catAx>
      <c:valAx>
        <c:axId val="1"/>
        <c:scaling>
          <c:orientation val="minMax"/>
          <c:max val="33.796988925806097"/>
          <c:min val="0"/>
        </c:scaling>
        <c:delete val="1"/>
        <c:axPos val="l"/>
        <c:numFmt formatCode="General" sourceLinked="1"/>
        <c:majorTickMark val="out"/>
        <c:minorTickMark val="none"/>
        <c:tickLblPos val="nextTo"/>
        <c:crossAx val="880253104"/>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298735861610112E-2"/>
          <c:y val="2.1434460016488046E-2"/>
          <c:w val="0.96540252827677975"/>
          <c:h val="0.95713107996702396"/>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CC29-41A0-8AF4-126BD09468DA}"/>
              </c:ext>
            </c:extLst>
          </c:dPt>
          <c:dPt>
            <c:idx val="6"/>
            <c:invertIfNegative val="0"/>
            <c:bubble3D val="0"/>
            <c:spPr>
              <a:solidFill>
                <a:srgbClr val="C0C0C0"/>
              </a:solidFill>
              <a:ln>
                <a:noFill/>
              </a:ln>
            </c:spPr>
            <c:extLst>
              <c:ext xmlns:c16="http://schemas.microsoft.com/office/drawing/2014/chart" uri="{C3380CC4-5D6E-409C-BE32-E72D297353CC}">
                <c16:uniqueId val="{00000001-CC29-41A0-8AF4-126BD09468DA}"/>
              </c:ext>
            </c:extLst>
          </c:dPt>
          <c:val>
            <c:numRef>
              <c:f>Sheet1!$A$1:$G$1</c:f>
              <c:numCache>
                <c:formatCode>General</c:formatCode>
                <c:ptCount val="7"/>
                <c:pt idx="0">
                  <c:v>-711.84210526315792</c:v>
                </c:pt>
                <c:pt idx="1">
                  <c:v>-111.84210526315792</c:v>
                </c:pt>
                <c:pt idx="2">
                  <c:v>-111.84210526315792</c:v>
                </c:pt>
                <c:pt idx="3">
                  <c:v>-161.84210526315792</c:v>
                </c:pt>
                <c:pt idx="4">
                  <c:v>-211.84210526315792</c:v>
                </c:pt>
                <c:pt idx="5">
                  <c:v>-211.84210526315792</c:v>
                </c:pt>
                <c:pt idx="6">
                  <c:v>-211.84210526315792</c:v>
                </c:pt>
              </c:numCache>
            </c:numRef>
          </c:val>
          <c:extLst>
            <c:ext xmlns:c16="http://schemas.microsoft.com/office/drawing/2014/chart" uri="{C3380CC4-5D6E-409C-BE32-E72D297353CC}">
              <c16:uniqueId val="{00000002-CC29-41A0-8AF4-126BD09468DA}"/>
            </c:ext>
          </c:extLst>
        </c:ser>
        <c:ser>
          <c:idx val="1"/>
          <c:order val="1"/>
          <c:spPr>
            <a:solidFill>
              <a:schemeClr val="tx2"/>
            </a:solidFill>
            <a:ln>
              <a:noFill/>
            </a:ln>
          </c:spPr>
          <c:invertIfNegative val="0"/>
          <c:val>
            <c:numRef>
              <c:f>Sheet1!$A$2:$G$2</c:f>
              <c:numCache>
                <c:formatCode>General</c:formatCode>
                <c:ptCount val="7"/>
                <c:pt idx="1">
                  <c:v>-600</c:v>
                </c:pt>
                <c:pt idx="2">
                  <c:v>-50</c:v>
                </c:pt>
                <c:pt idx="3">
                  <c:v>-50</c:v>
                </c:pt>
                <c:pt idx="4">
                  <c:v>-50</c:v>
                </c:pt>
                <c:pt idx="5">
                  <c:v>-50</c:v>
                </c:pt>
              </c:numCache>
            </c:numRef>
          </c:val>
          <c:extLst>
            <c:ext xmlns:c16="http://schemas.microsoft.com/office/drawing/2014/chart" uri="{C3380CC4-5D6E-409C-BE32-E72D297353CC}">
              <c16:uniqueId val="{00000003-CC29-41A0-8AF4-126BD09468DA}"/>
            </c:ext>
          </c:extLst>
        </c:ser>
        <c:dLbls>
          <c:showLegendKey val="0"/>
          <c:showVal val="0"/>
          <c:showCatName val="0"/>
          <c:showSerName val="0"/>
          <c:showPercent val="0"/>
          <c:showBubbleSize val="0"/>
        </c:dLbls>
        <c:gapWidth val="80"/>
        <c:overlap val="100"/>
        <c:axId val="323241823"/>
        <c:axId val="1"/>
      </c:barChart>
      <c:catAx>
        <c:axId val="323241823"/>
        <c:scaling>
          <c:orientation val="minMax"/>
        </c:scaling>
        <c:delete val="0"/>
        <c:axPos val="t"/>
        <c:majorGridlines>
          <c:spPr>
            <a:ln>
              <a:noFill/>
            </a:ln>
          </c:spPr>
        </c:majorGridlines>
        <c:majorTickMark val="none"/>
        <c:minorTickMark val="none"/>
        <c:tickLblPos val="none"/>
        <c:spPr>
          <a:ln w="9525" algn="ctr">
            <a:solidFill>
              <a:schemeClr val="tx2"/>
            </a:solidFill>
            <a:prstDash val="solid"/>
          </a:ln>
        </c:spPr>
        <c:crossAx val="1"/>
        <c:crosses val="max"/>
        <c:auto val="0"/>
        <c:lblAlgn val="ctr"/>
        <c:lblOffset val="100"/>
        <c:noMultiLvlLbl val="0"/>
      </c:catAx>
      <c:valAx>
        <c:axId val="1"/>
        <c:scaling>
          <c:orientation val="minMax"/>
          <c:max val="0"/>
          <c:min val="-961.84210526315792"/>
        </c:scaling>
        <c:delete val="1"/>
        <c:axPos val="l"/>
        <c:numFmt formatCode="General" sourceLinked="1"/>
        <c:majorTickMark val="out"/>
        <c:minorTickMark val="none"/>
        <c:tickLblPos val="nextTo"/>
        <c:crossAx val="323241823"/>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258215962441314E-2"/>
          <c:y val="2.2288898414059153E-2"/>
          <c:w val="0.96948356807511737"/>
          <c:h val="0.95542220317188165"/>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E040-4F5A-B585-F4E58E70D5BE}"/>
              </c:ext>
            </c:extLst>
          </c:dPt>
          <c:dPt>
            <c:idx val="7"/>
            <c:invertIfNegative val="0"/>
            <c:bubble3D val="0"/>
            <c:spPr>
              <a:solidFill>
                <a:srgbClr val="C0C0C0"/>
              </a:solidFill>
              <a:ln>
                <a:noFill/>
              </a:ln>
            </c:spPr>
            <c:extLst>
              <c:ext xmlns:c16="http://schemas.microsoft.com/office/drawing/2014/chart" uri="{C3380CC4-5D6E-409C-BE32-E72D297353CC}">
                <c16:uniqueId val="{00000001-E040-4F5A-B585-F4E58E70D5BE}"/>
              </c:ext>
            </c:extLst>
          </c:dPt>
          <c:val>
            <c:numRef>
              <c:f>Sheet1!$A$1:$H$1</c:f>
              <c:numCache>
                <c:formatCode>General</c:formatCode>
                <c:ptCount val="8"/>
                <c:pt idx="0">
                  <c:v>-711.75126903553291</c:v>
                </c:pt>
                <c:pt idx="1">
                  <c:v>-711.75126903553291</c:v>
                </c:pt>
                <c:pt idx="2">
                  <c:v>-911.75126903553291</c:v>
                </c:pt>
                <c:pt idx="3">
                  <c:v>-916.75126903553291</c:v>
                </c:pt>
                <c:pt idx="4">
                  <c:v>-921.75126903553291</c:v>
                </c:pt>
                <c:pt idx="5">
                  <c:v>-931.75126903553291</c:v>
                </c:pt>
                <c:pt idx="6">
                  <c:v>-941.75126903553291</c:v>
                </c:pt>
                <c:pt idx="7">
                  <c:v>-961.75126903553291</c:v>
                </c:pt>
              </c:numCache>
            </c:numRef>
          </c:val>
          <c:extLst>
            <c:ext xmlns:c16="http://schemas.microsoft.com/office/drawing/2014/chart" uri="{C3380CC4-5D6E-409C-BE32-E72D297353CC}">
              <c16:uniqueId val="{00000002-E040-4F5A-B585-F4E58E70D5BE}"/>
            </c:ext>
          </c:extLst>
        </c:ser>
        <c:ser>
          <c:idx val="1"/>
          <c:order val="1"/>
          <c:spPr>
            <a:solidFill>
              <a:schemeClr val="tx2"/>
            </a:solidFill>
            <a:ln>
              <a:noFill/>
            </a:ln>
          </c:spPr>
          <c:invertIfNegative val="0"/>
          <c:val>
            <c:numRef>
              <c:f>Sheet1!$A$2:$H$2</c:f>
              <c:numCache>
                <c:formatCode>General</c:formatCode>
                <c:ptCount val="8"/>
                <c:pt idx="1">
                  <c:v>-200</c:v>
                </c:pt>
                <c:pt idx="2">
                  <c:v>-5</c:v>
                </c:pt>
                <c:pt idx="3">
                  <c:v>-5</c:v>
                </c:pt>
                <c:pt idx="4">
                  <c:v>-10</c:v>
                </c:pt>
                <c:pt idx="5">
                  <c:v>-10</c:v>
                </c:pt>
                <c:pt idx="6">
                  <c:v>-20</c:v>
                </c:pt>
              </c:numCache>
            </c:numRef>
          </c:val>
          <c:extLst>
            <c:ext xmlns:c16="http://schemas.microsoft.com/office/drawing/2014/chart" uri="{C3380CC4-5D6E-409C-BE32-E72D297353CC}">
              <c16:uniqueId val="{00000003-E040-4F5A-B585-F4E58E70D5BE}"/>
            </c:ext>
          </c:extLst>
        </c:ser>
        <c:dLbls>
          <c:showLegendKey val="0"/>
          <c:showVal val="0"/>
          <c:showCatName val="0"/>
          <c:showSerName val="0"/>
          <c:showPercent val="0"/>
          <c:showBubbleSize val="0"/>
        </c:dLbls>
        <c:gapWidth val="80"/>
        <c:overlap val="100"/>
        <c:axId val="36737887"/>
        <c:axId val="1"/>
      </c:barChart>
      <c:catAx>
        <c:axId val="36737887"/>
        <c:scaling>
          <c:orientation val="minMax"/>
        </c:scaling>
        <c:delete val="0"/>
        <c:axPos val="t"/>
        <c:majorGridlines>
          <c:spPr>
            <a:ln>
              <a:noFill/>
            </a:ln>
          </c:spPr>
        </c:majorGridlines>
        <c:majorTickMark val="none"/>
        <c:minorTickMark val="none"/>
        <c:tickLblPos val="none"/>
        <c:spPr>
          <a:ln w="9525" algn="ctr">
            <a:solidFill>
              <a:schemeClr val="tx2"/>
            </a:solidFill>
            <a:prstDash val="solid"/>
          </a:ln>
        </c:spPr>
        <c:crossAx val="1"/>
        <c:crosses val="max"/>
        <c:auto val="0"/>
        <c:lblAlgn val="ctr"/>
        <c:lblOffset val="100"/>
        <c:noMultiLvlLbl val="0"/>
      </c:catAx>
      <c:valAx>
        <c:axId val="1"/>
        <c:scaling>
          <c:orientation val="minMax"/>
          <c:max val="0"/>
          <c:min val="-961.75126903553291"/>
        </c:scaling>
        <c:delete val="1"/>
        <c:axPos val="l"/>
        <c:numFmt formatCode="General" sourceLinked="1"/>
        <c:majorTickMark val="out"/>
        <c:minorTickMark val="none"/>
        <c:tickLblPos val="nextTo"/>
        <c:crossAx val="36737887"/>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940928270042193"/>
          <c:y val="9.154929577464789E-2"/>
          <c:w val="0.56118143459915604"/>
          <c:h val="0.81690140845070425"/>
        </c:manualLayout>
      </c:layout>
      <c:barChart>
        <c:barDir val="col"/>
        <c:grouping val="stacked"/>
        <c:varyColors val="0"/>
        <c:ser>
          <c:idx val="0"/>
          <c:order val="0"/>
          <c:spPr>
            <a:solidFill>
              <a:schemeClr val="accent2"/>
            </a:solidFill>
            <a:ln>
              <a:noFill/>
            </a:ln>
          </c:spPr>
          <c:invertIfNegative val="0"/>
          <c:val>
            <c:numRef>
              <c:f>Sheet1!$A$1</c:f>
              <c:numCache>
                <c:formatCode>General</c:formatCode>
                <c:ptCount val="1"/>
                <c:pt idx="0">
                  <c:v>190</c:v>
                </c:pt>
              </c:numCache>
            </c:numRef>
          </c:val>
          <c:extLst>
            <c:ext xmlns:c16="http://schemas.microsoft.com/office/drawing/2014/chart" uri="{C3380CC4-5D6E-409C-BE32-E72D297353CC}">
              <c16:uniqueId val="{00000000-DDB9-4634-9105-637B51F280CE}"/>
            </c:ext>
          </c:extLst>
        </c:ser>
        <c:dLbls>
          <c:showLegendKey val="0"/>
          <c:showVal val="0"/>
          <c:showCatName val="0"/>
          <c:showSerName val="0"/>
          <c:showPercent val="0"/>
          <c:showBubbleSize val="0"/>
        </c:dLbls>
        <c:gapWidth val="80"/>
        <c:overlap val="100"/>
        <c:axId val="728208256"/>
        <c:axId val="1"/>
      </c:barChart>
      <c:catAx>
        <c:axId val="7282082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72820825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89763779527558E-2"/>
          <c:y val="9.7560975609756101E-2"/>
          <c:w val="0.83622047244094488"/>
          <c:h val="0.80487804878048785"/>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170</c:v>
                </c:pt>
                <c:pt idx="1">
                  <c:v>170</c:v>
                </c:pt>
                <c:pt idx="2">
                  <c:v>170</c:v>
                </c:pt>
              </c:numCache>
            </c:numRef>
          </c:val>
          <c:extLst>
            <c:ext xmlns:c16="http://schemas.microsoft.com/office/drawing/2014/chart" uri="{C3380CC4-5D6E-409C-BE32-E72D297353CC}">
              <c16:uniqueId val="{00000000-E957-4689-8F4D-A089CD77C78C}"/>
            </c:ext>
          </c:extLst>
        </c:ser>
        <c:dLbls>
          <c:showLegendKey val="0"/>
          <c:showVal val="0"/>
          <c:showCatName val="0"/>
          <c:showSerName val="0"/>
          <c:showPercent val="0"/>
          <c:showBubbleSize val="0"/>
        </c:dLbls>
        <c:gapWidth val="80"/>
        <c:overlap val="100"/>
        <c:axId val="728221456"/>
        <c:axId val="1"/>
      </c:barChart>
      <c:catAx>
        <c:axId val="7282214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728221456"/>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74898967220475E-2"/>
          <c:y val="9.236234458259325E-2"/>
          <c:w val="0.97665020206555897"/>
          <c:h val="0.81527531083481353"/>
        </c:manualLayout>
      </c:layout>
      <c:barChart>
        <c:barDir val="col"/>
        <c:grouping val="stacked"/>
        <c:varyColors val="0"/>
        <c:ser>
          <c:idx val="0"/>
          <c:order val="0"/>
          <c:spPr>
            <a:solidFill>
              <a:srgbClr val="C0C0C0"/>
            </a:solidFill>
            <a:ln>
              <a:noFill/>
            </a:ln>
          </c:spPr>
          <c:invertIfNegative val="0"/>
          <c:val>
            <c:numRef>
              <c:f>Sheet1!$A$1:$AN$1</c:f>
              <c:numCache>
                <c:formatCode>General</c:formatCode>
                <c:ptCount val="40"/>
                <c:pt idx="5">
                  <c:v>150</c:v>
                </c:pt>
                <c:pt idx="6">
                  <c:v>200</c:v>
                </c:pt>
                <c:pt idx="7">
                  <c:v>200</c:v>
                </c:pt>
                <c:pt idx="8">
                  <c:v>200</c:v>
                </c:pt>
                <c:pt idx="9">
                  <c:v>150</c:v>
                </c:pt>
                <c:pt idx="10">
                  <c:v>64.463071809911213</c:v>
                </c:pt>
                <c:pt idx="11">
                  <c:v>65.737673874565786</c:v>
                </c:pt>
                <c:pt idx="12">
                  <c:v>67.493449635772663</c:v>
                </c:pt>
                <c:pt idx="13">
                  <c:v>67.680453799633341</c:v>
                </c:pt>
                <c:pt idx="14">
                  <c:v>67.874762088409881</c:v>
                </c:pt>
                <c:pt idx="15">
                  <c:v>68.076593625849682</c:v>
                </c:pt>
                <c:pt idx="16">
                  <c:v>68.286174109412684</c:v>
                </c:pt>
                <c:pt idx="17">
                  <c:v>68.503736007482587</c:v>
                </c:pt>
                <c:pt idx="18">
                  <c:v>68.729518762494564</c:v>
                </c:pt>
                <c:pt idx="19">
                  <c:v>68.96376900015693</c:v>
                </c:pt>
                <c:pt idx="20">
                  <c:v>69.206740744949144</c:v>
                </c:pt>
                <c:pt idx="21">
                  <c:v>69.355888454150914</c:v>
                </c:pt>
                <c:pt idx="22">
                  <c:v>69.509148450870057</c:v>
                </c:pt>
                <c:pt idx="23">
                  <c:v>69.666602980856908</c:v>
                </c:pt>
                <c:pt idx="24">
                  <c:v>69.828335934776831</c:v>
                </c:pt>
                <c:pt idx="25">
                  <c:v>69.994432881108494</c:v>
                </c:pt>
                <c:pt idx="26">
                  <c:v>70</c:v>
                </c:pt>
                <c:pt idx="27">
                  <c:v>70.34006961599691</c:v>
                </c:pt>
                <c:pt idx="28">
                  <c:v>70.51978923595297</c:v>
                </c:pt>
                <c:pt idx="29">
                  <c:v>70.704232581641477</c:v>
                </c:pt>
                <c:pt idx="30">
                  <c:v>70.8934941275771</c:v>
                </c:pt>
                <c:pt idx="31">
                  <c:v>71.087670237764755</c:v>
                </c:pt>
                <c:pt idx="32">
                  <c:v>71.286859203489513</c:v>
                </c:pt>
                <c:pt idx="33">
                  <c:v>71.491161281862091</c:v>
                </c:pt>
                <c:pt idx="34">
                  <c:v>71.700678735135455</c:v>
                </c:pt>
                <c:pt idx="35">
                  <c:v>71.915515870807596</c:v>
                </c:pt>
                <c:pt idx="36">
                  <c:v>72.13577908252654</c:v>
                </c:pt>
                <c:pt idx="37">
                  <c:v>72.361576891813201</c:v>
                </c:pt>
                <c:pt idx="38">
                  <c:v>72.593019990618927</c:v>
                </c:pt>
                <c:pt idx="39">
                  <c:v>72.83022128473408</c:v>
                </c:pt>
              </c:numCache>
            </c:numRef>
          </c:val>
          <c:extLst>
            <c:ext xmlns:c16="http://schemas.microsoft.com/office/drawing/2014/chart" uri="{C3380CC4-5D6E-409C-BE32-E72D297353CC}">
              <c16:uniqueId val="{00000000-80FA-406F-AB52-F7074E54DE0E}"/>
            </c:ext>
          </c:extLst>
        </c:ser>
        <c:dLbls>
          <c:showLegendKey val="0"/>
          <c:showVal val="0"/>
          <c:showCatName val="0"/>
          <c:showSerName val="0"/>
          <c:showPercent val="0"/>
          <c:showBubbleSize val="0"/>
        </c:dLbls>
        <c:gapWidth val="80"/>
        <c:overlap val="100"/>
        <c:axId val="415237920"/>
        <c:axId val="1"/>
      </c:barChart>
      <c:catAx>
        <c:axId val="4152379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41523792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74898967220475E-2"/>
          <c:y val="9.942638623326959E-2"/>
          <c:w val="0.97665020206555897"/>
          <c:h val="0.80114722753346079"/>
        </c:manualLayout>
      </c:layout>
      <c:barChart>
        <c:barDir val="col"/>
        <c:grouping val="stacked"/>
        <c:varyColors val="0"/>
        <c:ser>
          <c:idx val="0"/>
          <c:order val="0"/>
          <c:spPr>
            <a:solidFill>
              <a:srgbClr val="C0C0C0"/>
            </a:solidFill>
            <a:ln>
              <a:noFill/>
            </a:ln>
          </c:spPr>
          <c:invertIfNegative val="0"/>
          <c:dPt>
            <c:idx val="5"/>
            <c:invertIfNegative val="0"/>
            <c:bubble3D val="0"/>
            <c:spPr>
              <a:solidFill>
                <a:schemeClr val="accent1"/>
              </a:solidFill>
              <a:ln>
                <a:noFill/>
              </a:ln>
            </c:spPr>
            <c:extLst>
              <c:ext xmlns:c16="http://schemas.microsoft.com/office/drawing/2014/chart" uri="{C3380CC4-5D6E-409C-BE32-E72D297353CC}">
                <c16:uniqueId val="{00000000-7AB5-4397-B4C3-16C733A771FE}"/>
              </c:ext>
            </c:extLst>
          </c:dPt>
          <c:dPt>
            <c:idx val="6"/>
            <c:invertIfNegative val="0"/>
            <c:bubble3D val="0"/>
            <c:spPr>
              <a:solidFill>
                <a:schemeClr val="accent1"/>
              </a:solidFill>
              <a:ln>
                <a:noFill/>
              </a:ln>
            </c:spPr>
            <c:extLst>
              <c:ext xmlns:c16="http://schemas.microsoft.com/office/drawing/2014/chart" uri="{C3380CC4-5D6E-409C-BE32-E72D297353CC}">
                <c16:uniqueId val="{00000001-7AB5-4397-B4C3-16C733A771FE}"/>
              </c:ext>
            </c:extLst>
          </c:dPt>
          <c:dPt>
            <c:idx val="7"/>
            <c:invertIfNegative val="0"/>
            <c:bubble3D val="0"/>
            <c:spPr>
              <a:solidFill>
                <a:schemeClr val="accent1"/>
              </a:solidFill>
              <a:ln>
                <a:noFill/>
              </a:ln>
            </c:spPr>
            <c:extLst>
              <c:ext xmlns:c16="http://schemas.microsoft.com/office/drawing/2014/chart" uri="{C3380CC4-5D6E-409C-BE32-E72D297353CC}">
                <c16:uniqueId val="{00000002-7AB5-4397-B4C3-16C733A771FE}"/>
              </c:ext>
            </c:extLst>
          </c:dPt>
          <c:dPt>
            <c:idx val="8"/>
            <c:invertIfNegative val="0"/>
            <c:bubble3D val="0"/>
            <c:spPr>
              <a:solidFill>
                <a:schemeClr val="accent1"/>
              </a:solidFill>
              <a:ln>
                <a:noFill/>
              </a:ln>
            </c:spPr>
            <c:extLst>
              <c:ext xmlns:c16="http://schemas.microsoft.com/office/drawing/2014/chart" uri="{C3380CC4-5D6E-409C-BE32-E72D297353CC}">
                <c16:uniqueId val="{00000003-7AB5-4397-B4C3-16C733A771FE}"/>
              </c:ext>
            </c:extLst>
          </c:dPt>
          <c:dPt>
            <c:idx val="9"/>
            <c:invertIfNegative val="0"/>
            <c:bubble3D val="0"/>
            <c:spPr>
              <a:solidFill>
                <a:schemeClr val="accent1"/>
              </a:solidFill>
              <a:ln>
                <a:noFill/>
              </a:ln>
            </c:spPr>
            <c:extLst>
              <c:ext xmlns:c16="http://schemas.microsoft.com/office/drawing/2014/chart" uri="{C3380CC4-5D6E-409C-BE32-E72D297353CC}">
                <c16:uniqueId val="{00000004-7AB5-4397-B4C3-16C733A771FE}"/>
              </c:ext>
            </c:extLst>
          </c:dPt>
          <c:val>
            <c:numRef>
              <c:f>Sheet1!$A$1:$AN$1</c:f>
              <c:numCache>
                <c:formatCode>General</c:formatCode>
                <c:ptCount val="40"/>
                <c:pt idx="5">
                  <c:v>0</c:v>
                </c:pt>
                <c:pt idx="6">
                  <c:v>0</c:v>
                </c:pt>
                <c:pt idx="7">
                  <c:v>0</c:v>
                </c:pt>
                <c:pt idx="8">
                  <c:v>0</c:v>
                </c:pt>
                <c:pt idx="9">
                  <c:v>0</c:v>
                </c:pt>
                <c:pt idx="10">
                  <c:v>56.504354451332176</c:v>
                </c:pt>
                <c:pt idx="11">
                  <c:v>71.63013548907341</c:v>
                </c:pt>
                <c:pt idx="12">
                  <c:v>92.223799442182013</c:v>
                </c:pt>
                <c:pt idx="13">
                  <c:v>94.990513425447489</c:v>
                </c:pt>
                <c:pt idx="14">
                  <c:v>97.840228828210925</c:v>
                </c:pt>
                <c:pt idx="15">
                  <c:v>100.77543569305723</c:v>
                </c:pt>
                <c:pt idx="16">
                  <c:v>103.79869876384895</c:v>
                </c:pt>
                <c:pt idx="17">
                  <c:v>106.91265972676445</c:v>
                </c:pt>
                <c:pt idx="18">
                  <c:v>110.12003951856738</c:v>
                </c:pt>
                <c:pt idx="19">
                  <c:v>113.42364070412441</c:v>
                </c:pt>
                <c:pt idx="20">
                  <c:v>116.82634992524812</c:v>
                </c:pt>
                <c:pt idx="21">
                  <c:v>119.16287692375309</c:v>
                </c:pt>
                <c:pt idx="22">
                  <c:v>121.54613446222817</c:v>
                </c:pt>
                <c:pt idx="23">
                  <c:v>123.97705715147274</c:v>
                </c:pt>
                <c:pt idx="24">
                  <c:v>126.45659829450217</c:v>
                </c:pt>
                <c:pt idx="25">
                  <c:v>128.98573026039222</c:v>
                </c:pt>
                <c:pt idx="26">
                  <c:v>131.56544486560006</c:v>
                </c:pt>
                <c:pt idx="27">
                  <c:v>134.19675376291207</c:v>
                </c:pt>
                <c:pt idx="28">
                  <c:v>136.88068883817033</c:v>
                </c:pt>
                <c:pt idx="29">
                  <c:v>139.61830261493373</c:v>
                </c:pt>
                <c:pt idx="30">
                  <c:v>142.41066866723239</c:v>
                </c:pt>
                <c:pt idx="31">
                  <c:v>145.25888204057702</c:v>
                </c:pt>
                <c:pt idx="32">
                  <c:v>148.16405968138858</c:v>
                </c:pt>
                <c:pt idx="33">
                  <c:v>151.12734087501636</c:v>
                </c:pt>
                <c:pt idx="34">
                  <c:v>154.14988769251667</c:v>
                </c:pt>
                <c:pt idx="35">
                  <c:v>157.23288544636702</c:v>
                </c:pt>
                <c:pt idx="36">
                  <c:v>160.37754315529435</c:v>
                </c:pt>
                <c:pt idx="37">
                  <c:v>163.58509401840024</c:v>
                </c:pt>
                <c:pt idx="38">
                  <c:v>166.85679589876827</c:v>
                </c:pt>
                <c:pt idx="39">
                  <c:v>170.19393181674363</c:v>
                </c:pt>
              </c:numCache>
            </c:numRef>
          </c:val>
          <c:extLst>
            <c:ext xmlns:c16="http://schemas.microsoft.com/office/drawing/2014/chart" uri="{C3380CC4-5D6E-409C-BE32-E72D297353CC}">
              <c16:uniqueId val="{00000005-7AB5-4397-B4C3-16C733A771FE}"/>
            </c:ext>
          </c:extLst>
        </c:ser>
        <c:dLbls>
          <c:showLegendKey val="0"/>
          <c:showVal val="0"/>
          <c:showCatName val="0"/>
          <c:showSerName val="0"/>
          <c:showPercent val="0"/>
          <c:showBubbleSize val="0"/>
        </c:dLbls>
        <c:gapWidth val="80"/>
        <c:overlap val="100"/>
        <c:axId val="415241520"/>
        <c:axId val="1"/>
      </c:barChart>
      <c:catAx>
        <c:axId val="4152415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415241520"/>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89763779527558E-2"/>
          <c:y val="9.8113207547169817E-2"/>
          <c:w val="0.83622047244094488"/>
          <c:h val="0.80377358490566042"/>
        </c:manualLayout>
      </c:layout>
      <c:barChart>
        <c:barDir val="col"/>
        <c:grouping val="stacked"/>
        <c:varyColors val="0"/>
        <c:ser>
          <c:idx val="0"/>
          <c:order val="0"/>
          <c:spPr>
            <a:solidFill>
              <a:schemeClr val="accent2"/>
            </a:solidFill>
            <a:ln>
              <a:noFill/>
            </a:ln>
          </c:spPr>
          <c:invertIfNegative val="0"/>
          <c:val>
            <c:numRef>
              <c:f>Sheet1!$A$1:$D$1</c:f>
              <c:numCache>
                <c:formatCode>General</c:formatCode>
                <c:ptCount val="4"/>
                <c:pt idx="0">
                  <c:v>97</c:v>
                </c:pt>
                <c:pt idx="1">
                  <c:v>97</c:v>
                </c:pt>
                <c:pt idx="2">
                  <c:v>97</c:v>
                </c:pt>
              </c:numCache>
            </c:numRef>
          </c:val>
          <c:extLst>
            <c:ext xmlns:c16="http://schemas.microsoft.com/office/drawing/2014/chart" uri="{C3380CC4-5D6E-409C-BE32-E72D297353CC}">
              <c16:uniqueId val="{00000000-6CCB-4452-B281-845E3B2B6571}"/>
            </c:ext>
          </c:extLst>
        </c:ser>
        <c:dLbls>
          <c:showLegendKey val="0"/>
          <c:showVal val="0"/>
          <c:showCatName val="0"/>
          <c:showSerName val="0"/>
          <c:showPercent val="0"/>
          <c:showBubbleSize val="0"/>
        </c:dLbls>
        <c:gapWidth val="80"/>
        <c:overlap val="100"/>
        <c:axId val="728211856"/>
        <c:axId val="1"/>
      </c:barChart>
      <c:catAx>
        <c:axId val="728211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72821185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74898967220475E-2"/>
          <c:y val="9.8113207547169817E-2"/>
          <c:w val="0.97665020206555897"/>
          <c:h val="0.80377358490566042"/>
        </c:manualLayout>
      </c:layout>
      <c:barChart>
        <c:barDir val="col"/>
        <c:grouping val="stacked"/>
        <c:varyColors val="0"/>
        <c:ser>
          <c:idx val="0"/>
          <c:order val="0"/>
          <c:spPr>
            <a:solidFill>
              <a:schemeClr val="accent2"/>
            </a:solidFill>
            <a:ln>
              <a:noFill/>
            </a:ln>
          </c:spPr>
          <c:invertIfNegative val="0"/>
          <c:val>
            <c:numRef>
              <c:f>Sheet1!$A$1:$AN$1</c:f>
              <c:numCache>
                <c:formatCode>General</c:formatCode>
                <c:ptCount val="40"/>
                <c:pt idx="5">
                  <c:v>-150</c:v>
                </c:pt>
                <c:pt idx="6">
                  <c:v>-200</c:v>
                </c:pt>
                <c:pt idx="7">
                  <c:v>-200</c:v>
                </c:pt>
                <c:pt idx="8">
                  <c:v>-200</c:v>
                </c:pt>
                <c:pt idx="9">
                  <c:v>-150</c:v>
                </c:pt>
                <c:pt idx="10">
                  <c:v>-7.9587173585790367</c:v>
                </c:pt>
                <c:pt idx="11">
                  <c:v>5.8924616145076243</c:v>
                </c:pt>
                <c:pt idx="12">
                  <c:v>24.73034980640935</c:v>
                </c:pt>
                <c:pt idx="13">
                  <c:v>27.310059625814148</c:v>
                </c:pt>
                <c:pt idx="14">
                  <c:v>29.965466739801045</c:v>
                </c:pt>
                <c:pt idx="15">
                  <c:v>32.698842067207551</c:v>
                </c:pt>
                <c:pt idx="16">
                  <c:v>35.512524654436262</c:v>
                </c:pt>
                <c:pt idx="17">
                  <c:v>38.408923719281859</c:v>
                </c:pt>
                <c:pt idx="18">
                  <c:v>41.390520756072817</c:v>
                </c:pt>
                <c:pt idx="19">
                  <c:v>44.45987170396748</c:v>
                </c:pt>
                <c:pt idx="20">
                  <c:v>47.61960918029898</c:v>
                </c:pt>
                <c:pt idx="21">
                  <c:v>49.806988469602175</c:v>
                </c:pt>
                <c:pt idx="22">
                  <c:v>52.03698601135811</c:v>
                </c:pt>
                <c:pt idx="23">
                  <c:v>54.310454170615827</c:v>
                </c:pt>
                <c:pt idx="24">
                  <c:v>56.628262359725341</c:v>
                </c:pt>
                <c:pt idx="25">
                  <c:v>58.991297379283722</c:v>
                </c:pt>
                <c:pt idx="26">
                  <c:v>61.565444865600057</c:v>
                </c:pt>
                <c:pt idx="27">
                  <c:v>63.856684146915157</c:v>
                </c:pt>
                <c:pt idx="28">
                  <c:v>66.360899602217359</c:v>
                </c:pt>
                <c:pt idx="29">
                  <c:v>68.914070033292248</c:v>
                </c:pt>
                <c:pt idx="30">
                  <c:v>71.517174539655286</c:v>
                </c:pt>
                <c:pt idx="31">
                  <c:v>74.171211802812266</c:v>
                </c:pt>
                <c:pt idx="32">
                  <c:v>76.877200477899066</c:v>
                </c:pt>
                <c:pt idx="33">
                  <c:v>79.636179593154267</c:v>
                </c:pt>
                <c:pt idx="34">
                  <c:v>82.449208957381217</c:v>
                </c:pt>
                <c:pt idx="35">
                  <c:v>85.317369575559425</c:v>
                </c:pt>
                <c:pt idx="36">
                  <c:v>88.241764072767808</c:v>
                </c:pt>
                <c:pt idx="37">
                  <c:v>91.223517126587041</c:v>
                </c:pt>
                <c:pt idx="38">
                  <c:v>94.263775908149341</c:v>
                </c:pt>
                <c:pt idx="39">
                  <c:v>97.363710532009549</c:v>
                </c:pt>
              </c:numCache>
            </c:numRef>
          </c:val>
          <c:extLst>
            <c:ext xmlns:c16="http://schemas.microsoft.com/office/drawing/2014/chart" uri="{C3380CC4-5D6E-409C-BE32-E72D297353CC}">
              <c16:uniqueId val="{00000000-C6F6-4E22-98EA-1B05FA01BE1A}"/>
            </c:ext>
          </c:extLst>
        </c:ser>
        <c:dLbls>
          <c:showLegendKey val="0"/>
          <c:showVal val="0"/>
          <c:showCatName val="0"/>
          <c:showSerName val="0"/>
          <c:showPercent val="0"/>
          <c:showBubbleSize val="0"/>
        </c:dLbls>
        <c:gapWidth val="80"/>
        <c:overlap val="100"/>
        <c:axId val="808553584"/>
        <c:axId val="1"/>
      </c:barChart>
      <c:catAx>
        <c:axId val="80855358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808553584"/>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889763779527558E-2"/>
          <c:y val="9.236234458259325E-2"/>
          <c:w val="0.83622047244094488"/>
          <c:h val="0.81527531083481353"/>
        </c:manualLayout>
      </c:layout>
      <c:barChart>
        <c:barDir val="col"/>
        <c:grouping val="stacked"/>
        <c:varyColors val="0"/>
        <c:ser>
          <c:idx val="0"/>
          <c:order val="0"/>
          <c:spPr>
            <a:solidFill>
              <a:srgbClr val="C0C0C0"/>
            </a:solidFill>
            <a:ln>
              <a:noFill/>
            </a:ln>
          </c:spPr>
          <c:invertIfNegative val="0"/>
          <c:val>
            <c:numRef>
              <c:f>Sheet1!$A$1:$D$1</c:f>
              <c:numCache>
                <c:formatCode>General</c:formatCode>
                <c:ptCount val="4"/>
                <c:pt idx="0">
                  <c:v>73</c:v>
                </c:pt>
                <c:pt idx="1">
                  <c:v>73</c:v>
                </c:pt>
                <c:pt idx="2">
                  <c:v>73</c:v>
                </c:pt>
              </c:numCache>
            </c:numRef>
          </c:val>
          <c:extLst>
            <c:ext xmlns:c16="http://schemas.microsoft.com/office/drawing/2014/chart" uri="{C3380CC4-5D6E-409C-BE32-E72D297353CC}">
              <c16:uniqueId val="{00000000-EACC-49F5-877C-8443EB595EFA}"/>
            </c:ext>
          </c:extLst>
        </c:ser>
        <c:dLbls>
          <c:showLegendKey val="0"/>
          <c:showVal val="0"/>
          <c:showCatName val="0"/>
          <c:showSerName val="0"/>
          <c:showPercent val="0"/>
          <c:showBubbleSize val="0"/>
        </c:dLbls>
        <c:gapWidth val="80"/>
        <c:overlap val="100"/>
        <c:axId val="728214256"/>
        <c:axId val="1"/>
      </c:barChart>
      <c:catAx>
        <c:axId val="7282142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200"/>
          <c:min val="-200"/>
        </c:scaling>
        <c:delete val="1"/>
        <c:axPos val="l"/>
        <c:numFmt formatCode="General" sourceLinked="1"/>
        <c:majorTickMark val="out"/>
        <c:minorTickMark val="none"/>
        <c:tickLblPos val="nextTo"/>
        <c:crossAx val="728214256"/>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8167115902965E-2"/>
          <c:y val="9.9236641221374045E-2"/>
          <c:w val="0.97843665768194066"/>
          <c:h val="0.80152671755725191"/>
        </c:manualLayout>
      </c:layout>
      <c:barChart>
        <c:barDir val="col"/>
        <c:grouping val="stacked"/>
        <c:varyColors val="0"/>
        <c:ser>
          <c:idx val="0"/>
          <c:order val="0"/>
          <c:spPr>
            <a:solidFill>
              <a:schemeClr val="tx2"/>
            </a:solidFill>
            <a:ln>
              <a:noFill/>
            </a:ln>
          </c:spPr>
          <c:invertIfNegative val="0"/>
          <c:dLbls>
            <c:dLbl>
              <c:idx val="5"/>
              <c:layout>
                <c:manualLayout>
                  <c:x val="0"/>
                  <c:y val="-9.7328244274809156E-2"/>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B54-4E93-B054-6B88947FA5BD}"/>
                </c:ext>
              </c:extLst>
            </c:dLbl>
            <c:dLbl>
              <c:idx val="6"/>
              <c:layout>
                <c:manualLayout>
                  <c:x val="0"/>
                  <c:y val="-0.11641221374045801"/>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B54-4E93-B054-6B88947FA5BD}"/>
                </c:ext>
              </c:extLst>
            </c:dLbl>
            <c:dLbl>
              <c:idx val="7"/>
              <c:layout>
                <c:manualLayout>
                  <c:x val="0"/>
                  <c:y val="-0.14503816793893129"/>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B54-4E93-B054-6B88947FA5BD}"/>
                </c:ext>
              </c:extLst>
            </c:dLbl>
            <c:dLbl>
              <c:idx val="8"/>
              <c:layout>
                <c:manualLayout>
                  <c:x val="0"/>
                  <c:y val="-0.1488549618320610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B54-4E93-B054-6B88947FA5BD}"/>
                </c:ext>
              </c:extLst>
            </c:dLbl>
            <c:dLbl>
              <c:idx val="9"/>
              <c:layout>
                <c:manualLayout>
                  <c:x val="0"/>
                  <c:y val="-0.1545801526717557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B54-4E93-B054-6B88947FA5BD}"/>
                </c:ext>
              </c:extLst>
            </c:dLbl>
            <c:dLbl>
              <c:idx val="10"/>
              <c:layout>
                <c:manualLayout>
                  <c:x val="0"/>
                  <c:y val="-0.1603053435114503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B54-4E93-B054-6B88947FA5BD}"/>
                </c:ext>
              </c:extLst>
            </c:dLbl>
            <c:dLbl>
              <c:idx val="11"/>
              <c:layout>
                <c:manualLayout>
                  <c:x val="0"/>
                  <c:y val="-0.1641221374045801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B54-4E93-B054-6B88947FA5BD}"/>
                </c:ext>
              </c:extLst>
            </c:dLbl>
            <c:dLbl>
              <c:idx val="12"/>
              <c:layout>
                <c:manualLayout>
                  <c:x val="0"/>
                  <c:y val="-0.1698473282442748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B54-4E93-B054-6B88947FA5BD}"/>
                </c:ext>
              </c:extLst>
            </c:dLbl>
            <c:dLbl>
              <c:idx val="13"/>
              <c:layout>
                <c:manualLayout>
                  <c:x val="0"/>
                  <c:y val="-0.1755725190839694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B54-4E93-B054-6B88947FA5BD}"/>
                </c:ext>
              </c:extLst>
            </c:dLbl>
            <c:dLbl>
              <c:idx val="14"/>
              <c:layout>
                <c:manualLayout>
                  <c:x val="0"/>
                  <c:y val="-0.1832061068702290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B54-4E93-B054-6B88947FA5BD}"/>
                </c:ext>
              </c:extLst>
            </c:dLbl>
            <c:dLbl>
              <c:idx val="15"/>
              <c:layout>
                <c:manualLayout>
                  <c:x val="0"/>
                  <c:y val="-0.1889312977099236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B54-4E93-B054-6B88947FA5BD}"/>
                </c:ext>
              </c:extLst>
            </c:dLbl>
            <c:dLbl>
              <c:idx val="16"/>
              <c:layout>
                <c:manualLayout>
                  <c:x val="0"/>
                  <c:y val="-0.1545801526717557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B54-4E93-B054-6B88947FA5BD}"/>
                </c:ext>
              </c:extLst>
            </c:dLbl>
            <c:dLbl>
              <c:idx val="17"/>
              <c:layout>
                <c:manualLayout>
                  <c:x val="0"/>
                  <c:y val="-0.1984732824427480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B54-4E93-B054-6B88947FA5BD}"/>
                </c:ext>
              </c:extLst>
            </c:dLbl>
            <c:dLbl>
              <c:idx val="18"/>
              <c:layout>
                <c:manualLayout>
                  <c:x val="0"/>
                  <c:y val="-0.2041984732824427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B54-4E93-B054-6B88947FA5BD}"/>
                </c:ext>
              </c:extLst>
            </c:dLbl>
            <c:dLbl>
              <c:idx val="19"/>
              <c:layout>
                <c:manualLayout>
                  <c:x val="0"/>
                  <c:y val="-0.20992366412213739"/>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B54-4E93-B054-6B88947FA5BD}"/>
                </c:ext>
              </c:extLst>
            </c:dLbl>
            <c:dLbl>
              <c:idx val="20"/>
              <c:layout>
                <c:manualLayout>
                  <c:x val="0"/>
                  <c:y val="-0.2156488549618320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B54-4E93-B054-6B88947FA5BD}"/>
                </c:ext>
              </c:extLst>
            </c:dLbl>
            <c:dLbl>
              <c:idx val="21"/>
              <c:layout>
                <c:manualLayout>
                  <c:x val="0"/>
                  <c:y val="-0.2213740458015267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B54-4E93-B054-6B88947FA5BD}"/>
                </c:ext>
              </c:extLst>
            </c:dLbl>
            <c:dLbl>
              <c:idx val="22"/>
              <c:layout>
                <c:manualLayout>
                  <c:x val="0"/>
                  <c:y val="-0.22709923664122136"/>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B54-4E93-B054-6B88947FA5BD}"/>
                </c:ext>
              </c:extLst>
            </c:dLbl>
            <c:dLbl>
              <c:idx val="23"/>
              <c:layout>
                <c:manualLayout>
                  <c:x val="0"/>
                  <c:y val="-0.2328244274809160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B54-4E93-B054-6B88947FA5BD}"/>
                </c:ext>
              </c:extLst>
            </c:dLbl>
            <c:dLbl>
              <c:idx val="24"/>
              <c:layout>
                <c:manualLayout>
                  <c:x val="0"/>
                  <c:y val="-0.238549618320610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B54-4E93-B054-6B88947FA5BD}"/>
                </c:ext>
              </c:extLst>
            </c:dLbl>
            <c:dLbl>
              <c:idx val="25"/>
              <c:layout>
                <c:manualLayout>
                  <c:x val="0"/>
                  <c:y val="-0.2461832061068702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B54-4E93-B054-6B88947FA5BD}"/>
                </c:ext>
              </c:extLst>
            </c:dLbl>
            <c:dLbl>
              <c:idx val="26"/>
              <c:layout>
                <c:manualLayout>
                  <c:x val="0"/>
                  <c:y val="-0.25190839694656486"/>
                </c:manualLayout>
              </c:layout>
              <c:numFmt formatCode="#,##0;&quot;-&quot;#,##0" sourceLinked="0"/>
              <c:spPr>
                <a:noFill/>
                <a:ln>
                  <a:noFill/>
                </a:ln>
              </c:spPr>
              <c:txPr>
                <a:bodyPr wrap="none"/>
                <a:lstStyle/>
                <a:p>
                  <a:pPr>
                    <a:defRPr sz="800" b="1">
                      <a:solidFill>
                        <a:schemeClr val="tx1"/>
                      </a:solidFill>
                      <a:latin typeface="+mn-lt"/>
                      <a:ea typeface="+mn-ea"/>
                      <a:cs typeface="+mn-cs"/>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B54-4E93-B054-6B88947FA5BD}"/>
                </c:ext>
              </c:extLst>
            </c:dLbl>
            <c:dLbl>
              <c:idx val="27"/>
              <c:layout>
                <c:manualLayout>
                  <c:x val="0"/>
                  <c:y val="-0.25954198473282442"/>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B54-4E93-B054-6B88947FA5BD}"/>
                </c:ext>
              </c:extLst>
            </c:dLbl>
            <c:dLbl>
              <c:idx val="28"/>
              <c:layout>
                <c:manualLayout>
                  <c:x val="0"/>
                  <c:y val="-0.26717557251908397"/>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B54-4E93-B054-6B88947FA5BD}"/>
                </c:ext>
              </c:extLst>
            </c:dLbl>
            <c:dLbl>
              <c:idx val="29"/>
              <c:layout>
                <c:manualLayout>
                  <c:x val="0"/>
                  <c:y val="-0.2729007633587786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B54-4E93-B054-6B88947FA5BD}"/>
                </c:ext>
              </c:extLst>
            </c:dLbl>
            <c:dLbl>
              <c:idx val="30"/>
              <c:layout>
                <c:manualLayout>
                  <c:x val="0"/>
                  <c:y val="-0.2824427480916030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B54-4E93-B054-6B88947FA5BD}"/>
                </c:ext>
              </c:extLst>
            </c:dLbl>
            <c:dLbl>
              <c:idx val="31"/>
              <c:layout>
                <c:manualLayout>
                  <c:x val="0"/>
                  <c:y val="-0.29007633587786258"/>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B54-4E93-B054-6B88947FA5BD}"/>
                </c:ext>
              </c:extLst>
            </c:dLbl>
            <c:dLbl>
              <c:idx val="32"/>
              <c:layout>
                <c:manualLayout>
                  <c:x val="0"/>
                  <c:y val="-0.29770992366412213"/>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6B54-4E93-B054-6B88947FA5BD}"/>
                </c:ext>
              </c:extLst>
            </c:dLbl>
            <c:dLbl>
              <c:idx val="33"/>
              <c:layout>
                <c:manualLayout>
                  <c:x val="0"/>
                  <c:y val="-0.30725190839694655"/>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6B54-4E93-B054-6B88947FA5BD}"/>
                </c:ext>
              </c:extLst>
            </c:dLbl>
            <c:dLbl>
              <c:idx val="34"/>
              <c:layout>
                <c:manualLayout>
                  <c:x val="0"/>
                  <c:y val="-0.3148854961832061"/>
                </c:manualLayout>
              </c:layout>
              <c:numFmt formatCode="#,##0;&quot;-&quot;#,##0" sourceLinked="0"/>
              <c:spPr>
                <a:noFill/>
                <a:ln>
                  <a:noFill/>
                </a:ln>
              </c:spPr>
              <c:txPr>
                <a:bodyPr wrap="none"/>
                <a:lstStyle/>
                <a:p>
                  <a:pPr>
                    <a:defRPr sz="800" b="1">
                      <a:solidFill>
                        <a:schemeClr val="tx1"/>
                      </a:solidFill>
                      <a:latin typeface="+mn-lt"/>
                      <a:ea typeface="+mn-ea"/>
                      <a:cs typeface="+mn-cs"/>
                      <a:sym typeface="+mn-lt"/>
                    </a:defRPr>
                  </a:pPr>
                  <a:endParaRPr lang="en-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B54-4E93-B054-6B88947FA5B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AI$1</c:f>
              <c:numCache>
                <c:formatCode>General</c:formatCode>
                <c:ptCount val="35"/>
                <c:pt idx="0">
                  <c:v>-47.345037767549911</c:v>
                </c:pt>
                <c:pt idx="1">
                  <c:v>0</c:v>
                </c:pt>
                <c:pt idx="2">
                  <c:v>0</c:v>
                </c:pt>
                <c:pt idx="3">
                  <c:v>0</c:v>
                </c:pt>
                <c:pt idx="4">
                  <c:v>0</c:v>
                </c:pt>
                <c:pt idx="5">
                  <c:v>-2.9623190674134534</c:v>
                </c:pt>
                <c:pt idx="6">
                  <c:v>6.941996878460877</c:v>
                </c:pt>
                <c:pt idx="7">
                  <c:v>20.562706254273465</c:v>
                </c:pt>
                <c:pt idx="8">
                  <c:v>22.821834370772514</c:v>
                </c:pt>
                <c:pt idx="9">
                  <c:v>25.171535971624877</c:v>
                </c:pt>
                <c:pt idx="10">
                  <c:v>27.615480787166405</c:v>
                </c:pt>
                <c:pt idx="11">
                  <c:v>30.214297570952986</c:v>
                </c:pt>
                <c:pt idx="12">
                  <c:v>32.917988120270792</c:v>
                </c:pt>
                <c:pt idx="13">
                  <c:v>35.7307928344053</c:v>
                </c:pt>
                <c:pt idx="14">
                  <c:v>38.657122637586681</c:v>
                </c:pt>
                <c:pt idx="15">
                  <c:v>41.701565818167069</c:v>
                </c:pt>
                <c:pt idx="16">
                  <c:v>25.626796378871866</c:v>
                </c:pt>
                <c:pt idx="17">
                  <c:v>46.477546194588129</c:v>
                </c:pt>
                <c:pt idx="18">
                  <c:v>48.973913624772742</c:v>
                </c:pt>
                <c:pt idx="19">
                  <c:v>51.545463729319557</c:v>
                </c:pt>
                <c:pt idx="20">
                  <c:v>54.194478091574005</c:v>
                </c:pt>
                <c:pt idx="21">
                  <c:v>56.923307264444233</c:v>
                </c:pt>
                <c:pt idx="22">
                  <c:v>59.734372849929137</c:v>
                </c:pt>
                <c:pt idx="23">
                  <c:v>62.630169641241203</c:v>
                </c:pt>
                <c:pt idx="24">
                  <c:v>65.613267829405956</c:v>
                </c:pt>
                <c:pt idx="25">
                  <c:v>68.68631527627673</c:v>
                </c:pt>
                <c:pt idx="26">
                  <c:v>71.852039855961394</c:v>
                </c:pt>
                <c:pt idx="27">
                  <c:v>75.113251866717974</c:v>
                </c:pt>
                <c:pt idx="28">
                  <c:v>78.472846515437752</c:v>
                </c:pt>
                <c:pt idx="29">
                  <c:v>81.933806476897871</c:v>
                </c:pt>
                <c:pt idx="30">
                  <c:v>85.630946358786389</c:v>
                </c:pt>
                <c:pt idx="31">
                  <c:v>89.43900043713154</c:v>
                </c:pt>
                <c:pt idx="32">
                  <c:v>93.361296137827082</c:v>
                </c:pt>
                <c:pt idx="33">
                  <c:v>97.401260709543465</c:v>
                </c:pt>
                <c:pt idx="34">
                  <c:v>101.56242421841134</c:v>
                </c:pt>
              </c:numCache>
            </c:numRef>
          </c:val>
          <c:extLst>
            <c:ext xmlns:c16="http://schemas.microsoft.com/office/drawing/2014/chart" uri="{C3380CC4-5D6E-409C-BE32-E72D297353CC}">
              <c16:uniqueId val="{0000001E-6B54-4E93-B054-6B88947FA5BD}"/>
            </c:ext>
          </c:extLst>
        </c:ser>
        <c:dLbls>
          <c:showLegendKey val="0"/>
          <c:showVal val="0"/>
          <c:showCatName val="0"/>
          <c:showSerName val="0"/>
          <c:showPercent val="0"/>
          <c:showBubbleSize val="0"/>
        </c:dLbls>
        <c:gapWidth val="80"/>
        <c:overlap val="100"/>
        <c:axId val="35587007"/>
        <c:axId val="1"/>
      </c:barChart>
      <c:catAx>
        <c:axId val="35587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At val="0"/>
        <c:auto val="0"/>
        <c:lblAlgn val="ctr"/>
        <c:lblOffset val="100"/>
        <c:noMultiLvlLbl val="0"/>
      </c:catAx>
      <c:valAx>
        <c:axId val="1"/>
        <c:scaling>
          <c:orientation val="minMax"/>
          <c:max val="142.86661380446364"/>
          <c:min val="-47.345037767549911"/>
        </c:scaling>
        <c:delete val="1"/>
        <c:axPos val="l"/>
        <c:numFmt formatCode="General" sourceLinked="1"/>
        <c:majorTickMark val="out"/>
        <c:minorTickMark val="none"/>
        <c:tickLblPos val="nextTo"/>
        <c:crossAx val="35587007"/>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82119" cy="219837"/>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sz="quarter" idx="1"/>
          </p:nvPr>
        </p:nvSpPr>
        <p:spPr>
          <a:xfrm>
            <a:off x="3898102" y="0"/>
            <a:ext cx="2982119" cy="219837"/>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52A92521-0A1B-4F14-9F7F-8F3DD643AD89}" type="datetimeFigureOut">
              <a:rPr lang="nl-NL"/>
              <a:pPr>
                <a:defRPr/>
              </a:pPr>
              <a:t>30-3-2021</a:t>
            </a:fld>
            <a:endParaRPr lang="nl-NL"/>
          </a:p>
        </p:txBody>
      </p:sp>
      <p:sp>
        <p:nvSpPr>
          <p:cNvPr id="4" name="Tijdelijke aanduiding voor voettekst 3"/>
          <p:cNvSpPr>
            <a:spLocks noGrp="1"/>
          </p:cNvSpPr>
          <p:nvPr>
            <p:ph type="ftr" sz="quarter" idx="2"/>
          </p:nvPr>
        </p:nvSpPr>
        <p:spPr>
          <a:xfrm>
            <a:off x="1" y="9074948"/>
            <a:ext cx="2982119" cy="219838"/>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98102" y="9074948"/>
            <a:ext cx="2982119" cy="219838"/>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82119" cy="242164"/>
          </a:xfrm>
          <a:prstGeom prst="rect">
            <a:avLst/>
          </a:prstGeom>
        </p:spPr>
        <p:txBody>
          <a:bodyPr vert="horz" lIns="91440" tIns="45720" rIns="91440" bIns="45720" rtlCol="0"/>
          <a:lstStyle>
            <a:lvl1pPr algn="l" rtl="0"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98102" y="0"/>
            <a:ext cx="2982119" cy="242164"/>
          </a:xfrm>
          <a:prstGeom prst="rect">
            <a:avLst/>
          </a:prstGeom>
        </p:spPr>
        <p:txBody>
          <a:bodyPr vert="horz" lIns="91440" tIns="45720" rIns="91440" bIns="45720" rtlCol="0"/>
          <a:lstStyle>
            <a:lvl1pPr algn="r" rtl="0" fontAlgn="auto">
              <a:spcBef>
                <a:spcPts val="0"/>
              </a:spcBef>
              <a:spcAft>
                <a:spcPts val="0"/>
              </a:spcAft>
              <a:defRPr sz="1200">
                <a:latin typeface="+mn-lt"/>
                <a:cs typeface="+mn-cs"/>
              </a:defRPr>
            </a:lvl1pPr>
          </a:lstStyle>
          <a:p>
            <a:pPr>
              <a:defRPr/>
            </a:pPr>
            <a:fld id="{AC5868DF-D8BD-409C-B6DB-626CBFA20D94}" type="datetimeFigureOut">
              <a:rPr lang="nl-NL" smtClean="0"/>
              <a:pPr>
                <a:defRPr/>
              </a:pPr>
              <a:t>30-3-2021</a:t>
            </a:fld>
            <a:endParaRPr lang="nl-NL" dirty="0"/>
          </a:p>
        </p:txBody>
      </p:sp>
      <p:sp>
        <p:nvSpPr>
          <p:cNvPr id="4" name="Tijdelijke aanduiding voor dia-afbeelding 3"/>
          <p:cNvSpPr>
            <a:spLocks noGrp="1" noRot="1" noChangeAspect="1"/>
          </p:cNvSpPr>
          <p:nvPr>
            <p:ph type="sldImg" idx="2"/>
          </p:nvPr>
        </p:nvSpPr>
        <p:spPr>
          <a:xfrm>
            <a:off x="341313" y="696913"/>
            <a:ext cx="6199187" cy="3487737"/>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7680" y="4415790"/>
            <a:ext cx="6666455" cy="4183381"/>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052623"/>
            <a:ext cx="2982119" cy="242164"/>
          </a:xfrm>
          <a:prstGeom prst="rect">
            <a:avLst/>
          </a:prstGeom>
        </p:spPr>
        <p:txBody>
          <a:bodyPr vert="horz" lIns="91440" tIns="45720" rIns="91440" bIns="45720" rtlCol="0" anchor="b"/>
          <a:lstStyle>
            <a:lvl1pPr algn="l" rtl="0" fontAlgn="auto">
              <a:spcBef>
                <a:spcPts val="0"/>
              </a:spcBef>
              <a:spcAft>
                <a:spcPts val="0"/>
              </a:spcAft>
              <a:defRPr sz="1200">
                <a:latin typeface="+mn-lt"/>
                <a:cs typeface="+mn-cs"/>
              </a:defRPr>
            </a:lvl1pPr>
          </a:lstStyle>
          <a:p>
            <a:pPr>
              <a:defRPr/>
            </a:pPr>
            <a:endParaRPr lang="nl-NL" dirty="0"/>
          </a:p>
        </p:txBody>
      </p:sp>
      <p:sp>
        <p:nvSpPr>
          <p:cNvPr id="7" name="Tijdelijke aanduiding voor dianummer 6"/>
          <p:cNvSpPr>
            <a:spLocks noGrp="1"/>
          </p:cNvSpPr>
          <p:nvPr>
            <p:ph type="sldNum" sz="quarter" idx="5"/>
          </p:nvPr>
        </p:nvSpPr>
        <p:spPr>
          <a:xfrm>
            <a:off x="3898102" y="9052623"/>
            <a:ext cx="2982119" cy="242164"/>
          </a:xfrm>
          <a:prstGeom prst="rect">
            <a:avLst/>
          </a:prstGeom>
        </p:spPr>
        <p:txBody>
          <a:bodyPr vert="horz" wrap="square" lIns="91440" tIns="45720" rIns="91440" bIns="45720" numCol="1" anchor="b" anchorCtr="0" compatLnSpc="1">
            <a:prstTxWarp prst="textNoShape">
              <a:avLst/>
            </a:prstTxWarp>
          </a:bodyPr>
          <a:lstStyle>
            <a:lvl1pPr algn="r" rtl="0">
              <a:defRPr sz="1200">
                <a:latin typeface="Corbel" panose="020B0503020204020204" pitchFamily="34" charset="0"/>
              </a:defRPr>
            </a:lvl1pPr>
          </a:lstStyle>
          <a:p>
            <a:fld id="{3894C14A-43FC-4077-9BE3-59190B437372}" type="slidenum">
              <a:rPr lang="nl-NL" altLang="en-US" smtClean="0"/>
              <a:pPr/>
              <a:t>‹#›</a:t>
            </a:fld>
            <a:endParaRPr lang="nl-NL" altLang="en-US" dirty="0"/>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7950" y="739775"/>
            <a:ext cx="6581775" cy="3703638"/>
          </a:xfrm>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5CCD0823-FCB7-4E23-A9A0-1E1A7AB30323}" type="slidenum">
              <a:rPr lang="nl-NL" smtClean="0"/>
              <a:pPr/>
              <a:t>1</a:t>
            </a:fld>
            <a:endParaRPr lang="nl-NL" dirty="0"/>
          </a:p>
        </p:txBody>
      </p:sp>
    </p:spTree>
    <p:extLst>
      <p:ext uri="{BB962C8B-B14F-4D97-AF65-F5344CB8AC3E}">
        <p14:creationId xmlns:p14="http://schemas.microsoft.com/office/powerpoint/2010/main" val="23950110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5</a:t>
            </a:fld>
            <a:endParaRPr lang="nl-NL" altLang="en-US" dirty="0"/>
          </a:p>
        </p:txBody>
      </p:sp>
    </p:spTree>
    <p:extLst>
      <p:ext uri="{BB962C8B-B14F-4D97-AF65-F5344CB8AC3E}">
        <p14:creationId xmlns:p14="http://schemas.microsoft.com/office/powerpoint/2010/main" val="13936086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3</a:t>
            </a:fld>
            <a:endParaRPr lang="nl-NL" altLang="en-US"/>
          </a:p>
        </p:txBody>
      </p:sp>
    </p:spTree>
    <p:extLst>
      <p:ext uri="{BB962C8B-B14F-4D97-AF65-F5344CB8AC3E}">
        <p14:creationId xmlns:p14="http://schemas.microsoft.com/office/powerpoint/2010/main" val="16373413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5</a:t>
            </a:fld>
            <a:endParaRPr lang="nl-NL" altLang="en-US"/>
          </a:p>
        </p:txBody>
      </p:sp>
    </p:spTree>
    <p:extLst>
      <p:ext uri="{BB962C8B-B14F-4D97-AF65-F5344CB8AC3E}">
        <p14:creationId xmlns:p14="http://schemas.microsoft.com/office/powerpoint/2010/main" val="2297806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6</a:t>
            </a:fld>
            <a:endParaRPr lang="nl-NL" altLang="en-US"/>
          </a:p>
        </p:txBody>
      </p:sp>
    </p:spTree>
    <p:extLst>
      <p:ext uri="{BB962C8B-B14F-4D97-AF65-F5344CB8AC3E}">
        <p14:creationId xmlns:p14="http://schemas.microsoft.com/office/powerpoint/2010/main" val="22642338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9</a:t>
            </a:fld>
            <a:endParaRPr lang="nl-NL" altLang="en-US"/>
          </a:p>
        </p:txBody>
      </p:sp>
    </p:spTree>
    <p:extLst>
      <p:ext uri="{BB962C8B-B14F-4D97-AF65-F5344CB8AC3E}">
        <p14:creationId xmlns:p14="http://schemas.microsoft.com/office/powerpoint/2010/main" val="3538353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98C52252-03A5-4F3A-9A24-661EF44B1F60}" type="slidenum">
              <a:rPr lang="nl-NL" smtClean="0"/>
              <a:t>10</a:t>
            </a:fld>
            <a:endParaRPr lang="nl-NL" dirty="0"/>
          </a:p>
        </p:txBody>
      </p:sp>
    </p:spTree>
    <p:extLst>
      <p:ext uri="{BB962C8B-B14F-4D97-AF65-F5344CB8AC3E}">
        <p14:creationId xmlns:p14="http://schemas.microsoft.com/office/powerpoint/2010/main" val="18818010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1</a:t>
            </a:fld>
            <a:endParaRPr lang="nl-NL" altLang="en-US" dirty="0"/>
          </a:p>
        </p:txBody>
      </p:sp>
    </p:spTree>
    <p:extLst>
      <p:ext uri="{BB962C8B-B14F-4D97-AF65-F5344CB8AC3E}">
        <p14:creationId xmlns:p14="http://schemas.microsoft.com/office/powerpoint/2010/main" val="35316546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2</a:t>
            </a:fld>
            <a:endParaRPr lang="nl-NL" altLang="en-US"/>
          </a:p>
        </p:txBody>
      </p:sp>
    </p:spTree>
    <p:extLst>
      <p:ext uri="{BB962C8B-B14F-4D97-AF65-F5344CB8AC3E}">
        <p14:creationId xmlns:p14="http://schemas.microsoft.com/office/powerpoint/2010/main" val="17163610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L"/>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14</a:t>
            </a:fld>
            <a:endParaRPr lang="nl-NL" altLang="en-US"/>
          </a:p>
        </p:txBody>
      </p:sp>
    </p:spTree>
    <p:extLst>
      <p:ext uri="{BB962C8B-B14F-4D97-AF65-F5344CB8AC3E}">
        <p14:creationId xmlns:p14="http://schemas.microsoft.com/office/powerpoint/2010/main" val="1933261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NUL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NULL"/><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NULL"/><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NULL"/><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NULL"/><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NULL"/><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NULL"/><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NULL"/><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NULL"/><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NULL"/><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NULL"/><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NULL"/><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NULL"/><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NULL"/><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NULL"/><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NULL"/><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NULL"/><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NUL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NUL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NUL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NUL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NUL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NULL"/><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NUL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NULL"/><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NULL"/><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34.bin"/><Relationship Id="rId7" Type="http://schemas.openxmlformats.org/officeDocument/2006/relationships/image" Target="../media/image2.svg"/><Relationship Id="rId2" Type="http://schemas.openxmlformats.org/officeDocument/2006/relationships/slideMaster" Target="../slideMasters/slideMaster1.xml"/><Relationship Id="rId1" Type="http://schemas.openxmlformats.org/officeDocument/2006/relationships/tags" Target="../tags/tag62.xml"/><Relationship Id="rId6" Type="http://schemas.openxmlformats.org/officeDocument/2006/relationships/image" Target="../media/image1.png"/><Relationship Id="rId5" Type="http://schemas.openxmlformats.org/officeDocument/2006/relationships/hyperlink" Target="http://www.itspublic.nl/" TargetMode="External"/><Relationship Id="rId4" Type="http://schemas.openxmlformats.org/officeDocument/2006/relationships/image" Target="NULL"/><Relationship Id="rId9"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5.emf"/><Relationship Id="rId4" Type="http://schemas.openxmlformats.org/officeDocument/2006/relationships/oleObject" Target="../embeddings/oleObject36.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NULL"/><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NULL"/><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NULL"/><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NULL"/><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NULL"/><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NULL"/><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200474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4501346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214053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4118417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200070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1273838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6645138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2182133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2879826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547489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29014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305639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9609616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3212052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1297718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220093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10499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2956553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514609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3549315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158781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235591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1670573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47543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796751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9753322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412256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2345090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1948063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1627613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992CD0B2-8AB2-4C6C-8876-E15753662C9B}"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3897933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5511512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78664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759468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1471022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0726165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408648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284491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343628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2944387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7138905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689368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630557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2512273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992CD0B2-8AB2-4C6C-8876-E15753662C9B}"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pic>
        <p:nvPicPr>
          <p:cNvPr id="35" name="CC">
            <a:extLst>
              <a:ext uri="{FF2B5EF4-FFF2-40B4-BE49-F238E27FC236}">
                <a16:creationId xmlns:a16="http://schemas.microsoft.com/office/drawing/2014/main" id="{F2B5F9D6-0E2E-4027-A474-27374007B155}"/>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23043" y="5570848"/>
            <a:ext cx="609600" cy="609600"/>
          </a:xfrm>
          <a:prstGeom prst="rect">
            <a:avLst/>
          </a:prstGeom>
        </p:spPr>
      </p:pic>
      <p:pic>
        <p:nvPicPr>
          <p:cNvPr id="36" name="BY">
            <a:extLst>
              <a:ext uri="{FF2B5EF4-FFF2-40B4-BE49-F238E27FC236}">
                <a16:creationId xmlns:a16="http://schemas.microsoft.com/office/drawing/2014/main" id="{E9269E25-C251-4286-9970-3AF32459240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1520321" y="5570848"/>
            <a:ext cx="609600" cy="609600"/>
          </a:xfrm>
          <a:prstGeom prst="rect">
            <a:avLst/>
          </a:prstGeom>
        </p:spPr>
      </p:pic>
    </p:spTree>
    <p:extLst>
      <p:ext uri="{BB962C8B-B14F-4D97-AF65-F5344CB8AC3E}">
        <p14:creationId xmlns:p14="http://schemas.microsoft.com/office/powerpoint/2010/main" val="13856414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r>
              <a:rPr lang="en-GB"/>
              <a:t>Bron: </a:t>
            </a:r>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88166400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r>
              <a:rPr lang="nl-NL" dirty="0"/>
              <a:t>Bron: </a:t>
            </a:r>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248864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Box (2) BigChart (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318DDD0-06EA-4A7F-9E42-4CA085F33738}"/>
              </a:ext>
            </a:extLst>
          </p:cNvPr>
          <p:cNvGraphicFramePr>
            <a:graphicFrameLocks noChangeAspect="1"/>
          </p:cNvGraphicFramePr>
          <p:nvPr userDrawn="1">
            <p:custDataLst>
              <p:tags r:id="rId1"/>
            </p:custDataLst>
            <p:extLst>
              <p:ext uri="{D42A27DB-BD31-4B8C-83A1-F6EECF244321}">
                <p14:modId xmlns:p14="http://schemas.microsoft.com/office/powerpoint/2010/main" val="2985473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F318DDD0-06EA-4A7F-9E42-4CA085F337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BCF8ED-5C07-44A1-BAA0-C460629956B6}"/>
              </a:ext>
            </a:extLst>
          </p:cNvPr>
          <p:cNvSpPr/>
          <p:nvPr userDrawn="1">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p>
            <a:fld id="{D1D7975E-A74A-4535-9A3E-8E238F697EA4}" type="datetimeFigureOut">
              <a:rPr lang="nl-NL" smtClean="0"/>
              <a:pPr/>
              <a:t>30-3-2021</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a:lstStyle>
            <a:lvl1pPr>
              <a:defRPr b="1"/>
            </a:lvl1pPr>
          </a:lstStyle>
          <a:p>
            <a:pPr lvl="0"/>
            <a:r>
              <a:rPr lang="nl-NL"/>
              <a:t>Klik om de modelstijlen te bewerk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nl-NL"/>
              <a:t>Klik om de stijl te bewerken</a:t>
            </a:r>
            <a:endParaRPr lang="nl-NL" dirty="0"/>
          </a:p>
        </p:txBody>
      </p:sp>
    </p:spTree>
    <p:extLst>
      <p:ext uri="{BB962C8B-B14F-4D97-AF65-F5344CB8AC3E}">
        <p14:creationId xmlns:p14="http://schemas.microsoft.com/office/powerpoint/2010/main" val="1026154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ox (2) Charts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8273D35-91E0-485B-86E4-8BC280FA9BCB}"/>
              </a:ext>
            </a:extLst>
          </p:cNvPr>
          <p:cNvGraphicFramePr>
            <a:graphicFrameLocks noChangeAspect="1"/>
          </p:cNvGraphicFramePr>
          <p:nvPr userDrawn="1">
            <p:custDataLst>
              <p:tags r:id="rId1"/>
            </p:custDataLst>
            <p:extLst>
              <p:ext uri="{D42A27DB-BD31-4B8C-83A1-F6EECF244321}">
                <p14:modId xmlns:p14="http://schemas.microsoft.com/office/powerpoint/2010/main" val="3845849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68273D35-91E0-485B-86E4-8BC280FA9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8A4FC2-7689-49E8-995B-E775EB5D8CAA}"/>
              </a:ext>
            </a:extLst>
          </p:cNvPr>
          <p:cNvSpPr/>
          <p:nvPr userDrawn="1">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p>
            <a:fld id="{D1D7975E-A74A-4535-9A3E-8E238F697EA4}" type="datetimeFigureOut">
              <a:rPr lang="nl-NL" smtClean="0"/>
              <a:pPr/>
              <a:t>30-3-2021</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a:lstStyle>
            <a:lvl1pPr>
              <a:defRPr b="1"/>
            </a:lvl1pPr>
          </a:lstStyle>
          <a:p>
            <a:pPr lvl="0"/>
            <a:r>
              <a:rPr lang="nl-NL"/>
              <a:t>Klik om de modelstijlen te bewerken</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a:lstStyle>
            <a:lvl1pPr>
              <a:defRPr b="1"/>
            </a:lvl1pPr>
          </a:lstStyle>
          <a:p>
            <a:pPr lvl="0"/>
            <a:r>
              <a:rPr lang="nl-NL"/>
              <a:t>Klik om de modelstijlen te bewerken</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nl-NL"/>
              <a:t>Klik om de stijl te bewerken</a:t>
            </a:r>
            <a:endParaRPr lang="nl-NL" dirty="0"/>
          </a:p>
        </p:txBody>
      </p:sp>
    </p:spTree>
    <p:extLst>
      <p:ext uri="{BB962C8B-B14F-4D97-AF65-F5344CB8AC3E}">
        <p14:creationId xmlns:p14="http://schemas.microsoft.com/office/powerpoint/2010/main" val="28965043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_Box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2F522F9-7A4D-4D6B-AAD3-1D9D6B5EC991}"/>
              </a:ext>
            </a:extLst>
          </p:cNvPr>
          <p:cNvGraphicFramePr>
            <a:graphicFrameLocks noChangeAspect="1"/>
          </p:cNvGraphicFramePr>
          <p:nvPr userDrawn="1">
            <p:custDataLst>
              <p:tags r:id="rId1"/>
            </p:custDataLst>
            <p:extLst>
              <p:ext uri="{D42A27DB-BD31-4B8C-83A1-F6EECF244321}">
                <p14:modId xmlns:p14="http://schemas.microsoft.com/office/powerpoint/2010/main" val="2179778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32F522F9-7A4D-4D6B-AAD3-1D9D6B5EC9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BF039C1-F4EE-433F-8B2E-211C9464868C}"/>
              </a:ext>
            </a:extLst>
          </p:cNvPr>
          <p:cNvSpPr/>
          <p:nvPr userDrawn="1">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p>
            <a:fld id="{D1D7975E-A74A-4535-9A3E-8E238F697EA4}" type="datetimeFigureOut">
              <a:rPr lang="nl-NL" smtClean="0"/>
              <a:pPr/>
              <a:t>30-3-2021</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p>
            <a:pPr lvl="0"/>
            <a:r>
              <a:rPr lang="nl-NL"/>
              <a:t>Klik om de modelstijlen te bewerken</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nl-NL"/>
              <a:t>Klik om de stijl te bewerken</a:t>
            </a:r>
            <a:endParaRPr lang="nl-NL" dirty="0"/>
          </a:p>
        </p:txBody>
      </p:sp>
    </p:spTree>
    <p:extLst>
      <p:ext uri="{BB962C8B-B14F-4D97-AF65-F5344CB8AC3E}">
        <p14:creationId xmlns:p14="http://schemas.microsoft.com/office/powerpoint/2010/main" val="2834458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231011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331319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190106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1841302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59906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235368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284371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r>
              <a:rPr lang="nl-NL"/>
              <a:t>Bron: </a:t>
            </a:r>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923944828"/>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NUL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8725094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2" imgW="470" imgH="469" progId="TCLayout.ActiveDocument.1">
                  <p:embed/>
                </p:oleObj>
              </mc:Choice>
              <mc:Fallback>
                <p:oleObj name="think-cell Slide" r:id="rId42" imgW="470" imgH="469" progId="TCLayout.ActiveDocument.1">
                  <p:embed/>
                  <p:pic>
                    <p:nvPicPr>
                      <p:cNvPr id="0" name=""/>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992CD0B2-8AB2-4C6C-8876-E15753662C9B}"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r>
              <a:rPr lang="nl-NL"/>
              <a:t>Bron: </a:t>
            </a:r>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3973" r:id="rId8"/>
    <p:sldLayoutId id="2147483963" r:id="rId9"/>
    <p:sldLayoutId id="2147484010" r:id="rId10"/>
    <p:sldLayoutId id="2147483969" r:id="rId11"/>
    <p:sldLayoutId id="2147483964" r:id="rId12"/>
    <p:sldLayoutId id="2147483967" r:id="rId13"/>
    <p:sldLayoutId id="2147483968" r:id="rId14"/>
    <p:sldLayoutId id="2147484000" r:id="rId15"/>
    <p:sldLayoutId id="2147483966" r:id="rId16"/>
    <p:sldLayoutId id="2147483970" r:id="rId17"/>
    <p:sldLayoutId id="2147484009" r:id="rId18"/>
    <p:sldLayoutId id="2147483975" r:id="rId19"/>
    <p:sldLayoutId id="2147483974" r:id="rId20"/>
    <p:sldLayoutId id="2147483972" r:id="rId21"/>
    <p:sldLayoutId id="2147483987" r:id="rId22"/>
    <p:sldLayoutId id="2147484001" r:id="rId23"/>
    <p:sldLayoutId id="2147483988" r:id="rId24"/>
    <p:sldLayoutId id="2147483965" r:id="rId25"/>
    <p:sldLayoutId id="2147484003" r:id="rId26"/>
    <p:sldLayoutId id="2147484004" r:id="rId27"/>
    <p:sldLayoutId id="2147484005" r:id="rId28"/>
    <p:sldLayoutId id="2147483989" r:id="rId29"/>
    <p:sldLayoutId id="2147483995" r:id="rId30"/>
    <p:sldLayoutId id="2147483993" r:id="rId31"/>
    <p:sldLayoutId id="2147483991" r:id="rId32"/>
    <p:sldLayoutId id="2147484006" r:id="rId33"/>
    <p:sldLayoutId id="2147484011" r:id="rId34"/>
    <p:sldLayoutId id="2147484012" r:id="rId35"/>
    <p:sldLayoutId id="2147484013" r:id="rId36"/>
    <p:sldLayoutId id="2147484014" r:id="rId37"/>
    <p:sldLayoutId id="2147484015" r:id="rId38"/>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8.xml"/><Relationship Id="rId1" Type="http://schemas.openxmlformats.org/officeDocument/2006/relationships/tags" Target="../tags/tag69.xml"/><Relationship Id="rId6" Type="http://schemas.openxmlformats.org/officeDocument/2006/relationships/image" Target="../media/image6.jpg"/><Relationship Id="rId5" Type="http://schemas.openxmlformats.org/officeDocument/2006/relationships/image" Target="NULL"/><Relationship Id="rId4" Type="http://schemas.openxmlformats.org/officeDocument/2006/relationships/oleObject" Target="../embeddings/oleObject38.bin"/></Relationships>
</file>

<file path=ppt/slides/_rels/slide10.xml.rels><?xml version="1.0" encoding="UTF-8" standalone="yes"?>
<Relationships xmlns="http://schemas.openxmlformats.org/package/2006/relationships"><Relationship Id="rId8" Type="http://schemas.openxmlformats.org/officeDocument/2006/relationships/image" Target="../media/image31.svg"/><Relationship Id="rId13" Type="http://schemas.openxmlformats.org/officeDocument/2006/relationships/hyperlink" Target="mailto:steven.jonker@itspublic.nl" TargetMode="External"/><Relationship Id="rId3" Type="http://schemas.openxmlformats.org/officeDocument/2006/relationships/slideLayout" Target="../slideLayouts/slideLayout38.xml"/><Relationship Id="rId7" Type="http://schemas.openxmlformats.org/officeDocument/2006/relationships/image" Target="../media/image30.png"/><Relationship Id="rId12" Type="http://schemas.openxmlformats.org/officeDocument/2006/relationships/image" Target="../media/image35.svg"/><Relationship Id="rId2" Type="http://schemas.openxmlformats.org/officeDocument/2006/relationships/tags" Target="../tags/tag222.xml"/><Relationship Id="rId1" Type="http://schemas.openxmlformats.org/officeDocument/2006/relationships/tags" Target="../tags/tag221.xml"/><Relationship Id="rId6" Type="http://schemas.openxmlformats.org/officeDocument/2006/relationships/image" Target="../media/image7.emf"/><Relationship Id="rId11" Type="http://schemas.openxmlformats.org/officeDocument/2006/relationships/image" Target="../media/image34.png"/><Relationship Id="rId5" Type="http://schemas.openxmlformats.org/officeDocument/2006/relationships/oleObject" Target="../embeddings/oleObject47.bin"/><Relationship Id="rId15" Type="http://schemas.openxmlformats.org/officeDocument/2006/relationships/image" Target="../media/image37.svg"/><Relationship Id="rId10" Type="http://schemas.openxmlformats.org/officeDocument/2006/relationships/image" Target="../media/image33.svg"/><Relationship Id="rId4" Type="http://schemas.openxmlformats.org/officeDocument/2006/relationships/notesSlide" Target="../notesSlides/notesSlide6.xml"/><Relationship Id="rId9" Type="http://schemas.openxmlformats.org/officeDocument/2006/relationships/image" Target="../media/image32.png"/><Relationship Id="rId1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7.xml"/><Relationship Id="rId7" Type="http://schemas.openxmlformats.org/officeDocument/2006/relationships/image" Target="../media/image39.svg"/><Relationship Id="rId2" Type="http://schemas.openxmlformats.org/officeDocument/2006/relationships/slideLayout" Target="../slideLayouts/slideLayout8.xml"/><Relationship Id="rId1" Type="http://schemas.openxmlformats.org/officeDocument/2006/relationships/tags" Target="../tags/tag223.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5.emf"/><Relationship Id="rId10" Type="http://schemas.openxmlformats.org/officeDocument/2006/relationships/image" Target="../media/image42.png"/><Relationship Id="rId4" Type="http://schemas.openxmlformats.org/officeDocument/2006/relationships/oleObject" Target="../embeddings/oleObject48.bin"/><Relationship Id="rId9" Type="http://schemas.openxmlformats.org/officeDocument/2006/relationships/image" Target="../media/image41.sv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13" Type="http://schemas.openxmlformats.org/officeDocument/2006/relationships/tags" Target="../tags/tag238.xml"/><Relationship Id="rId18" Type="http://schemas.openxmlformats.org/officeDocument/2006/relationships/tags" Target="../tags/tag243.xml"/><Relationship Id="rId26" Type="http://schemas.openxmlformats.org/officeDocument/2006/relationships/tags" Target="../tags/tag251.xml"/><Relationship Id="rId39" Type="http://schemas.openxmlformats.org/officeDocument/2006/relationships/tags" Target="../tags/tag264.xml"/><Relationship Id="rId21" Type="http://schemas.openxmlformats.org/officeDocument/2006/relationships/tags" Target="../tags/tag246.xml"/><Relationship Id="rId34" Type="http://schemas.openxmlformats.org/officeDocument/2006/relationships/tags" Target="../tags/tag259.xml"/><Relationship Id="rId42" Type="http://schemas.openxmlformats.org/officeDocument/2006/relationships/tags" Target="../tags/tag267.xml"/><Relationship Id="rId47" Type="http://schemas.openxmlformats.org/officeDocument/2006/relationships/tags" Target="../tags/tag272.xml"/><Relationship Id="rId50" Type="http://schemas.openxmlformats.org/officeDocument/2006/relationships/tags" Target="../tags/tag275.xml"/><Relationship Id="rId55" Type="http://schemas.openxmlformats.org/officeDocument/2006/relationships/tags" Target="../tags/tag280.xml"/><Relationship Id="rId63" Type="http://schemas.openxmlformats.org/officeDocument/2006/relationships/chart" Target="../charts/chart17.xml"/><Relationship Id="rId7" Type="http://schemas.openxmlformats.org/officeDocument/2006/relationships/tags" Target="../tags/tag232.xml"/><Relationship Id="rId2" Type="http://schemas.openxmlformats.org/officeDocument/2006/relationships/tags" Target="../tags/tag227.xml"/><Relationship Id="rId16" Type="http://schemas.openxmlformats.org/officeDocument/2006/relationships/tags" Target="../tags/tag241.xml"/><Relationship Id="rId29" Type="http://schemas.openxmlformats.org/officeDocument/2006/relationships/tags" Target="../tags/tag254.xml"/><Relationship Id="rId11" Type="http://schemas.openxmlformats.org/officeDocument/2006/relationships/tags" Target="../tags/tag236.xml"/><Relationship Id="rId24" Type="http://schemas.openxmlformats.org/officeDocument/2006/relationships/tags" Target="../tags/tag249.xml"/><Relationship Id="rId32" Type="http://schemas.openxmlformats.org/officeDocument/2006/relationships/tags" Target="../tags/tag257.xml"/><Relationship Id="rId37" Type="http://schemas.openxmlformats.org/officeDocument/2006/relationships/tags" Target="../tags/tag262.xml"/><Relationship Id="rId40" Type="http://schemas.openxmlformats.org/officeDocument/2006/relationships/tags" Target="../tags/tag265.xml"/><Relationship Id="rId45" Type="http://schemas.openxmlformats.org/officeDocument/2006/relationships/tags" Target="../tags/tag270.xml"/><Relationship Id="rId53" Type="http://schemas.openxmlformats.org/officeDocument/2006/relationships/tags" Target="../tags/tag278.xml"/><Relationship Id="rId58" Type="http://schemas.openxmlformats.org/officeDocument/2006/relationships/tags" Target="../tags/tag283.xml"/><Relationship Id="rId5" Type="http://schemas.openxmlformats.org/officeDocument/2006/relationships/tags" Target="../tags/tag230.xml"/><Relationship Id="rId61" Type="http://schemas.openxmlformats.org/officeDocument/2006/relationships/oleObject" Target="../embeddings/oleObject50.bin"/><Relationship Id="rId19" Type="http://schemas.openxmlformats.org/officeDocument/2006/relationships/tags" Target="../tags/tag244.xml"/><Relationship Id="rId14" Type="http://schemas.openxmlformats.org/officeDocument/2006/relationships/tags" Target="../tags/tag239.xml"/><Relationship Id="rId22" Type="http://schemas.openxmlformats.org/officeDocument/2006/relationships/tags" Target="../tags/tag247.xml"/><Relationship Id="rId27" Type="http://schemas.openxmlformats.org/officeDocument/2006/relationships/tags" Target="../tags/tag252.xml"/><Relationship Id="rId30" Type="http://schemas.openxmlformats.org/officeDocument/2006/relationships/tags" Target="../tags/tag255.xml"/><Relationship Id="rId35" Type="http://schemas.openxmlformats.org/officeDocument/2006/relationships/tags" Target="../tags/tag260.xml"/><Relationship Id="rId43" Type="http://schemas.openxmlformats.org/officeDocument/2006/relationships/tags" Target="../tags/tag268.xml"/><Relationship Id="rId48" Type="http://schemas.openxmlformats.org/officeDocument/2006/relationships/tags" Target="../tags/tag273.xml"/><Relationship Id="rId56" Type="http://schemas.openxmlformats.org/officeDocument/2006/relationships/tags" Target="../tags/tag281.xml"/><Relationship Id="rId64" Type="http://schemas.openxmlformats.org/officeDocument/2006/relationships/chart" Target="../charts/chart18.xml"/><Relationship Id="rId8" Type="http://schemas.openxmlformats.org/officeDocument/2006/relationships/tags" Target="../tags/tag233.xml"/><Relationship Id="rId51" Type="http://schemas.openxmlformats.org/officeDocument/2006/relationships/tags" Target="../tags/tag276.xml"/><Relationship Id="rId3" Type="http://schemas.openxmlformats.org/officeDocument/2006/relationships/tags" Target="../tags/tag228.xml"/><Relationship Id="rId12" Type="http://schemas.openxmlformats.org/officeDocument/2006/relationships/tags" Target="../tags/tag237.xml"/><Relationship Id="rId17" Type="http://schemas.openxmlformats.org/officeDocument/2006/relationships/tags" Target="../tags/tag242.xml"/><Relationship Id="rId25" Type="http://schemas.openxmlformats.org/officeDocument/2006/relationships/tags" Target="../tags/tag250.xml"/><Relationship Id="rId33" Type="http://schemas.openxmlformats.org/officeDocument/2006/relationships/tags" Target="../tags/tag258.xml"/><Relationship Id="rId38" Type="http://schemas.openxmlformats.org/officeDocument/2006/relationships/tags" Target="../tags/tag263.xml"/><Relationship Id="rId46" Type="http://schemas.openxmlformats.org/officeDocument/2006/relationships/tags" Target="../tags/tag271.xml"/><Relationship Id="rId59" Type="http://schemas.openxmlformats.org/officeDocument/2006/relationships/tags" Target="../tags/tag284.xml"/><Relationship Id="rId20" Type="http://schemas.openxmlformats.org/officeDocument/2006/relationships/tags" Target="../tags/tag245.xml"/><Relationship Id="rId41" Type="http://schemas.openxmlformats.org/officeDocument/2006/relationships/tags" Target="../tags/tag266.xml"/><Relationship Id="rId54" Type="http://schemas.openxmlformats.org/officeDocument/2006/relationships/tags" Target="../tags/tag279.xml"/><Relationship Id="rId62" Type="http://schemas.openxmlformats.org/officeDocument/2006/relationships/image" Target="../media/image5.emf"/><Relationship Id="rId1" Type="http://schemas.openxmlformats.org/officeDocument/2006/relationships/tags" Target="../tags/tag226.xml"/><Relationship Id="rId6" Type="http://schemas.openxmlformats.org/officeDocument/2006/relationships/tags" Target="../tags/tag231.xml"/><Relationship Id="rId15" Type="http://schemas.openxmlformats.org/officeDocument/2006/relationships/tags" Target="../tags/tag240.xml"/><Relationship Id="rId23" Type="http://schemas.openxmlformats.org/officeDocument/2006/relationships/tags" Target="../tags/tag248.xml"/><Relationship Id="rId28" Type="http://schemas.openxmlformats.org/officeDocument/2006/relationships/tags" Target="../tags/tag253.xml"/><Relationship Id="rId36" Type="http://schemas.openxmlformats.org/officeDocument/2006/relationships/tags" Target="../tags/tag261.xml"/><Relationship Id="rId49" Type="http://schemas.openxmlformats.org/officeDocument/2006/relationships/tags" Target="../tags/tag274.xml"/><Relationship Id="rId57" Type="http://schemas.openxmlformats.org/officeDocument/2006/relationships/tags" Target="../tags/tag282.xml"/><Relationship Id="rId10" Type="http://schemas.openxmlformats.org/officeDocument/2006/relationships/tags" Target="../tags/tag235.xml"/><Relationship Id="rId31" Type="http://schemas.openxmlformats.org/officeDocument/2006/relationships/tags" Target="../tags/tag256.xml"/><Relationship Id="rId44" Type="http://schemas.openxmlformats.org/officeDocument/2006/relationships/tags" Target="../tags/tag269.xml"/><Relationship Id="rId52" Type="http://schemas.openxmlformats.org/officeDocument/2006/relationships/tags" Target="../tags/tag277.xml"/><Relationship Id="rId60" Type="http://schemas.openxmlformats.org/officeDocument/2006/relationships/slideLayout" Target="../slideLayouts/slideLayout37.xml"/><Relationship Id="rId4" Type="http://schemas.openxmlformats.org/officeDocument/2006/relationships/tags" Target="../tags/tag229.xml"/><Relationship Id="rId9" Type="http://schemas.openxmlformats.org/officeDocument/2006/relationships/tags" Target="../tags/tag23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286.xml"/><Relationship Id="rId1" Type="http://schemas.openxmlformats.org/officeDocument/2006/relationships/tags" Target="../tags/tag285.x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hyperlink" Target="mailto:janwillem.moesker@itspublic.nl" TargetMode="External"/><Relationship Id="rId2" Type="http://schemas.openxmlformats.org/officeDocument/2006/relationships/slideLayout" Target="../slideLayouts/slideLayout33.xml"/><Relationship Id="rId1" Type="http://schemas.openxmlformats.org/officeDocument/2006/relationships/tags" Target="../tags/tag287.xml"/><Relationship Id="rId6" Type="http://schemas.openxmlformats.org/officeDocument/2006/relationships/hyperlink" Target="mailto:steven.jonker@itspublic.nl" TargetMode="External"/><Relationship Id="rId5" Type="http://schemas.openxmlformats.org/officeDocument/2006/relationships/image" Target="NULL"/><Relationship Id="rId4" Type="http://schemas.openxmlformats.org/officeDocument/2006/relationships/oleObject" Target="../embeddings/oleObject52.bin"/></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35.xml"/><Relationship Id="rId1" Type="http://schemas.openxmlformats.org/officeDocument/2006/relationships/tags" Target="../tags/tag70.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26" Type="http://schemas.openxmlformats.org/officeDocument/2006/relationships/tags" Target="../tags/tag96.xml"/><Relationship Id="rId21" Type="http://schemas.openxmlformats.org/officeDocument/2006/relationships/tags" Target="../tags/tag91.xml"/><Relationship Id="rId34" Type="http://schemas.openxmlformats.org/officeDocument/2006/relationships/tags" Target="../tags/tag104.xml"/><Relationship Id="rId42" Type="http://schemas.openxmlformats.org/officeDocument/2006/relationships/tags" Target="../tags/tag112.xml"/><Relationship Id="rId47" Type="http://schemas.openxmlformats.org/officeDocument/2006/relationships/tags" Target="../tags/tag117.xml"/><Relationship Id="rId50" Type="http://schemas.openxmlformats.org/officeDocument/2006/relationships/tags" Target="../tags/tag120.xml"/><Relationship Id="rId55" Type="http://schemas.openxmlformats.org/officeDocument/2006/relationships/slideLayout" Target="../slideLayouts/slideLayout34.xml"/><Relationship Id="rId63" Type="http://schemas.openxmlformats.org/officeDocument/2006/relationships/chart" Target="../charts/chart5.xml"/><Relationship Id="rId68" Type="http://schemas.openxmlformats.org/officeDocument/2006/relationships/image" Target="../media/image9.svg"/><Relationship Id="rId7" Type="http://schemas.openxmlformats.org/officeDocument/2006/relationships/tags" Target="../tags/tag77.xml"/><Relationship Id="rId2" Type="http://schemas.openxmlformats.org/officeDocument/2006/relationships/tags" Target="../tags/tag72.xml"/><Relationship Id="rId16" Type="http://schemas.openxmlformats.org/officeDocument/2006/relationships/tags" Target="../tags/tag86.xml"/><Relationship Id="rId29" Type="http://schemas.openxmlformats.org/officeDocument/2006/relationships/tags" Target="../tags/tag99.xml"/><Relationship Id="rId11" Type="http://schemas.openxmlformats.org/officeDocument/2006/relationships/tags" Target="../tags/tag81.xml"/><Relationship Id="rId24" Type="http://schemas.openxmlformats.org/officeDocument/2006/relationships/tags" Target="../tags/tag94.xml"/><Relationship Id="rId32" Type="http://schemas.openxmlformats.org/officeDocument/2006/relationships/tags" Target="../tags/tag102.xml"/><Relationship Id="rId37" Type="http://schemas.openxmlformats.org/officeDocument/2006/relationships/tags" Target="../tags/tag107.xml"/><Relationship Id="rId40" Type="http://schemas.openxmlformats.org/officeDocument/2006/relationships/tags" Target="../tags/tag110.xml"/><Relationship Id="rId45" Type="http://schemas.openxmlformats.org/officeDocument/2006/relationships/tags" Target="../tags/tag115.xml"/><Relationship Id="rId53" Type="http://schemas.openxmlformats.org/officeDocument/2006/relationships/tags" Target="../tags/tag123.xml"/><Relationship Id="rId58" Type="http://schemas.openxmlformats.org/officeDocument/2006/relationships/image" Target="../media/image7.emf"/><Relationship Id="rId66" Type="http://schemas.openxmlformats.org/officeDocument/2006/relationships/chart" Target="../charts/chart8.xml"/><Relationship Id="rId5" Type="http://schemas.openxmlformats.org/officeDocument/2006/relationships/tags" Target="../tags/tag75.xml"/><Relationship Id="rId61" Type="http://schemas.openxmlformats.org/officeDocument/2006/relationships/chart" Target="../charts/chart3.xml"/><Relationship Id="rId19" Type="http://schemas.openxmlformats.org/officeDocument/2006/relationships/tags" Target="../tags/tag8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tags" Target="../tags/tag97.xml"/><Relationship Id="rId30" Type="http://schemas.openxmlformats.org/officeDocument/2006/relationships/tags" Target="../tags/tag100.xml"/><Relationship Id="rId35" Type="http://schemas.openxmlformats.org/officeDocument/2006/relationships/tags" Target="../tags/tag105.xml"/><Relationship Id="rId43" Type="http://schemas.openxmlformats.org/officeDocument/2006/relationships/tags" Target="../tags/tag113.xml"/><Relationship Id="rId48" Type="http://schemas.openxmlformats.org/officeDocument/2006/relationships/tags" Target="../tags/tag118.xml"/><Relationship Id="rId56" Type="http://schemas.openxmlformats.org/officeDocument/2006/relationships/notesSlide" Target="../notesSlides/notesSlide2.xml"/><Relationship Id="rId64" Type="http://schemas.openxmlformats.org/officeDocument/2006/relationships/chart" Target="../charts/chart6.xml"/><Relationship Id="rId8" Type="http://schemas.openxmlformats.org/officeDocument/2006/relationships/tags" Target="../tags/tag78.xml"/><Relationship Id="rId51" Type="http://schemas.openxmlformats.org/officeDocument/2006/relationships/tags" Target="../tags/tag121.xml"/><Relationship Id="rId3" Type="http://schemas.openxmlformats.org/officeDocument/2006/relationships/tags" Target="../tags/tag73.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tags" Target="../tags/tag95.xml"/><Relationship Id="rId33" Type="http://schemas.openxmlformats.org/officeDocument/2006/relationships/tags" Target="../tags/tag103.xml"/><Relationship Id="rId38" Type="http://schemas.openxmlformats.org/officeDocument/2006/relationships/tags" Target="../tags/tag108.xml"/><Relationship Id="rId46" Type="http://schemas.openxmlformats.org/officeDocument/2006/relationships/tags" Target="../tags/tag116.xml"/><Relationship Id="rId59" Type="http://schemas.openxmlformats.org/officeDocument/2006/relationships/chart" Target="../charts/chart1.xml"/><Relationship Id="rId67" Type="http://schemas.openxmlformats.org/officeDocument/2006/relationships/image" Target="../media/image8.png"/><Relationship Id="rId20" Type="http://schemas.openxmlformats.org/officeDocument/2006/relationships/tags" Target="../tags/tag90.xml"/><Relationship Id="rId41" Type="http://schemas.openxmlformats.org/officeDocument/2006/relationships/tags" Target="../tags/tag111.xml"/><Relationship Id="rId54" Type="http://schemas.openxmlformats.org/officeDocument/2006/relationships/tags" Target="../tags/tag124.xml"/><Relationship Id="rId62" Type="http://schemas.openxmlformats.org/officeDocument/2006/relationships/chart" Target="../charts/chart4.xml"/><Relationship Id="rId1" Type="http://schemas.openxmlformats.org/officeDocument/2006/relationships/tags" Target="../tags/tag71.xml"/><Relationship Id="rId6" Type="http://schemas.openxmlformats.org/officeDocument/2006/relationships/tags" Target="../tags/tag76.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tags" Target="../tags/tag98.xml"/><Relationship Id="rId36" Type="http://schemas.openxmlformats.org/officeDocument/2006/relationships/tags" Target="../tags/tag106.xml"/><Relationship Id="rId49" Type="http://schemas.openxmlformats.org/officeDocument/2006/relationships/tags" Target="../tags/tag119.xml"/><Relationship Id="rId57" Type="http://schemas.openxmlformats.org/officeDocument/2006/relationships/oleObject" Target="../embeddings/oleObject40.bin"/><Relationship Id="rId10" Type="http://schemas.openxmlformats.org/officeDocument/2006/relationships/tags" Target="../tags/tag80.xml"/><Relationship Id="rId31" Type="http://schemas.openxmlformats.org/officeDocument/2006/relationships/tags" Target="../tags/tag101.xml"/><Relationship Id="rId44" Type="http://schemas.openxmlformats.org/officeDocument/2006/relationships/tags" Target="../tags/tag114.xml"/><Relationship Id="rId52" Type="http://schemas.openxmlformats.org/officeDocument/2006/relationships/tags" Target="../tags/tag122.xml"/><Relationship Id="rId60" Type="http://schemas.openxmlformats.org/officeDocument/2006/relationships/chart" Target="../charts/chart2.xml"/><Relationship Id="rId65" Type="http://schemas.openxmlformats.org/officeDocument/2006/relationships/chart" Target="../charts/chart7.xml"/><Relationship Id="rId4" Type="http://schemas.openxmlformats.org/officeDocument/2006/relationships/tags" Target="../tags/tag74.xml"/><Relationship Id="rId9" Type="http://schemas.openxmlformats.org/officeDocument/2006/relationships/tags" Target="../tags/tag79.xml"/><Relationship Id="rId13" Type="http://schemas.openxmlformats.org/officeDocument/2006/relationships/tags" Target="../tags/tag83.xml"/><Relationship Id="rId18" Type="http://schemas.openxmlformats.org/officeDocument/2006/relationships/tags" Target="../tags/tag88.xml"/><Relationship Id="rId39" Type="http://schemas.openxmlformats.org/officeDocument/2006/relationships/tags" Target="../tags/tag109.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34.xml"/><Relationship Id="rId1" Type="http://schemas.openxmlformats.org/officeDocument/2006/relationships/tags" Target="../tags/tag125.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slideLayout" Target="../slideLayouts/slideLayout36.xml"/><Relationship Id="rId7" Type="http://schemas.openxmlformats.org/officeDocument/2006/relationships/image" Target="../media/image10.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slideLayout" Target="../slideLayouts/slideLayout36.xml"/><Relationship Id="rId7" Type="http://schemas.openxmlformats.org/officeDocument/2006/relationships/image" Target="../media/image12.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13" Type="http://schemas.openxmlformats.org/officeDocument/2006/relationships/tags" Target="../tags/tag142.xml"/><Relationship Id="rId18" Type="http://schemas.openxmlformats.org/officeDocument/2006/relationships/tags" Target="../tags/tag147.xml"/><Relationship Id="rId26" Type="http://schemas.openxmlformats.org/officeDocument/2006/relationships/tags" Target="../tags/tag155.xml"/><Relationship Id="rId39" Type="http://schemas.openxmlformats.org/officeDocument/2006/relationships/tags" Target="../tags/tag168.xml"/><Relationship Id="rId21" Type="http://schemas.openxmlformats.org/officeDocument/2006/relationships/tags" Target="../tags/tag150.xml"/><Relationship Id="rId34" Type="http://schemas.openxmlformats.org/officeDocument/2006/relationships/tags" Target="../tags/tag163.xml"/><Relationship Id="rId42" Type="http://schemas.openxmlformats.org/officeDocument/2006/relationships/tags" Target="../tags/tag171.xml"/><Relationship Id="rId47" Type="http://schemas.openxmlformats.org/officeDocument/2006/relationships/tags" Target="../tags/tag176.xml"/><Relationship Id="rId50" Type="http://schemas.openxmlformats.org/officeDocument/2006/relationships/slideLayout" Target="../slideLayouts/slideLayout34.xml"/><Relationship Id="rId55" Type="http://schemas.openxmlformats.org/officeDocument/2006/relationships/chart" Target="../charts/chart11.xml"/><Relationship Id="rId7" Type="http://schemas.openxmlformats.org/officeDocument/2006/relationships/tags" Target="../tags/tag136.xml"/><Relationship Id="rId2" Type="http://schemas.openxmlformats.org/officeDocument/2006/relationships/tags" Target="../tags/tag131.xml"/><Relationship Id="rId16" Type="http://schemas.openxmlformats.org/officeDocument/2006/relationships/tags" Target="../tags/tag145.xml"/><Relationship Id="rId29" Type="http://schemas.openxmlformats.org/officeDocument/2006/relationships/tags" Target="../tags/tag158.xml"/><Relationship Id="rId11" Type="http://schemas.openxmlformats.org/officeDocument/2006/relationships/tags" Target="../tags/tag140.xml"/><Relationship Id="rId24" Type="http://schemas.openxmlformats.org/officeDocument/2006/relationships/tags" Target="../tags/tag153.xml"/><Relationship Id="rId32" Type="http://schemas.openxmlformats.org/officeDocument/2006/relationships/tags" Target="../tags/tag161.xml"/><Relationship Id="rId37" Type="http://schemas.openxmlformats.org/officeDocument/2006/relationships/tags" Target="../tags/tag166.xml"/><Relationship Id="rId40" Type="http://schemas.openxmlformats.org/officeDocument/2006/relationships/tags" Target="../tags/tag169.xml"/><Relationship Id="rId45" Type="http://schemas.openxmlformats.org/officeDocument/2006/relationships/tags" Target="../tags/tag174.xml"/><Relationship Id="rId53" Type="http://schemas.openxmlformats.org/officeDocument/2006/relationships/chart" Target="../charts/chart9.xml"/><Relationship Id="rId5" Type="http://schemas.openxmlformats.org/officeDocument/2006/relationships/tags" Target="../tags/tag134.xml"/><Relationship Id="rId10" Type="http://schemas.openxmlformats.org/officeDocument/2006/relationships/tags" Target="../tags/tag139.xml"/><Relationship Id="rId19" Type="http://schemas.openxmlformats.org/officeDocument/2006/relationships/tags" Target="../tags/tag148.xml"/><Relationship Id="rId31" Type="http://schemas.openxmlformats.org/officeDocument/2006/relationships/tags" Target="../tags/tag160.xml"/><Relationship Id="rId44" Type="http://schemas.openxmlformats.org/officeDocument/2006/relationships/tags" Target="../tags/tag173.xml"/><Relationship Id="rId52" Type="http://schemas.openxmlformats.org/officeDocument/2006/relationships/image" Target="../media/image7.emf"/><Relationship Id="rId4" Type="http://schemas.openxmlformats.org/officeDocument/2006/relationships/tags" Target="../tags/tag133.xml"/><Relationship Id="rId9" Type="http://schemas.openxmlformats.org/officeDocument/2006/relationships/tags" Target="../tags/tag138.xml"/><Relationship Id="rId14" Type="http://schemas.openxmlformats.org/officeDocument/2006/relationships/tags" Target="../tags/tag143.xml"/><Relationship Id="rId22" Type="http://schemas.openxmlformats.org/officeDocument/2006/relationships/tags" Target="../tags/tag151.xml"/><Relationship Id="rId27" Type="http://schemas.openxmlformats.org/officeDocument/2006/relationships/tags" Target="../tags/tag156.xml"/><Relationship Id="rId30" Type="http://schemas.openxmlformats.org/officeDocument/2006/relationships/tags" Target="../tags/tag159.xml"/><Relationship Id="rId35" Type="http://schemas.openxmlformats.org/officeDocument/2006/relationships/tags" Target="../tags/tag164.xml"/><Relationship Id="rId43" Type="http://schemas.openxmlformats.org/officeDocument/2006/relationships/tags" Target="../tags/tag172.xml"/><Relationship Id="rId48" Type="http://schemas.openxmlformats.org/officeDocument/2006/relationships/tags" Target="../tags/tag177.xml"/><Relationship Id="rId56" Type="http://schemas.openxmlformats.org/officeDocument/2006/relationships/chart" Target="../charts/chart12.xml"/><Relationship Id="rId8" Type="http://schemas.openxmlformats.org/officeDocument/2006/relationships/tags" Target="../tags/tag137.xml"/><Relationship Id="rId51" Type="http://schemas.openxmlformats.org/officeDocument/2006/relationships/oleObject" Target="../embeddings/oleObject44.bin"/><Relationship Id="rId3" Type="http://schemas.openxmlformats.org/officeDocument/2006/relationships/tags" Target="../tags/tag132.xml"/><Relationship Id="rId12" Type="http://schemas.openxmlformats.org/officeDocument/2006/relationships/tags" Target="../tags/tag141.xml"/><Relationship Id="rId17" Type="http://schemas.openxmlformats.org/officeDocument/2006/relationships/tags" Target="../tags/tag146.xml"/><Relationship Id="rId25" Type="http://schemas.openxmlformats.org/officeDocument/2006/relationships/tags" Target="../tags/tag154.xml"/><Relationship Id="rId33" Type="http://schemas.openxmlformats.org/officeDocument/2006/relationships/tags" Target="../tags/tag162.xml"/><Relationship Id="rId38" Type="http://schemas.openxmlformats.org/officeDocument/2006/relationships/tags" Target="../tags/tag167.xml"/><Relationship Id="rId46" Type="http://schemas.openxmlformats.org/officeDocument/2006/relationships/tags" Target="../tags/tag175.xml"/><Relationship Id="rId20" Type="http://schemas.openxmlformats.org/officeDocument/2006/relationships/tags" Target="../tags/tag149.xml"/><Relationship Id="rId41" Type="http://schemas.openxmlformats.org/officeDocument/2006/relationships/tags" Target="../tags/tag170.xml"/><Relationship Id="rId54" Type="http://schemas.openxmlformats.org/officeDocument/2006/relationships/chart" Target="../charts/chart10.xml"/><Relationship Id="rId1" Type="http://schemas.openxmlformats.org/officeDocument/2006/relationships/tags" Target="../tags/tag130.xml"/><Relationship Id="rId6" Type="http://schemas.openxmlformats.org/officeDocument/2006/relationships/tags" Target="../tags/tag135.xml"/><Relationship Id="rId15" Type="http://schemas.openxmlformats.org/officeDocument/2006/relationships/tags" Target="../tags/tag144.xml"/><Relationship Id="rId23" Type="http://schemas.openxmlformats.org/officeDocument/2006/relationships/tags" Target="../tags/tag152.xml"/><Relationship Id="rId28" Type="http://schemas.openxmlformats.org/officeDocument/2006/relationships/tags" Target="../tags/tag157.xml"/><Relationship Id="rId36" Type="http://schemas.openxmlformats.org/officeDocument/2006/relationships/tags" Target="../tags/tag165.xml"/><Relationship Id="rId49" Type="http://schemas.openxmlformats.org/officeDocument/2006/relationships/tags" Target="../tags/tag178.xml"/></Relationships>
</file>

<file path=ppt/slides/_rels/slide8.xml.rels><?xml version="1.0" encoding="UTF-8" standalone="yes"?>
<Relationships xmlns="http://schemas.openxmlformats.org/package/2006/relationships"><Relationship Id="rId13" Type="http://schemas.openxmlformats.org/officeDocument/2006/relationships/tags" Target="../tags/tag191.xml"/><Relationship Id="rId18" Type="http://schemas.openxmlformats.org/officeDocument/2006/relationships/tags" Target="../tags/tag196.xml"/><Relationship Id="rId26" Type="http://schemas.openxmlformats.org/officeDocument/2006/relationships/tags" Target="../tags/tag204.xml"/><Relationship Id="rId39" Type="http://schemas.openxmlformats.org/officeDocument/2006/relationships/tags" Target="../tags/tag217.xml"/><Relationship Id="rId21" Type="http://schemas.openxmlformats.org/officeDocument/2006/relationships/tags" Target="../tags/tag199.xml"/><Relationship Id="rId34" Type="http://schemas.openxmlformats.org/officeDocument/2006/relationships/tags" Target="../tags/tag212.xml"/><Relationship Id="rId42" Type="http://schemas.openxmlformats.org/officeDocument/2006/relationships/oleObject" Target="../embeddings/oleObject45.bin"/><Relationship Id="rId47" Type="http://schemas.openxmlformats.org/officeDocument/2006/relationships/image" Target="../media/image17.svg"/><Relationship Id="rId50" Type="http://schemas.openxmlformats.org/officeDocument/2006/relationships/chart" Target="../charts/chart13.xml"/><Relationship Id="rId7" Type="http://schemas.openxmlformats.org/officeDocument/2006/relationships/tags" Target="../tags/tag185.xml"/><Relationship Id="rId2" Type="http://schemas.openxmlformats.org/officeDocument/2006/relationships/tags" Target="../tags/tag180.xml"/><Relationship Id="rId16" Type="http://schemas.openxmlformats.org/officeDocument/2006/relationships/tags" Target="../tags/tag194.xml"/><Relationship Id="rId29" Type="http://schemas.openxmlformats.org/officeDocument/2006/relationships/tags" Target="../tags/tag207.xml"/><Relationship Id="rId11" Type="http://schemas.openxmlformats.org/officeDocument/2006/relationships/tags" Target="../tags/tag189.xml"/><Relationship Id="rId24" Type="http://schemas.openxmlformats.org/officeDocument/2006/relationships/tags" Target="../tags/tag202.xml"/><Relationship Id="rId32" Type="http://schemas.openxmlformats.org/officeDocument/2006/relationships/tags" Target="../tags/tag210.xml"/><Relationship Id="rId37" Type="http://schemas.openxmlformats.org/officeDocument/2006/relationships/tags" Target="../tags/tag215.xml"/><Relationship Id="rId40" Type="http://schemas.openxmlformats.org/officeDocument/2006/relationships/tags" Target="../tags/tag218.xml"/><Relationship Id="rId45" Type="http://schemas.openxmlformats.org/officeDocument/2006/relationships/image" Target="../media/image15.svg"/><Relationship Id="rId53" Type="http://schemas.openxmlformats.org/officeDocument/2006/relationships/chart" Target="../charts/chart16.xml"/><Relationship Id="rId5" Type="http://schemas.openxmlformats.org/officeDocument/2006/relationships/tags" Target="../tags/tag183.xml"/><Relationship Id="rId10" Type="http://schemas.openxmlformats.org/officeDocument/2006/relationships/tags" Target="../tags/tag188.xml"/><Relationship Id="rId19" Type="http://schemas.openxmlformats.org/officeDocument/2006/relationships/tags" Target="../tags/tag197.xml"/><Relationship Id="rId31" Type="http://schemas.openxmlformats.org/officeDocument/2006/relationships/tags" Target="../tags/tag209.xml"/><Relationship Id="rId44" Type="http://schemas.openxmlformats.org/officeDocument/2006/relationships/image" Target="../media/image14.png"/><Relationship Id="rId52" Type="http://schemas.openxmlformats.org/officeDocument/2006/relationships/chart" Target="../charts/chart15.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tags" Target="../tags/tag192.xml"/><Relationship Id="rId22" Type="http://schemas.openxmlformats.org/officeDocument/2006/relationships/tags" Target="../tags/tag200.xml"/><Relationship Id="rId27" Type="http://schemas.openxmlformats.org/officeDocument/2006/relationships/tags" Target="../tags/tag205.xml"/><Relationship Id="rId30" Type="http://schemas.openxmlformats.org/officeDocument/2006/relationships/tags" Target="../tags/tag208.xml"/><Relationship Id="rId35" Type="http://schemas.openxmlformats.org/officeDocument/2006/relationships/tags" Target="../tags/tag213.xml"/><Relationship Id="rId43" Type="http://schemas.openxmlformats.org/officeDocument/2006/relationships/image" Target="../media/image5.emf"/><Relationship Id="rId48" Type="http://schemas.openxmlformats.org/officeDocument/2006/relationships/image" Target="../media/image18.png"/><Relationship Id="rId8" Type="http://schemas.openxmlformats.org/officeDocument/2006/relationships/tags" Target="../tags/tag186.xml"/><Relationship Id="rId51" Type="http://schemas.openxmlformats.org/officeDocument/2006/relationships/chart" Target="../charts/chart14.xml"/><Relationship Id="rId3" Type="http://schemas.openxmlformats.org/officeDocument/2006/relationships/tags" Target="../tags/tag181.xml"/><Relationship Id="rId12" Type="http://schemas.openxmlformats.org/officeDocument/2006/relationships/tags" Target="../tags/tag190.xml"/><Relationship Id="rId17" Type="http://schemas.openxmlformats.org/officeDocument/2006/relationships/tags" Target="../tags/tag195.xml"/><Relationship Id="rId25" Type="http://schemas.openxmlformats.org/officeDocument/2006/relationships/tags" Target="../tags/tag203.xml"/><Relationship Id="rId33" Type="http://schemas.openxmlformats.org/officeDocument/2006/relationships/tags" Target="../tags/tag211.xml"/><Relationship Id="rId38" Type="http://schemas.openxmlformats.org/officeDocument/2006/relationships/tags" Target="../tags/tag216.xml"/><Relationship Id="rId46" Type="http://schemas.openxmlformats.org/officeDocument/2006/relationships/image" Target="../media/image16.png"/><Relationship Id="rId20" Type="http://schemas.openxmlformats.org/officeDocument/2006/relationships/tags" Target="../tags/tag198.xml"/><Relationship Id="rId41" Type="http://schemas.openxmlformats.org/officeDocument/2006/relationships/slideLayout" Target="../slideLayouts/slideLayout2.xml"/><Relationship Id="rId1" Type="http://schemas.openxmlformats.org/officeDocument/2006/relationships/tags" Target="../tags/tag179.xml"/><Relationship Id="rId6" Type="http://schemas.openxmlformats.org/officeDocument/2006/relationships/tags" Target="../tags/tag184.xml"/><Relationship Id="rId15" Type="http://schemas.openxmlformats.org/officeDocument/2006/relationships/tags" Target="../tags/tag193.xml"/><Relationship Id="rId23" Type="http://schemas.openxmlformats.org/officeDocument/2006/relationships/tags" Target="../tags/tag201.xml"/><Relationship Id="rId28" Type="http://schemas.openxmlformats.org/officeDocument/2006/relationships/tags" Target="../tags/tag206.xml"/><Relationship Id="rId36" Type="http://schemas.openxmlformats.org/officeDocument/2006/relationships/tags" Target="../tags/tag214.xml"/><Relationship Id="rId49" Type="http://schemas.openxmlformats.org/officeDocument/2006/relationships/image" Target="../media/image19.svg"/></Relationships>
</file>

<file path=ppt/slides/_rels/slide9.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3" Type="http://schemas.openxmlformats.org/officeDocument/2006/relationships/slideLayout" Target="../slideLayouts/slideLayout35.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tags" Target="../tags/tag220.xml"/><Relationship Id="rId16" Type="http://schemas.openxmlformats.org/officeDocument/2006/relationships/image" Target="../media/image29.svg"/><Relationship Id="rId1" Type="http://schemas.openxmlformats.org/officeDocument/2006/relationships/tags" Target="../tags/tag219.xml"/><Relationship Id="rId6" Type="http://schemas.openxmlformats.org/officeDocument/2006/relationships/image" Target="../media/image5.emf"/><Relationship Id="rId11" Type="http://schemas.openxmlformats.org/officeDocument/2006/relationships/image" Target="../media/image24.png"/><Relationship Id="rId5" Type="http://schemas.openxmlformats.org/officeDocument/2006/relationships/oleObject" Target="../embeddings/oleObject46.bin"/><Relationship Id="rId15" Type="http://schemas.openxmlformats.org/officeDocument/2006/relationships/image" Target="../media/image28.png"/><Relationship Id="rId10" Type="http://schemas.openxmlformats.org/officeDocument/2006/relationships/image" Target="../media/image23.svg"/><Relationship Id="rId4" Type="http://schemas.openxmlformats.org/officeDocument/2006/relationships/notesSlide" Target="../notesSlides/notesSlide5.xml"/><Relationship Id="rId9" Type="http://schemas.openxmlformats.org/officeDocument/2006/relationships/image" Target="../media/image22.png"/><Relationship Id="rId14" Type="http://schemas.openxmlformats.org/officeDocument/2006/relationships/image" Target="../media/image27.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9FA42719-2E67-4EAE-8832-4C40D5D6E5A1}"/>
              </a:ext>
            </a:extLst>
          </p:cNvPr>
          <p:cNvPicPr>
            <a:picLocks noChangeAspect="1"/>
          </p:cNvPicPr>
          <p:nvPr/>
        </p:nvPicPr>
        <p:blipFill>
          <a:blip r:embed="rId6"/>
          <a:srcRect t="12696" b="12696"/>
          <a:stretch/>
        </p:blipFill>
        <p:spPr>
          <a:xfrm>
            <a:off x="162560" y="109223"/>
            <a:ext cx="11865634" cy="6639566"/>
          </a:xfrm>
          <a:prstGeom prst="roundRect">
            <a:avLst>
              <a:gd name="adj" fmla="val 2247"/>
            </a:avLst>
          </a:prstGeom>
        </p:spPr>
      </p:pic>
      <p:sp>
        <p:nvSpPr>
          <p:cNvPr id="21" name="Rectangle: Rounded Corners 20">
            <a:extLst>
              <a:ext uri="{FF2B5EF4-FFF2-40B4-BE49-F238E27FC236}">
                <a16:creationId xmlns:a16="http://schemas.microsoft.com/office/drawing/2014/main" id="{322DA680-E336-49F3-BFA1-C1BB37BA0F4A}"/>
              </a:ext>
            </a:extLst>
          </p:cNvPr>
          <p:cNvSpPr/>
          <p:nvPr/>
        </p:nvSpPr>
        <p:spPr>
          <a:xfrm>
            <a:off x="939961" y="939800"/>
            <a:ext cx="5005388" cy="850900"/>
          </a:xfrm>
          <a:prstGeom prst="roundRect">
            <a:avLst>
              <a:gd name="adj" fmla="val 8419"/>
            </a:avLst>
          </a:prstGeom>
          <a:noFill/>
          <a:extLst>
            <a:ext uri="{909E8E84-426E-40DD-AFC4-6F175D3DCCD1}">
              <a14:hiddenFill xmlns:a14="http://schemas.microsoft.com/office/drawing/2010/main">
                <a:solidFill>
                  <a:schemeClr val="bg1"/>
                </a:solidFill>
              </a14:hiddenFill>
            </a:ext>
          </a:extLst>
        </p:spPr>
        <p:txBody>
          <a:bodyPr lIns="126000" tIns="0" rIns="126000" bIns="0" rtlCol="0" anchor="ctr">
            <a:noAutofit/>
          </a:bodyPr>
          <a:lstStyle/>
          <a:p>
            <a:pPr marL="0" indent="0" defTabSz="685852">
              <a:spcBef>
                <a:spcPts val="750"/>
              </a:spcBef>
              <a:buClr>
                <a:srgbClr val="FF0000"/>
              </a:buClr>
              <a:buNone/>
            </a:pPr>
            <a:endParaRPr lang="nl-NL" sz="2800" b="1" dirty="0">
              <a:solidFill>
                <a:schemeClr val="tx1">
                  <a:lumMod val="65000"/>
                  <a:lumOff val="35000"/>
                </a:schemeClr>
              </a:solidFill>
            </a:endParaRPr>
          </a:p>
        </p:txBody>
      </p:sp>
      <p:sp>
        <p:nvSpPr>
          <p:cNvPr id="20" name="Title 1">
            <a:extLst>
              <a:ext uri="{FF2B5EF4-FFF2-40B4-BE49-F238E27FC236}">
                <a16:creationId xmlns:a16="http://schemas.microsoft.com/office/drawing/2014/main" id="{80026FA6-76EF-4DBB-BEC6-F86246139380}"/>
              </a:ext>
            </a:extLst>
          </p:cNvPr>
          <p:cNvSpPr txBox="1">
            <a:spLocks/>
          </p:cNvSpPr>
          <p:nvPr/>
        </p:nvSpPr>
        <p:spPr>
          <a:xfrm>
            <a:off x="152402" y="2327991"/>
            <a:ext cx="11875794" cy="2202025"/>
          </a:xfrm>
          <a:prstGeom prst="rect">
            <a:avLst/>
          </a:prstGeom>
          <a:solidFill>
            <a:schemeClr val="tx2">
              <a:alpha val="89000"/>
            </a:schemeClr>
          </a:solidFill>
        </p:spPr>
        <p:txBody>
          <a:bodyPr vert="horz" lIns="91440" tIns="45721" rIns="91440" bIns="45721" rtlCol="0" anchor="ctr">
            <a:noAutofit/>
          </a:bodyPr>
          <a:lst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sym typeface="Corbel" panose="020B0503020204020204" pitchFamily="34" charset="0"/>
              </a:defRPr>
            </a:lvl1p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en-NL">
                <a:solidFill>
                  <a:srgbClr val="FFFFFF"/>
                </a:solidFill>
              </a:rPr>
              <a:t>De</a:t>
            </a:r>
            <a:r>
              <a:rPr lang="nl-NL">
                <a:solidFill>
                  <a:srgbClr val="FFFFFF"/>
                </a:solidFill>
              </a:rPr>
              <a:t> </a:t>
            </a:r>
            <a:r>
              <a:rPr lang="nl-NL" dirty="0">
                <a:solidFill>
                  <a:srgbClr val="FFFFFF"/>
                </a:solidFill>
              </a:rPr>
              <a:t>publieke business case</a:t>
            </a:r>
            <a:endParaRPr lang="nl-NL" i="1" dirty="0">
              <a:solidFill>
                <a:srgbClr val="FFFFFF"/>
              </a:solidFill>
            </a:endParaRP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000" b="0" u="none" strike="noStrike" kern="1200" cap="none" spc="0" normalizeH="0" baseline="0" noProof="0" dirty="0">
                <a:ln>
                  <a:noFill/>
                </a:ln>
                <a:solidFill>
                  <a:srgbClr val="FFFFFF"/>
                </a:solidFill>
                <a:effectLst/>
                <a:uLnTx/>
                <a:uFillTx/>
                <a:latin typeface="Corbel" panose="020B0503020204020204" pitchFamily="34" charset="0"/>
                <a:ea typeface="+mj-ea"/>
                <a:cs typeface="+mj-cs"/>
              </a:rPr>
              <a:t>Uitleg</a:t>
            </a:r>
            <a:r>
              <a:rPr kumimoji="0" lang="nl-NL" sz="2000" b="0" u="none" strike="noStrike" kern="1200" cap="none" spc="0" normalizeH="0" baseline="0" noProof="0">
                <a:ln>
                  <a:noFill/>
                </a:ln>
                <a:solidFill>
                  <a:srgbClr val="FFFFFF"/>
                </a:solidFill>
                <a:effectLst/>
                <a:uLnTx/>
                <a:uFillTx/>
                <a:latin typeface="Corbel" panose="020B0503020204020204" pitchFamily="34" charset="0"/>
                <a:ea typeface="+mj-ea"/>
                <a:cs typeface="+mj-cs"/>
              </a:rPr>
              <a:t>, </a:t>
            </a:r>
            <a:r>
              <a:rPr kumimoji="0" lang="en-NL" sz="2000" b="0" u="none" strike="noStrike" kern="1200" cap="none" spc="0" normalizeH="0" baseline="0" noProof="0">
                <a:ln>
                  <a:noFill/>
                </a:ln>
                <a:solidFill>
                  <a:srgbClr val="FFFFFF"/>
                </a:solidFill>
                <a:effectLst/>
                <a:uLnTx/>
                <a:uFillTx/>
                <a:latin typeface="Corbel" panose="020B0503020204020204" pitchFamily="34" charset="0"/>
                <a:ea typeface="+mj-ea"/>
                <a:cs typeface="+mj-cs"/>
              </a:rPr>
              <a:t>best practices &amp; </a:t>
            </a:r>
            <a:r>
              <a:rPr kumimoji="0" lang="nl-NL" sz="2000" b="0" u="none" strike="noStrike" kern="1200" cap="none" spc="0" normalizeH="0" baseline="0" noProof="0">
                <a:ln>
                  <a:noFill/>
                </a:ln>
                <a:solidFill>
                  <a:srgbClr val="FFFFFF"/>
                </a:solidFill>
                <a:effectLst/>
                <a:uLnTx/>
                <a:uFillTx/>
                <a:latin typeface="Corbel" panose="020B0503020204020204" pitchFamily="34" charset="0"/>
                <a:ea typeface="+mj-ea"/>
                <a:cs typeface="+mj-cs"/>
              </a:rPr>
              <a:t>trends</a:t>
            </a:r>
            <a:endParaRPr kumimoji="0" lang="nl-NL" sz="2400" b="0" u="none" strike="noStrike" kern="1200" cap="none" spc="0" normalizeH="0" baseline="0" noProof="0" dirty="0">
              <a:ln>
                <a:noFill/>
              </a:ln>
              <a:solidFill>
                <a:schemeClr val="bg1"/>
              </a:solidFill>
              <a:effectLst/>
              <a:uLnTx/>
              <a:uFillTx/>
              <a:latin typeface="Corbel" panose="020B0503020204020204" pitchFamily="34" charset="0"/>
              <a:ea typeface="+mj-ea"/>
              <a:cs typeface="+mj-cs"/>
            </a:endParaRPr>
          </a:p>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2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Maart 2021 - </a:t>
            </a:r>
            <a:r>
              <a:rPr kumimoji="0" lang="nl-NL" sz="20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p>
          <a:p>
            <a:pPr algn="ctr">
              <a:spcBef>
                <a:spcPts val="601"/>
              </a:spcBef>
            </a:pPr>
            <a:r>
              <a:rPr lang="nl-NL" sz="400" b="0" i="1" dirty="0">
                <a:solidFill>
                  <a:schemeClr val="bg1"/>
                </a:solidFill>
              </a:rPr>
              <a:t> </a:t>
            </a:r>
            <a:endParaRPr lang="nl-NL" sz="1600" b="0" i="1" dirty="0">
              <a:solidFill>
                <a:schemeClr val="bg1"/>
              </a:solidFill>
            </a:endParaRPr>
          </a:p>
        </p:txBody>
      </p:sp>
    </p:spTree>
    <p:extLst>
      <p:ext uri="{BB962C8B-B14F-4D97-AF65-F5344CB8AC3E}">
        <p14:creationId xmlns:p14="http://schemas.microsoft.com/office/powerpoint/2010/main" val="4155622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1"/>
            </p:custDataLst>
            <p:extLst>
              <p:ext uri="{D42A27DB-BD31-4B8C-83A1-F6EECF244321}">
                <p14:modId xmlns:p14="http://schemas.microsoft.com/office/powerpoint/2010/main" val="1872274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Text Placeholder 9">
            <a:extLst>
              <a:ext uri="{FF2B5EF4-FFF2-40B4-BE49-F238E27FC236}">
                <a16:creationId xmlns:a16="http://schemas.microsoft.com/office/drawing/2014/main" id="{E311FB2C-62FF-41FA-8CA8-2143A065B980}"/>
              </a:ext>
            </a:extLst>
          </p:cNvPr>
          <p:cNvSpPr txBox="1">
            <a:spLocks/>
          </p:cNvSpPr>
          <p:nvPr/>
        </p:nvSpPr>
        <p:spPr>
          <a:xfrm>
            <a:off x="1509229" y="810830"/>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rPr>
              <a:t>Infrastructuu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endParaRPr lang="nl-NL" sz="1000" dirty="0">
              <a:solidFill>
                <a:schemeClr val="tx1"/>
              </a:solidFill>
            </a:endParaRP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endParaRPr kumimoji="0" lang="nl-NL" sz="1000" b="1" i="0" u="none" strike="noStrike" kern="1200" cap="none" spc="0" normalizeH="0" baseline="0" noProof="0" dirty="0">
              <a:ln>
                <a:noFill/>
              </a:ln>
              <a:solidFill>
                <a:schemeClr val="tx1"/>
              </a:solidFill>
              <a:effectLst/>
              <a:uLnTx/>
              <a:uFillTx/>
            </a:endParaRP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endParaRPr lang="nl-NL" sz="1000" dirty="0">
              <a:solidFill>
                <a:schemeClr val="tx1"/>
              </a:solidFill>
            </a:endParaRP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endParaRPr kumimoji="0" lang="nl-NL" sz="1000" b="1" i="0" u="none" strike="noStrike" kern="1200" cap="none" spc="0" normalizeH="0" baseline="0" noProof="0" dirty="0">
              <a:ln>
                <a:noFill/>
              </a:ln>
              <a:solidFill>
                <a:schemeClr val="tx1"/>
              </a:solidFill>
              <a:effectLst/>
              <a:uLnTx/>
              <a:uFillTx/>
            </a:endParaRPr>
          </a:p>
        </p:txBody>
      </p:sp>
      <p:sp>
        <p:nvSpPr>
          <p:cNvPr id="12" name="Text Placeholder 9">
            <a:extLst>
              <a:ext uri="{FF2B5EF4-FFF2-40B4-BE49-F238E27FC236}">
                <a16:creationId xmlns:a16="http://schemas.microsoft.com/office/drawing/2014/main" id="{24B28627-5FE4-460C-8569-3E2CE1D12907}"/>
              </a:ext>
            </a:extLst>
          </p:cNvPr>
          <p:cNvSpPr txBox="1">
            <a:spLocks/>
          </p:cNvSpPr>
          <p:nvPr/>
        </p:nvSpPr>
        <p:spPr>
          <a:xfrm>
            <a:off x="5378978" y="810830"/>
            <a:ext cx="1817379" cy="2392458"/>
          </a:xfrm>
          <a:prstGeom prst="rect">
            <a:avLst/>
          </a:prstGeom>
          <a:solidFill>
            <a:schemeClr val="bg1">
              <a:lumMod val="95000"/>
            </a:schemeClr>
          </a:solidFill>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Kunst, cultuur en erfgoed</a:t>
            </a:r>
          </a:p>
        </p:txBody>
      </p:sp>
      <p:sp>
        <p:nvSpPr>
          <p:cNvPr id="13" name="Text Placeholder 9">
            <a:extLst>
              <a:ext uri="{FF2B5EF4-FFF2-40B4-BE49-F238E27FC236}">
                <a16:creationId xmlns:a16="http://schemas.microsoft.com/office/drawing/2014/main" id="{9BAB1AA9-A9C2-4367-A4E5-0BF5BBF962C8}"/>
              </a:ext>
            </a:extLst>
          </p:cNvPr>
          <p:cNvSpPr txBox="1">
            <a:spLocks/>
          </p:cNvSpPr>
          <p:nvPr/>
        </p:nvSpPr>
        <p:spPr>
          <a:xfrm>
            <a:off x="3444103" y="810829"/>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Economie</a:t>
            </a:r>
          </a:p>
        </p:txBody>
      </p:sp>
      <p:sp>
        <p:nvSpPr>
          <p:cNvPr id="15" name="Text Placeholder 9">
            <a:extLst>
              <a:ext uri="{FF2B5EF4-FFF2-40B4-BE49-F238E27FC236}">
                <a16:creationId xmlns:a16="http://schemas.microsoft.com/office/drawing/2014/main" id="{495F9AB4-0602-4AAF-8F67-46897E8947D3}"/>
              </a:ext>
            </a:extLst>
          </p:cNvPr>
          <p:cNvSpPr txBox="1">
            <a:spLocks/>
          </p:cNvSpPr>
          <p:nvPr/>
        </p:nvSpPr>
        <p:spPr>
          <a:xfrm>
            <a:off x="7311835" y="810829"/>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Onderwijs</a:t>
            </a:r>
          </a:p>
        </p:txBody>
      </p:sp>
      <p:sp>
        <p:nvSpPr>
          <p:cNvPr id="23" name="Text Placeholder 9">
            <a:extLst>
              <a:ext uri="{FF2B5EF4-FFF2-40B4-BE49-F238E27FC236}">
                <a16:creationId xmlns:a16="http://schemas.microsoft.com/office/drawing/2014/main" id="{B942A96A-64AA-4375-80B4-F55A0E4528EC}"/>
              </a:ext>
            </a:extLst>
          </p:cNvPr>
          <p:cNvSpPr txBox="1">
            <a:spLocks/>
          </p:cNvSpPr>
          <p:nvPr/>
        </p:nvSpPr>
        <p:spPr>
          <a:xfrm>
            <a:off x="1509229" y="3790627"/>
            <a:ext cx="1817380"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a:ln>
                  <a:noFill/>
                </a:ln>
                <a:solidFill>
                  <a:schemeClr val="tx1"/>
                </a:solidFill>
                <a:effectLst/>
                <a:uLnTx/>
                <a:uFillTx/>
                <a:latin typeface="Corbel" panose="020B0503020204020204" pitchFamily="34" charset="0"/>
                <a:ea typeface="+mn-ea"/>
                <a:cs typeface="+mn-cs"/>
              </a:rPr>
              <a:t>Zorg</a:t>
            </a:r>
            <a:endPar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24" name="Text Placeholder 9">
            <a:extLst>
              <a:ext uri="{FF2B5EF4-FFF2-40B4-BE49-F238E27FC236}">
                <a16:creationId xmlns:a16="http://schemas.microsoft.com/office/drawing/2014/main" id="{A2F4DE9D-2FBB-44D0-AA81-2C11F5B38132}"/>
              </a:ext>
            </a:extLst>
          </p:cNvPr>
          <p:cNvSpPr txBox="1">
            <a:spLocks/>
          </p:cNvSpPr>
          <p:nvPr/>
        </p:nvSpPr>
        <p:spPr>
          <a:xfrm>
            <a:off x="5378979" y="3790627"/>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ndexploitatie </a:t>
            </a:r>
          </a:p>
        </p:txBody>
      </p:sp>
      <p:sp>
        <p:nvSpPr>
          <p:cNvPr id="26" name="Text Placeholder 9">
            <a:extLst>
              <a:ext uri="{FF2B5EF4-FFF2-40B4-BE49-F238E27FC236}">
                <a16:creationId xmlns:a16="http://schemas.microsoft.com/office/drawing/2014/main" id="{1D9EEFEB-29AF-49D2-9370-18874AADE846}"/>
              </a:ext>
            </a:extLst>
          </p:cNvPr>
          <p:cNvSpPr txBox="1">
            <a:spLocks/>
          </p:cNvSpPr>
          <p:nvPr/>
        </p:nvSpPr>
        <p:spPr>
          <a:xfrm>
            <a:off x="3444103" y="3790627"/>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uurzaamheid</a:t>
            </a:r>
          </a:p>
        </p:txBody>
      </p:sp>
      <p:sp>
        <p:nvSpPr>
          <p:cNvPr id="27" name="Text Placeholder 9">
            <a:extLst>
              <a:ext uri="{FF2B5EF4-FFF2-40B4-BE49-F238E27FC236}">
                <a16:creationId xmlns:a16="http://schemas.microsoft.com/office/drawing/2014/main" id="{C1EDC92D-212C-4409-B279-3325640399ED}"/>
              </a:ext>
            </a:extLst>
          </p:cNvPr>
          <p:cNvSpPr txBox="1">
            <a:spLocks/>
          </p:cNvSpPr>
          <p:nvPr/>
        </p:nvSpPr>
        <p:spPr>
          <a:xfrm>
            <a:off x="9248727" y="3790627"/>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en-NL" sz="1000" b="1" i="0" u="none" strike="noStrike" kern="1200" cap="none" spc="0" normalizeH="0" baseline="0" noProof="0">
                <a:ln>
                  <a:noFill/>
                </a:ln>
                <a:solidFill>
                  <a:schemeClr val="tx1"/>
                </a:solidFill>
                <a:effectLst/>
                <a:uLnTx/>
                <a:uFillTx/>
                <a:latin typeface="Corbel" panose="020B0503020204020204" pitchFamily="34" charset="0"/>
                <a:ea typeface="+mn-ea"/>
                <a:cs typeface="+mn-cs"/>
              </a:rPr>
              <a:t>Interne o</a:t>
            </a:r>
            <a:r>
              <a:rPr kumimoji="0" lang="nl-NL" sz="1000" b="1" i="0" u="none" strike="noStrike" kern="1200" cap="none" spc="0" normalizeH="0" baseline="0" noProof="0">
                <a:ln>
                  <a:noFill/>
                </a:ln>
                <a:solidFill>
                  <a:schemeClr val="tx1"/>
                </a:solidFill>
                <a:effectLst/>
                <a:uLnTx/>
                <a:uFillTx/>
                <a:latin typeface="Corbel" panose="020B0503020204020204" pitchFamily="34" charset="0"/>
                <a:ea typeface="+mn-ea"/>
                <a:cs typeface="+mn-cs"/>
              </a:rPr>
              <a:t>rganisatie</a:t>
            </a:r>
            <a:r>
              <a:rPr kumimoji="0" lang="en-NL" sz="1000" b="1" i="0" u="none" strike="noStrike" kern="1200" cap="none" spc="0" normalizeH="0" baseline="0" noProof="0">
                <a:ln>
                  <a:noFill/>
                </a:ln>
                <a:solidFill>
                  <a:schemeClr val="tx1"/>
                </a:solidFill>
                <a:effectLst/>
                <a:uLnTx/>
                <a:uFillTx/>
                <a:latin typeface="Corbel" panose="020B0503020204020204" pitchFamily="34" charset="0"/>
                <a:ea typeface="+mn-ea"/>
                <a:cs typeface="+mn-cs"/>
              </a:rPr>
              <a:t> en bedrijfsvoering</a:t>
            </a:r>
            <a:endPar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endParaRPr>
          </a:p>
        </p:txBody>
      </p:sp>
      <p:sp>
        <p:nvSpPr>
          <p:cNvPr id="28" name="Text Placeholder 9">
            <a:extLst>
              <a:ext uri="{FF2B5EF4-FFF2-40B4-BE49-F238E27FC236}">
                <a16:creationId xmlns:a16="http://schemas.microsoft.com/office/drawing/2014/main" id="{3DC1A104-2726-4155-BE21-F1D743BA6DAA}"/>
              </a:ext>
            </a:extLst>
          </p:cNvPr>
          <p:cNvSpPr txBox="1">
            <a:spLocks/>
          </p:cNvSpPr>
          <p:nvPr/>
        </p:nvSpPr>
        <p:spPr>
          <a:xfrm>
            <a:off x="7313854" y="3790627"/>
            <a:ext cx="1817379" cy="2392459"/>
          </a:xfrm>
          <a:prstGeom prst="rect">
            <a:avLst/>
          </a:prstGeom>
          <a:solidFill>
            <a:schemeClr val="bg1">
              <a:lumMod val="95000"/>
            </a:schemeClr>
          </a:solidFill>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Wonen en groen</a:t>
            </a:r>
          </a:p>
        </p:txBody>
      </p:sp>
      <p:sp>
        <p:nvSpPr>
          <p:cNvPr id="65" name="Text Placeholder 9">
            <a:extLst>
              <a:ext uri="{FF2B5EF4-FFF2-40B4-BE49-F238E27FC236}">
                <a16:creationId xmlns:a16="http://schemas.microsoft.com/office/drawing/2014/main" id="{8F310BDA-DA7B-47BB-A905-04B6BAFA54E6}"/>
              </a:ext>
            </a:extLst>
          </p:cNvPr>
          <p:cNvSpPr txBox="1">
            <a:spLocks/>
          </p:cNvSpPr>
          <p:nvPr/>
        </p:nvSpPr>
        <p:spPr>
          <a:xfrm>
            <a:off x="9248727" y="810829"/>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Werk, inkomen en participatie</a:t>
            </a:r>
          </a:p>
        </p:txBody>
      </p:sp>
      <p:sp>
        <p:nvSpPr>
          <p:cNvPr id="25" name="Rectangle 24" hidden="1">
            <a:extLst>
              <a:ext uri="{FF2B5EF4-FFF2-40B4-BE49-F238E27FC236}">
                <a16:creationId xmlns:a16="http://schemas.microsoft.com/office/drawing/2014/main" id="{BAA2F78A-B4E7-40AC-BCA6-2B7BD08726FD}"/>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lnSpc>
                <a:spcPct val="90000"/>
              </a:lnSpc>
              <a:spcBef>
                <a:spcPts val="750"/>
              </a:spcBef>
              <a:buClr>
                <a:srgbClr val="FF0000"/>
              </a:buClr>
            </a:pPr>
            <a:endParaRPr kumimoji="0" lang="nl-NL" b="1" u="none" strike="noStrike" kern="1200" cap="none" spc="0" normalizeH="0" noProof="0" dirty="0">
              <a:ln>
                <a:noFill/>
              </a:ln>
              <a:solidFill>
                <a:srgbClr val="000000"/>
              </a:solidFill>
              <a:effectLst/>
              <a:uLnTx/>
              <a:uFillTx/>
              <a:sym typeface="+mn-lt"/>
            </a:endParaRPr>
          </a:p>
        </p:txBody>
      </p:sp>
      <p:sp>
        <p:nvSpPr>
          <p:cNvPr id="10" name="Freeform 17">
            <a:hlinkClick r:id="" action="ppaction://noaction"/>
            <a:extLst>
              <a:ext uri="{FF2B5EF4-FFF2-40B4-BE49-F238E27FC236}">
                <a16:creationId xmlns:a16="http://schemas.microsoft.com/office/drawing/2014/main" id="{7372D038-D281-45A0-855D-A865C9428D4F}"/>
              </a:ext>
            </a:extLst>
          </p:cNvPr>
          <p:cNvSpPr>
            <a:spLocks noChangeAspect="1" noChangeArrowheads="1"/>
          </p:cNvSpPr>
          <p:nvPr/>
        </p:nvSpPr>
        <p:spPr bwMode="auto">
          <a:xfrm>
            <a:off x="2335035" y="1189752"/>
            <a:ext cx="165766" cy="317694"/>
          </a:xfrm>
          <a:custGeom>
            <a:avLst/>
            <a:gdLst>
              <a:gd name="T0" fmla="*/ 2000 w 2220"/>
              <a:gd name="T1" fmla="*/ 813 h 4250"/>
              <a:gd name="T2" fmla="*/ 2000 w 2220"/>
              <a:gd name="T3" fmla="*/ 813 h 4250"/>
              <a:gd name="T4" fmla="*/ 1407 w 2220"/>
              <a:gd name="T5" fmla="*/ 813 h 4250"/>
              <a:gd name="T6" fmla="*/ 1750 w 2220"/>
              <a:gd name="T7" fmla="*/ 563 h 4250"/>
              <a:gd name="T8" fmla="*/ 1813 w 2220"/>
              <a:gd name="T9" fmla="*/ 500 h 4250"/>
              <a:gd name="T10" fmla="*/ 1750 w 2220"/>
              <a:gd name="T11" fmla="*/ 407 h 4250"/>
              <a:gd name="T12" fmla="*/ 1157 w 2220"/>
              <a:gd name="T13" fmla="*/ 0 h 4250"/>
              <a:gd name="T14" fmla="*/ 1063 w 2220"/>
              <a:gd name="T15" fmla="*/ 0 h 4250"/>
              <a:gd name="T16" fmla="*/ 469 w 2220"/>
              <a:gd name="T17" fmla="*/ 407 h 4250"/>
              <a:gd name="T18" fmla="*/ 407 w 2220"/>
              <a:gd name="T19" fmla="*/ 500 h 4250"/>
              <a:gd name="T20" fmla="*/ 469 w 2220"/>
              <a:gd name="T21" fmla="*/ 563 h 4250"/>
              <a:gd name="T22" fmla="*/ 813 w 2220"/>
              <a:gd name="T23" fmla="*/ 813 h 4250"/>
              <a:gd name="T24" fmla="*/ 219 w 2220"/>
              <a:gd name="T25" fmla="*/ 813 h 4250"/>
              <a:gd name="T26" fmla="*/ 0 w 2220"/>
              <a:gd name="T27" fmla="*/ 1032 h 4250"/>
              <a:gd name="T28" fmla="*/ 0 w 2220"/>
              <a:gd name="T29" fmla="*/ 3406 h 4250"/>
              <a:gd name="T30" fmla="*/ 438 w 2220"/>
              <a:gd name="T31" fmla="*/ 3968 h 4250"/>
              <a:gd name="T32" fmla="*/ 438 w 2220"/>
              <a:gd name="T33" fmla="*/ 4249 h 4250"/>
              <a:gd name="T34" fmla="*/ 657 w 2220"/>
              <a:gd name="T35" fmla="*/ 4249 h 4250"/>
              <a:gd name="T36" fmla="*/ 657 w 2220"/>
              <a:gd name="T37" fmla="*/ 3968 h 4250"/>
              <a:gd name="T38" fmla="*/ 1563 w 2220"/>
              <a:gd name="T39" fmla="*/ 3968 h 4250"/>
              <a:gd name="T40" fmla="*/ 1563 w 2220"/>
              <a:gd name="T41" fmla="*/ 4249 h 4250"/>
              <a:gd name="T42" fmla="*/ 1782 w 2220"/>
              <a:gd name="T43" fmla="*/ 4249 h 4250"/>
              <a:gd name="T44" fmla="*/ 1782 w 2220"/>
              <a:gd name="T45" fmla="*/ 3968 h 4250"/>
              <a:gd name="T46" fmla="*/ 2219 w 2220"/>
              <a:gd name="T47" fmla="*/ 3406 h 4250"/>
              <a:gd name="T48" fmla="*/ 2219 w 2220"/>
              <a:gd name="T49" fmla="*/ 1032 h 4250"/>
              <a:gd name="T50" fmla="*/ 2000 w 2220"/>
              <a:gd name="T51" fmla="*/ 813 h 4250"/>
              <a:gd name="T52" fmla="*/ 1094 w 2220"/>
              <a:gd name="T53" fmla="*/ 219 h 4250"/>
              <a:gd name="T54" fmla="*/ 1094 w 2220"/>
              <a:gd name="T55" fmla="*/ 219 h 4250"/>
              <a:gd name="T56" fmla="*/ 1532 w 2220"/>
              <a:gd name="T57" fmla="*/ 500 h 4250"/>
              <a:gd name="T58" fmla="*/ 1094 w 2220"/>
              <a:gd name="T59" fmla="*/ 750 h 4250"/>
              <a:gd name="T60" fmla="*/ 688 w 2220"/>
              <a:gd name="T61" fmla="*/ 500 h 4250"/>
              <a:gd name="T62" fmla="*/ 1094 w 2220"/>
              <a:gd name="T63" fmla="*/ 219 h 4250"/>
              <a:gd name="T64" fmla="*/ 219 w 2220"/>
              <a:gd name="T65" fmla="*/ 1032 h 4250"/>
              <a:gd name="T66" fmla="*/ 219 w 2220"/>
              <a:gd name="T67" fmla="*/ 1032 h 4250"/>
              <a:gd name="T68" fmla="*/ 2000 w 2220"/>
              <a:gd name="T69" fmla="*/ 1032 h 4250"/>
              <a:gd name="T70" fmla="*/ 2000 w 2220"/>
              <a:gd name="T71" fmla="*/ 1250 h 4250"/>
              <a:gd name="T72" fmla="*/ 219 w 2220"/>
              <a:gd name="T73" fmla="*/ 1250 h 4250"/>
              <a:gd name="T74" fmla="*/ 219 w 2220"/>
              <a:gd name="T75" fmla="*/ 1032 h 4250"/>
              <a:gd name="T76" fmla="*/ 532 w 2220"/>
              <a:gd name="T77" fmla="*/ 3687 h 4250"/>
              <a:gd name="T78" fmla="*/ 532 w 2220"/>
              <a:gd name="T79" fmla="*/ 3687 h 4250"/>
              <a:gd name="T80" fmla="*/ 375 w 2220"/>
              <a:gd name="T81" fmla="*/ 3531 h 4250"/>
              <a:gd name="T82" fmla="*/ 532 w 2220"/>
              <a:gd name="T83" fmla="*/ 3374 h 4250"/>
              <a:gd name="T84" fmla="*/ 688 w 2220"/>
              <a:gd name="T85" fmla="*/ 3531 h 4250"/>
              <a:gd name="T86" fmla="*/ 532 w 2220"/>
              <a:gd name="T87" fmla="*/ 3687 h 4250"/>
              <a:gd name="T88" fmla="*/ 1688 w 2220"/>
              <a:gd name="T89" fmla="*/ 3687 h 4250"/>
              <a:gd name="T90" fmla="*/ 1688 w 2220"/>
              <a:gd name="T91" fmla="*/ 3687 h 4250"/>
              <a:gd name="T92" fmla="*/ 1532 w 2220"/>
              <a:gd name="T93" fmla="*/ 3531 h 4250"/>
              <a:gd name="T94" fmla="*/ 1688 w 2220"/>
              <a:gd name="T95" fmla="*/ 3374 h 4250"/>
              <a:gd name="T96" fmla="*/ 1844 w 2220"/>
              <a:gd name="T97" fmla="*/ 3531 h 4250"/>
              <a:gd name="T98" fmla="*/ 1688 w 2220"/>
              <a:gd name="T99" fmla="*/ 3687 h 4250"/>
              <a:gd name="T100" fmla="*/ 1813 w 2220"/>
              <a:gd name="T101" fmla="*/ 3156 h 4250"/>
              <a:gd name="T102" fmla="*/ 1813 w 2220"/>
              <a:gd name="T103" fmla="*/ 3156 h 4250"/>
              <a:gd name="T104" fmla="*/ 375 w 2220"/>
              <a:gd name="T105" fmla="*/ 3156 h 4250"/>
              <a:gd name="T106" fmla="*/ 219 w 2220"/>
              <a:gd name="T107" fmla="*/ 1438 h 4250"/>
              <a:gd name="T108" fmla="*/ 2000 w 2220"/>
              <a:gd name="T109" fmla="*/ 1438 h 4250"/>
              <a:gd name="T110" fmla="*/ 1813 w 2220"/>
              <a:gd name="T111" fmla="*/ 3156 h 4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220" h="4250">
                <a:moveTo>
                  <a:pt x="2000" y="813"/>
                </a:moveTo>
                <a:lnTo>
                  <a:pt x="2000" y="813"/>
                </a:lnTo>
                <a:cubicBezTo>
                  <a:pt x="1407" y="813"/>
                  <a:pt x="1407" y="813"/>
                  <a:pt x="1407" y="813"/>
                </a:cubicBezTo>
                <a:cubicBezTo>
                  <a:pt x="1750" y="563"/>
                  <a:pt x="1750" y="563"/>
                  <a:pt x="1750" y="563"/>
                </a:cubicBezTo>
                <a:cubicBezTo>
                  <a:pt x="1782" y="563"/>
                  <a:pt x="1813" y="532"/>
                  <a:pt x="1813" y="500"/>
                </a:cubicBezTo>
                <a:cubicBezTo>
                  <a:pt x="1813" y="469"/>
                  <a:pt x="1782" y="438"/>
                  <a:pt x="1750" y="407"/>
                </a:cubicBezTo>
                <a:cubicBezTo>
                  <a:pt x="1157" y="0"/>
                  <a:pt x="1157" y="0"/>
                  <a:pt x="1157" y="0"/>
                </a:cubicBezTo>
                <a:cubicBezTo>
                  <a:pt x="1125" y="0"/>
                  <a:pt x="1094" y="0"/>
                  <a:pt x="1063" y="0"/>
                </a:cubicBezTo>
                <a:cubicBezTo>
                  <a:pt x="469" y="407"/>
                  <a:pt x="469" y="407"/>
                  <a:pt x="469" y="407"/>
                </a:cubicBezTo>
                <a:cubicBezTo>
                  <a:pt x="438" y="438"/>
                  <a:pt x="407" y="469"/>
                  <a:pt x="407" y="500"/>
                </a:cubicBezTo>
                <a:cubicBezTo>
                  <a:pt x="407" y="532"/>
                  <a:pt x="438" y="563"/>
                  <a:pt x="469" y="563"/>
                </a:cubicBezTo>
                <a:cubicBezTo>
                  <a:pt x="813" y="813"/>
                  <a:pt x="813" y="813"/>
                  <a:pt x="813" y="813"/>
                </a:cubicBezTo>
                <a:cubicBezTo>
                  <a:pt x="219" y="813"/>
                  <a:pt x="219" y="813"/>
                  <a:pt x="219" y="813"/>
                </a:cubicBezTo>
                <a:cubicBezTo>
                  <a:pt x="94" y="813"/>
                  <a:pt x="0" y="907"/>
                  <a:pt x="0" y="1032"/>
                </a:cubicBezTo>
                <a:cubicBezTo>
                  <a:pt x="0" y="3406"/>
                  <a:pt x="0" y="3406"/>
                  <a:pt x="0" y="3406"/>
                </a:cubicBezTo>
                <a:cubicBezTo>
                  <a:pt x="0" y="3655"/>
                  <a:pt x="188" y="3906"/>
                  <a:pt x="438" y="3968"/>
                </a:cubicBezTo>
                <a:cubicBezTo>
                  <a:pt x="438" y="4249"/>
                  <a:pt x="438" y="4249"/>
                  <a:pt x="438" y="4249"/>
                </a:cubicBezTo>
                <a:cubicBezTo>
                  <a:pt x="657" y="4249"/>
                  <a:pt x="657" y="4249"/>
                  <a:pt x="657" y="4249"/>
                </a:cubicBezTo>
                <a:cubicBezTo>
                  <a:pt x="657" y="3968"/>
                  <a:pt x="657" y="3968"/>
                  <a:pt x="657" y="3968"/>
                </a:cubicBezTo>
                <a:cubicBezTo>
                  <a:pt x="1563" y="3968"/>
                  <a:pt x="1563" y="3968"/>
                  <a:pt x="1563" y="3968"/>
                </a:cubicBezTo>
                <a:cubicBezTo>
                  <a:pt x="1563" y="4249"/>
                  <a:pt x="1563" y="4249"/>
                  <a:pt x="1563" y="4249"/>
                </a:cubicBezTo>
                <a:cubicBezTo>
                  <a:pt x="1782" y="4249"/>
                  <a:pt x="1782" y="4249"/>
                  <a:pt x="1782" y="4249"/>
                </a:cubicBezTo>
                <a:cubicBezTo>
                  <a:pt x="1782" y="3968"/>
                  <a:pt x="1782" y="3968"/>
                  <a:pt x="1782" y="3968"/>
                </a:cubicBezTo>
                <a:cubicBezTo>
                  <a:pt x="2032" y="3906"/>
                  <a:pt x="2219" y="3655"/>
                  <a:pt x="2219" y="3406"/>
                </a:cubicBezTo>
                <a:cubicBezTo>
                  <a:pt x="2219" y="1032"/>
                  <a:pt x="2219" y="1032"/>
                  <a:pt x="2219" y="1032"/>
                </a:cubicBezTo>
                <a:cubicBezTo>
                  <a:pt x="2219" y="907"/>
                  <a:pt x="2125" y="813"/>
                  <a:pt x="2000" y="813"/>
                </a:cubicBezTo>
                <a:close/>
                <a:moveTo>
                  <a:pt x="1094" y="219"/>
                </a:moveTo>
                <a:lnTo>
                  <a:pt x="1094" y="219"/>
                </a:lnTo>
                <a:cubicBezTo>
                  <a:pt x="1532" y="500"/>
                  <a:pt x="1532" y="500"/>
                  <a:pt x="1532" y="500"/>
                </a:cubicBezTo>
                <a:cubicBezTo>
                  <a:pt x="1094" y="750"/>
                  <a:pt x="1094" y="750"/>
                  <a:pt x="1094" y="750"/>
                </a:cubicBezTo>
                <a:cubicBezTo>
                  <a:pt x="688" y="500"/>
                  <a:pt x="688" y="500"/>
                  <a:pt x="688" y="500"/>
                </a:cubicBezTo>
                <a:lnTo>
                  <a:pt x="1094" y="219"/>
                </a:lnTo>
                <a:close/>
                <a:moveTo>
                  <a:pt x="219" y="1032"/>
                </a:moveTo>
                <a:lnTo>
                  <a:pt x="219" y="1032"/>
                </a:lnTo>
                <a:cubicBezTo>
                  <a:pt x="2000" y="1032"/>
                  <a:pt x="2000" y="1032"/>
                  <a:pt x="2000" y="1032"/>
                </a:cubicBezTo>
                <a:cubicBezTo>
                  <a:pt x="2000" y="1250"/>
                  <a:pt x="2000" y="1250"/>
                  <a:pt x="2000" y="1250"/>
                </a:cubicBezTo>
                <a:cubicBezTo>
                  <a:pt x="219" y="1250"/>
                  <a:pt x="219" y="1250"/>
                  <a:pt x="219" y="1250"/>
                </a:cubicBezTo>
                <a:lnTo>
                  <a:pt x="219" y="1032"/>
                </a:lnTo>
                <a:close/>
                <a:moveTo>
                  <a:pt x="532" y="3687"/>
                </a:moveTo>
                <a:lnTo>
                  <a:pt x="532" y="3687"/>
                </a:lnTo>
                <a:cubicBezTo>
                  <a:pt x="438" y="3687"/>
                  <a:pt x="375" y="3624"/>
                  <a:pt x="375" y="3531"/>
                </a:cubicBezTo>
                <a:cubicBezTo>
                  <a:pt x="375" y="3437"/>
                  <a:pt x="438" y="3374"/>
                  <a:pt x="532" y="3374"/>
                </a:cubicBezTo>
                <a:cubicBezTo>
                  <a:pt x="594" y="3374"/>
                  <a:pt x="688" y="3437"/>
                  <a:pt x="688" y="3531"/>
                </a:cubicBezTo>
                <a:cubicBezTo>
                  <a:pt x="688" y="3624"/>
                  <a:pt x="594" y="3687"/>
                  <a:pt x="532" y="3687"/>
                </a:cubicBezTo>
                <a:close/>
                <a:moveTo>
                  <a:pt x="1688" y="3687"/>
                </a:moveTo>
                <a:lnTo>
                  <a:pt x="1688" y="3687"/>
                </a:lnTo>
                <a:cubicBezTo>
                  <a:pt x="1594" y="3687"/>
                  <a:pt x="1532" y="3624"/>
                  <a:pt x="1532" y="3531"/>
                </a:cubicBezTo>
                <a:cubicBezTo>
                  <a:pt x="1532" y="3437"/>
                  <a:pt x="1594" y="3374"/>
                  <a:pt x="1688" y="3374"/>
                </a:cubicBezTo>
                <a:cubicBezTo>
                  <a:pt x="1782" y="3374"/>
                  <a:pt x="1844" y="3437"/>
                  <a:pt x="1844" y="3531"/>
                </a:cubicBezTo>
                <a:cubicBezTo>
                  <a:pt x="1844" y="3624"/>
                  <a:pt x="1782" y="3687"/>
                  <a:pt x="1688" y="3687"/>
                </a:cubicBezTo>
                <a:close/>
                <a:moveTo>
                  <a:pt x="1813" y="3156"/>
                </a:moveTo>
                <a:lnTo>
                  <a:pt x="1813" y="3156"/>
                </a:lnTo>
                <a:cubicBezTo>
                  <a:pt x="375" y="3156"/>
                  <a:pt x="375" y="3156"/>
                  <a:pt x="375" y="3156"/>
                </a:cubicBezTo>
                <a:cubicBezTo>
                  <a:pt x="219" y="1438"/>
                  <a:pt x="219" y="1438"/>
                  <a:pt x="219" y="1438"/>
                </a:cubicBezTo>
                <a:cubicBezTo>
                  <a:pt x="2000" y="1438"/>
                  <a:pt x="2000" y="1438"/>
                  <a:pt x="2000" y="1438"/>
                </a:cubicBezTo>
                <a:lnTo>
                  <a:pt x="1813" y="3156"/>
                </a:lnTo>
                <a:close/>
              </a:path>
            </a:pathLst>
          </a:custGeom>
          <a:solidFill>
            <a:schemeClr val="tx1"/>
          </a:solidFill>
          <a:ln>
            <a:noFill/>
          </a:ln>
          <a:effectLst/>
        </p:spPr>
        <p:txBody>
          <a:bodyPr wrap="none" t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FFFFFF"/>
              </a:solidFill>
              <a:effectLst/>
              <a:uLnTx/>
              <a:uFillTx/>
              <a:latin typeface="Corbel"/>
              <a:ea typeface="+mn-ea"/>
              <a:cs typeface="+mn-cs"/>
            </a:endParaRPr>
          </a:p>
        </p:txBody>
      </p:sp>
      <p:sp>
        <p:nvSpPr>
          <p:cNvPr id="20" name="Freeform: Shape 19">
            <a:hlinkClick r:id="" action="ppaction://noaction"/>
            <a:extLst>
              <a:ext uri="{FF2B5EF4-FFF2-40B4-BE49-F238E27FC236}">
                <a16:creationId xmlns:a16="http://schemas.microsoft.com/office/drawing/2014/main" id="{F4AF4D21-8945-41DB-88E9-B697BDB9A0E8}"/>
              </a:ext>
            </a:extLst>
          </p:cNvPr>
          <p:cNvSpPr>
            <a:spLocks noChangeArrowheads="1"/>
          </p:cNvSpPr>
          <p:nvPr/>
        </p:nvSpPr>
        <p:spPr bwMode="auto">
          <a:xfrm>
            <a:off x="5601032" y="1235378"/>
            <a:ext cx="176938" cy="300484"/>
          </a:xfrm>
          <a:custGeom>
            <a:avLst/>
            <a:gdLst>
              <a:gd name="connsiteX0" fmla="*/ 126747 w 170095"/>
              <a:gd name="connsiteY0" fmla="*/ 188365 h 288861"/>
              <a:gd name="connsiteX1" fmla="*/ 126747 w 170095"/>
              <a:gd name="connsiteY1" fmla="*/ 240333 h 288861"/>
              <a:gd name="connsiteX2" fmla="*/ 143915 w 170095"/>
              <a:gd name="connsiteY2" fmla="*/ 240333 h 288861"/>
              <a:gd name="connsiteX3" fmla="*/ 143915 w 170095"/>
              <a:gd name="connsiteY3" fmla="*/ 188365 h 288861"/>
              <a:gd name="connsiteX4" fmla="*/ 96098 w 170095"/>
              <a:gd name="connsiteY4" fmla="*/ 188365 h 288861"/>
              <a:gd name="connsiteX5" fmla="*/ 96098 w 170095"/>
              <a:gd name="connsiteY5" fmla="*/ 240333 h 288861"/>
              <a:gd name="connsiteX6" fmla="*/ 115500 w 170095"/>
              <a:gd name="connsiteY6" fmla="*/ 240333 h 288861"/>
              <a:gd name="connsiteX7" fmla="*/ 115500 w 170095"/>
              <a:gd name="connsiteY7" fmla="*/ 188365 h 288861"/>
              <a:gd name="connsiteX8" fmla="*/ 53636 w 170095"/>
              <a:gd name="connsiteY8" fmla="*/ 188365 h 288861"/>
              <a:gd name="connsiteX9" fmla="*/ 53636 w 170095"/>
              <a:gd name="connsiteY9" fmla="*/ 240333 h 288861"/>
              <a:gd name="connsiteX10" fmla="*/ 71762 w 170095"/>
              <a:gd name="connsiteY10" fmla="*/ 240333 h 288861"/>
              <a:gd name="connsiteX11" fmla="*/ 71762 w 170095"/>
              <a:gd name="connsiteY11" fmla="*/ 188365 h 288861"/>
              <a:gd name="connsiteX12" fmla="*/ 24902 w 170095"/>
              <a:gd name="connsiteY12" fmla="*/ 188365 h 288861"/>
              <a:gd name="connsiteX13" fmla="*/ 24902 w 170095"/>
              <a:gd name="connsiteY13" fmla="*/ 240333 h 288861"/>
              <a:gd name="connsiteX14" fmla="*/ 43028 w 170095"/>
              <a:gd name="connsiteY14" fmla="*/ 240333 h 288861"/>
              <a:gd name="connsiteX15" fmla="*/ 43028 w 170095"/>
              <a:gd name="connsiteY15" fmla="*/ 188365 h 288861"/>
              <a:gd name="connsiteX16" fmla="*/ 126747 w 170095"/>
              <a:gd name="connsiteY16" fmla="*/ 108549 h 288861"/>
              <a:gd name="connsiteX17" fmla="*/ 126747 w 170095"/>
              <a:gd name="connsiteY17" fmla="*/ 161475 h 288861"/>
              <a:gd name="connsiteX18" fmla="*/ 143915 w 170095"/>
              <a:gd name="connsiteY18" fmla="*/ 161475 h 288861"/>
              <a:gd name="connsiteX19" fmla="*/ 143915 w 170095"/>
              <a:gd name="connsiteY19" fmla="*/ 108549 h 288861"/>
              <a:gd name="connsiteX20" fmla="*/ 96098 w 170095"/>
              <a:gd name="connsiteY20" fmla="*/ 108549 h 288861"/>
              <a:gd name="connsiteX21" fmla="*/ 96098 w 170095"/>
              <a:gd name="connsiteY21" fmla="*/ 161475 h 288861"/>
              <a:gd name="connsiteX22" fmla="*/ 115500 w 170095"/>
              <a:gd name="connsiteY22" fmla="*/ 161475 h 288861"/>
              <a:gd name="connsiteX23" fmla="*/ 115500 w 170095"/>
              <a:gd name="connsiteY23" fmla="*/ 108549 h 288861"/>
              <a:gd name="connsiteX24" fmla="*/ 53636 w 170095"/>
              <a:gd name="connsiteY24" fmla="*/ 108549 h 288861"/>
              <a:gd name="connsiteX25" fmla="*/ 53636 w 170095"/>
              <a:gd name="connsiteY25" fmla="*/ 161475 h 288861"/>
              <a:gd name="connsiteX26" fmla="*/ 71762 w 170095"/>
              <a:gd name="connsiteY26" fmla="*/ 161475 h 288861"/>
              <a:gd name="connsiteX27" fmla="*/ 71762 w 170095"/>
              <a:gd name="connsiteY27" fmla="*/ 108549 h 288861"/>
              <a:gd name="connsiteX28" fmla="*/ 24902 w 170095"/>
              <a:gd name="connsiteY28" fmla="*/ 108549 h 288861"/>
              <a:gd name="connsiteX29" fmla="*/ 24902 w 170095"/>
              <a:gd name="connsiteY29" fmla="*/ 161475 h 288861"/>
              <a:gd name="connsiteX30" fmla="*/ 43028 w 170095"/>
              <a:gd name="connsiteY30" fmla="*/ 161475 h 288861"/>
              <a:gd name="connsiteX31" fmla="*/ 43028 w 170095"/>
              <a:gd name="connsiteY31" fmla="*/ 108549 h 288861"/>
              <a:gd name="connsiteX32" fmla="*/ 75984 w 170095"/>
              <a:gd name="connsiteY32" fmla="*/ 49167 h 288861"/>
              <a:gd name="connsiteX33" fmla="*/ 75984 w 170095"/>
              <a:gd name="connsiteY33" fmla="*/ 77829 h 288861"/>
              <a:gd name="connsiteX34" fmla="*/ 94110 w 170095"/>
              <a:gd name="connsiteY34" fmla="*/ 77829 h 288861"/>
              <a:gd name="connsiteX35" fmla="*/ 94110 w 170095"/>
              <a:gd name="connsiteY35" fmla="*/ 49167 h 288861"/>
              <a:gd name="connsiteX36" fmla="*/ 75920 w 170095"/>
              <a:gd name="connsiteY36" fmla="*/ 0 h 288861"/>
              <a:gd name="connsiteX37" fmla="*/ 94175 w 170095"/>
              <a:gd name="connsiteY37" fmla="*/ 0 h 288861"/>
              <a:gd name="connsiteX38" fmla="*/ 96059 w 170095"/>
              <a:gd name="connsiteY38" fmla="*/ 1954 h 288861"/>
              <a:gd name="connsiteX39" fmla="*/ 96059 w 170095"/>
              <a:gd name="connsiteY39" fmla="*/ 22076 h 288861"/>
              <a:gd name="connsiteX40" fmla="*/ 100912 w 170095"/>
              <a:gd name="connsiteY40" fmla="*/ 23957 h 288861"/>
              <a:gd name="connsiteX41" fmla="*/ 119168 w 170095"/>
              <a:gd name="connsiteY41" fmla="*/ 23957 h 288861"/>
              <a:gd name="connsiteX42" fmla="*/ 121051 w 170095"/>
              <a:gd name="connsiteY42" fmla="*/ 25912 h 288861"/>
              <a:gd name="connsiteX43" fmla="*/ 121051 w 170095"/>
              <a:gd name="connsiteY43" fmla="*/ 47046 h 288861"/>
              <a:gd name="connsiteX44" fmla="*/ 123007 w 170095"/>
              <a:gd name="connsiteY44" fmla="*/ 48928 h 288861"/>
              <a:gd name="connsiteX45" fmla="*/ 144160 w 170095"/>
              <a:gd name="connsiteY45" fmla="*/ 48928 h 288861"/>
              <a:gd name="connsiteX46" fmla="*/ 146044 w 170095"/>
              <a:gd name="connsiteY46" fmla="*/ 50882 h 288861"/>
              <a:gd name="connsiteX47" fmla="*/ 146044 w 170095"/>
              <a:gd name="connsiteY47" fmla="*/ 71003 h 288861"/>
              <a:gd name="connsiteX48" fmla="*/ 148000 w 170095"/>
              <a:gd name="connsiteY48" fmla="*/ 73898 h 288861"/>
              <a:gd name="connsiteX49" fmla="*/ 166255 w 170095"/>
              <a:gd name="connsiteY49" fmla="*/ 73898 h 288861"/>
              <a:gd name="connsiteX50" fmla="*/ 168139 w 170095"/>
              <a:gd name="connsiteY50" fmla="*/ 75780 h 288861"/>
              <a:gd name="connsiteX51" fmla="*/ 170095 w 170095"/>
              <a:gd name="connsiteY51" fmla="*/ 286907 h 288861"/>
              <a:gd name="connsiteX52" fmla="*/ 168139 w 170095"/>
              <a:gd name="connsiteY52" fmla="*/ 288861 h 288861"/>
              <a:gd name="connsiteX53" fmla="*/ 1956 w 170095"/>
              <a:gd name="connsiteY53" fmla="*/ 288861 h 288861"/>
              <a:gd name="connsiteX54" fmla="*/ 0 w 170095"/>
              <a:gd name="connsiteY54" fmla="*/ 286907 h 288861"/>
              <a:gd name="connsiteX55" fmla="*/ 0 w 170095"/>
              <a:gd name="connsiteY55" fmla="*/ 75780 h 288861"/>
              <a:gd name="connsiteX56" fmla="*/ 1956 w 170095"/>
              <a:gd name="connsiteY56" fmla="*/ 73898 h 288861"/>
              <a:gd name="connsiteX57" fmla="*/ 20212 w 170095"/>
              <a:gd name="connsiteY57" fmla="*/ 73898 h 288861"/>
              <a:gd name="connsiteX58" fmla="*/ 22095 w 170095"/>
              <a:gd name="connsiteY58" fmla="*/ 71003 h 288861"/>
              <a:gd name="connsiteX59" fmla="*/ 22095 w 170095"/>
              <a:gd name="connsiteY59" fmla="*/ 50882 h 288861"/>
              <a:gd name="connsiteX60" fmla="*/ 26949 w 170095"/>
              <a:gd name="connsiteY60" fmla="*/ 48928 h 288861"/>
              <a:gd name="connsiteX61" fmla="*/ 45204 w 170095"/>
              <a:gd name="connsiteY61" fmla="*/ 48928 h 288861"/>
              <a:gd name="connsiteX62" fmla="*/ 47088 w 170095"/>
              <a:gd name="connsiteY62" fmla="*/ 47046 h 288861"/>
              <a:gd name="connsiteX63" fmla="*/ 47088 w 170095"/>
              <a:gd name="connsiteY63" fmla="*/ 25912 h 288861"/>
              <a:gd name="connsiteX64" fmla="*/ 50927 w 170095"/>
              <a:gd name="connsiteY64" fmla="*/ 23957 h 288861"/>
              <a:gd name="connsiteX65" fmla="*/ 70124 w 170095"/>
              <a:gd name="connsiteY65" fmla="*/ 23957 h 288861"/>
              <a:gd name="connsiteX66" fmla="*/ 72080 w 170095"/>
              <a:gd name="connsiteY66" fmla="*/ 22076 h 288861"/>
              <a:gd name="connsiteX67" fmla="*/ 72080 w 170095"/>
              <a:gd name="connsiteY67" fmla="*/ 1954 h 288861"/>
              <a:gd name="connsiteX68" fmla="*/ 75920 w 170095"/>
              <a:gd name="connsiteY68" fmla="*/ 0 h 28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70095" h="288861">
                <a:moveTo>
                  <a:pt x="126747" y="188365"/>
                </a:moveTo>
                <a:lnTo>
                  <a:pt x="126747" y="240333"/>
                </a:lnTo>
                <a:lnTo>
                  <a:pt x="143915" y="240333"/>
                </a:lnTo>
                <a:lnTo>
                  <a:pt x="143915" y="188365"/>
                </a:lnTo>
                <a:close/>
                <a:moveTo>
                  <a:pt x="96098" y="188365"/>
                </a:moveTo>
                <a:lnTo>
                  <a:pt x="96098" y="240333"/>
                </a:lnTo>
                <a:lnTo>
                  <a:pt x="115500" y="240333"/>
                </a:lnTo>
                <a:lnTo>
                  <a:pt x="115500" y="188365"/>
                </a:lnTo>
                <a:close/>
                <a:moveTo>
                  <a:pt x="53636" y="188365"/>
                </a:moveTo>
                <a:lnTo>
                  <a:pt x="53636" y="240333"/>
                </a:lnTo>
                <a:lnTo>
                  <a:pt x="71762" y="240333"/>
                </a:lnTo>
                <a:lnTo>
                  <a:pt x="71762" y="188365"/>
                </a:lnTo>
                <a:close/>
                <a:moveTo>
                  <a:pt x="24902" y="188365"/>
                </a:moveTo>
                <a:lnTo>
                  <a:pt x="24902" y="240333"/>
                </a:lnTo>
                <a:lnTo>
                  <a:pt x="43028" y="240333"/>
                </a:lnTo>
                <a:lnTo>
                  <a:pt x="43028" y="188365"/>
                </a:lnTo>
                <a:close/>
                <a:moveTo>
                  <a:pt x="126747" y="108549"/>
                </a:moveTo>
                <a:lnTo>
                  <a:pt x="126747" y="161475"/>
                </a:lnTo>
                <a:lnTo>
                  <a:pt x="143915" y="161475"/>
                </a:lnTo>
                <a:lnTo>
                  <a:pt x="143915" y="108549"/>
                </a:lnTo>
                <a:close/>
                <a:moveTo>
                  <a:pt x="96098" y="108549"/>
                </a:moveTo>
                <a:lnTo>
                  <a:pt x="96098" y="161475"/>
                </a:lnTo>
                <a:lnTo>
                  <a:pt x="115500" y="161475"/>
                </a:lnTo>
                <a:lnTo>
                  <a:pt x="115500" y="108549"/>
                </a:lnTo>
                <a:close/>
                <a:moveTo>
                  <a:pt x="53636" y="108549"/>
                </a:moveTo>
                <a:lnTo>
                  <a:pt x="53636" y="161475"/>
                </a:lnTo>
                <a:lnTo>
                  <a:pt x="71762" y="161475"/>
                </a:lnTo>
                <a:lnTo>
                  <a:pt x="71762" y="108549"/>
                </a:lnTo>
                <a:close/>
                <a:moveTo>
                  <a:pt x="24902" y="108549"/>
                </a:moveTo>
                <a:lnTo>
                  <a:pt x="24902" y="161475"/>
                </a:lnTo>
                <a:lnTo>
                  <a:pt x="43028" y="161475"/>
                </a:lnTo>
                <a:lnTo>
                  <a:pt x="43028" y="108549"/>
                </a:lnTo>
                <a:close/>
                <a:moveTo>
                  <a:pt x="75984" y="49167"/>
                </a:moveTo>
                <a:lnTo>
                  <a:pt x="75984" y="77829"/>
                </a:lnTo>
                <a:lnTo>
                  <a:pt x="94110" y="77829"/>
                </a:lnTo>
                <a:lnTo>
                  <a:pt x="94110" y="49167"/>
                </a:lnTo>
                <a:close/>
                <a:moveTo>
                  <a:pt x="75920" y="0"/>
                </a:moveTo>
                <a:cubicBezTo>
                  <a:pt x="75920" y="0"/>
                  <a:pt x="75920" y="0"/>
                  <a:pt x="94175" y="0"/>
                </a:cubicBezTo>
                <a:cubicBezTo>
                  <a:pt x="96059" y="0"/>
                  <a:pt x="96059" y="1954"/>
                  <a:pt x="96059" y="1954"/>
                </a:cubicBezTo>
                <a:cubicBezTo>
                  <a:pt x="96059" y="1954"/>
                  <a:pt x="96059" y="1954"/>
                  <a:pt x="96059" y="22076"/>
                </a:cubicBezTo>
                <a:cubicBezTo>
                  <a:pt x="96059" y="23957"/>
                  <a:pt x="98956" y="23957"/>
                  <a:pt x="100912" y="23957"/>
                </a:cubicBezTo>
                <a:cubicBezTo>
                  <a:pt x="100912" y="23957"/>
                  <a:pt x="100912" y="23957"/>
                  <a:pt x="119168" y="23957"/>
                </a:cubicBezTo>
                <a:cubicBezTo>
                  <a:pt x="121051" y="23957"/>
                  <a:pt x="121051" y="25912"/>
                  <a:pt x="121051" y="25912"/>
                </a:cubicBezTo>
                <a:cubicBezTo>
                  <a:pt x="121051" y="25912"/>
                  <a:pt x="121051" y="25912"/>
                  <a:pt x="121051" y="47046"/>
                </a:cubicBezTo>
                <a:lnTo>
                  <a:pt x="123007" y="48928"/>
                </a:lnTo>
                <a:cubicBezTo>
                  <a:pt x="123007" y="48928"/>
                  <a:pt x="123007" y="48928"/>
                  <a:pt x="144160" y="48928"/>
                </a:cubicBezTo>
                <a:cubicBezTo>
                  <a:pt x="146044" y="48928"/>
                  <a:pt x="146044" y="50882"/>
                  <a:pt x="146044" y="50882"/>
                </a:cubicBezTo>
                <a:cubicBezTo>
                  <a:pt x="146044" y="50882"/>
                  <a:pt x="146044" y="50882"/>
                  <a:pt x="146044" y="71003"/>
                </a:cubicBezTo>
                <a:lnTo>
                  <a:pt x="148000" y="73898"/>
                </a:lnTo>
                <a:cubicBezTo>
                  <a:pt x="148000" y="73898"/>
                  <a:pt x="148000" y="73898"/>
                  <a:pt x="166255" y="73898"/>
                </a:cubicBezTo>
                <a:cubicBezTo>
                  <a:pt x="168139" y="73898"/>
                  <a:pt x="168139" y="75780"/>
                  <a:pt x="168139" y="75780"/>
                </a:cubicBezTo>
                <a:cubicBezTo>
                  <a:pt x="168139" y="75780"/>
                  <a:pt x="168139" y="75780"/>
                  <a:pt x="170095" y="286907"/>
                </a:cubicBezTo>
                <a:lnTo>
                  <a:pt x="168139" y="288861"/>
                </a:lnTo>
                <a:lnTo>
                  <a:pt x="1956" y="288861"/>
                </a:lnTo>
                <a:lnTo>
                  <a:pt x="0" y="286907"/>
                </a:lnTo>
                <a:cubicBezTo>
                  <a:pt x="0" y="286907"/>
                  <a:pt x="0" y="286907"/>
                  <a:pt x="0" y="75780"/>
                </a:cubicBezTo>
                <a:cubicBezTo>
                  <a:pt x="0" y="75780"/>
                  <a:pt x="0" y="73898"/>
                  <a:pt x="1956" y="73898"/>
                </a:cubicBezTo>
                <a:cubicBezTo>
                  <a:pt x="1956" y="73898"/>
                  <a:pt x="1956" y="73898"/>
                  <a:pt x="20212" y="73898"/>
                </a:cubicBezTo>
                <a:cubicBezTo>
                  <a:pt x="22095" y="73898"/>
                  <a:pt x="22095" y="71003"/>
                  <a:pt x="22095" y="71003"/>
                </a:cubicBezTo>
                <a:cubicBezTo>
                  <a:pt x="22095" y="71003"/>
                  <a:pt x="22095" y="71003"/>
                  <a:pt x="22095" y="50882"/>
                </a:cubicBezTo>
                <a:cubicBezTo>
                  <a:pt x="22095" y="50882"/>
                  <a:pt x="24993" y="48928"/>
                  <a:pt x="26949" y="48928"/>
                </a:cubicBezTo>
                <a:cubicBezTo>
                  <a:pt x="26949" y="48928"/>
                  <a:pt x="26949" y="48928"/>
                  <a:pt x="45204" y="48928"/>
                </a:cubicBezTo>
                <a:cubicBezTo>
                  <a:pt x="47088" y="48928"/>
                  <a:pt x="47088" y="47046"/>
                  <a:pt x="47088" y="47046"/>
                </a:cubicBezTo>
                <a:cubicBezTo>
                  <a:pt x="47088" y="47046"/>
                  <a:pt x="47088" y="47046"/>
                  <a:pt x="47088" y="25912"/>
                </a:cubicBezTo>
                <a:cubicBezTo>
                  <a:pt x="47088" y="25912"/>
                  <a:pt x="49044" y="23957"/>
                  <a:pt x="50927" y="23957"/>
                </a:cubicBezTo>
                <a:cubicBezTo>
                  <a:pt x="50927" y="23957"/>
                  <a:pt x="50927" y="23957"/>
                  <a:pt x="70124" y="23957"/>
                </a:cubicBezTo>
                <a:cubicBezTo>
                  <a:pt x="72080" y="23957"/>
                  <a:pt x="72080" y="23957"/>
                  <a:pt x="72080" y="22076"/>
                </a:cubicBezTo>
                <a:cubicBezTo>
                  <a:pt x="72080" y="22076"/>
                  <a:pt x="72080" y="22076"/>
                  <a:pt x="72080" y="1954"/>
                </a:cubicBezTo>
                <a:cubicBezTo>
                  <a:pt x="72080" y="1954"/>
                  <a:pt x="73964" y="0"/>
                  <a:pt x="75920" y="0"/>
                </a:cubicBezTo>
                <a:close/>
              </a:path>
            </a:pathLst>
          </a:custGeom>
          <a:solidFill>
            <a:schemeClr val="tx1"/>
          </a:solidFill>
          <a:ln>
            <a:noFill/>
          </a:ln>
          <a:effectLst/>
        </p:spPr>
        <p:txBody>
          <a:bodyPr wrap="square" t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22" name="Freeform 45">
            <a:hlinkClick r:id="" action="ppaction://noaction"/>
            <a:extLst>
              <a:ext uri="{FF2B5EF4-FFF2-40B4-BE49-F238E27FC236}">
                <a16:creationId xmlns:a16="http://schemas.microsoft.com/office/drawing/2014/main" id="{4EF3DA83-3787-4055-8721-BA13D1341AA3}"/>
              </a:ext>
            </a:extLst>
          </p:cNvPr>
          <p:cNvSpPr>
            <a:spLocks noChangeAspect="1" noChangeArrowheads="1"/>
          </p:cNvSpPr>
          <p:nvPr/>
        </p:nvSpPr>
        <p:spPr bwMode="auto">
          <a:xfrm>
            <a:off x="4250121" y="1231075"/>
            <a:ext cx="205342" cy="276958"/>
          </a:xfrm>
          <a:custGeom>
            <a:avLst/>
            <a:gdLst>
              <a:gd name="T0" fmla="*/ 1599 w 2565"/>
              <a:gd name="T1" fmla="*/ 3461 h 3462"/>
              <a:gd name="T2" fmla="*/ 1599 w 2565"/>
              <a:gd name="T3" fmla="*/ 3461 h 3462"/>
              <a:gd name="T4" fmla="*/ 357 w 2565"/>
              <a:gd name="T5" fmla="*/ 2364 h 3462"/>
              <a:gd name="T6" fmla="*/ 0 w 2565"/>
              <a:gd name="T7" fmla="*/ 2364 h 3462"/>
              <a:gd name="T8" fmla="*/ 132 w 2565"/>
              <a:gd name="T9" fmla="*/ 1942 h 3462"/>
              <a:gd name="T10" fmla="*/ 304 w 2565"/>
              <a:gd name="T11" fmla="*/ 1942 h 3462"/>
              <a:gd name="T12" fmla="*/ 304 w 2565"/>
              <a:gd name="T13" fmla="*/ 1744 h 3462"/>
              <a:gd name="T14" fmla="*/ 304 w 2565"/>
              <a:gd name="T15" fmla="*/ 1519 h 3462"/>
              <a:gd name="T16" fmla="*/ 0 w 2565"/>
              <a:gd name="T17" fmla="*/ 1519 h 3462"/>
              <a:gd name="T18" fmla="*/ 159 w 2565"/>
              <a:gd name="T19" fmla="*/ 1070 h 3462"/>
              <a:gd name="T20" fmla="*/ 397 w 2565"/>
              <a:gd name="T21" fmla="*/ 1070 h 3462"/>
              <a:gd name="T22" fmla="*/ 1771 w 2565"/>
              <a:gd name="T23" fmla="*/ 0 h 3462"/>
              <a:gd name="T24" fmla="*/ 2484 w 2565"/>
              <a:gd name="T25" fmla="*/ 158 h 3462"/>
              <a:gd name="T26" fmla="*/ 2312 w 2565"/>
              <a:gd name="T27" fmla="*/ 647 h 3462"/>
              <a:gd name="T28" fmla="*/ 1771 w 2565"/>
              <a:gd name="T29" fmla="*/ 502 h 3462"/>
              <a:gd name="T30" fmla="*/ 1018 w 2565"/>
              <a:gd name="T31" fmla="*/ 1070 h 3462"/>
              <a:gd name="T32" fmla="*/ 2194 w 2565"/>
              <a:gd name="T33" fmla="*/ 1070 h 3462"/>
              <a:gd name="T34" fmla="*/ 2061 w 2565"/>
              <a:gd name="T35" fmla="*/ 1519 h 3462"/>
              <a:gd name="T36" fmla="*/ 925 w 2565"/>
              <a:gd name="T37" fmla="*/ 1519 h 3462"/>
              <a:gd name="T38" fmla="*/ 925 w 2565"/>
              <a:gd name="T39" fmla="*/ 1770 h 3462"/>
              <a:gd name="T40" fmla="*/ 925 w 2565"/>
              <a:gd name="T41" fmla="*/ 1942 h 3462"/>
              <a:gd name="T42" fmla="*/ 1943 w 2565"/>
              <a:gd name="T43" fmla="*/ 1942 h 3462"/>
              <a:gd name="T44" fmla="*/ 1797 w 2565"/>
              <a:gd name="T45" fmla="*/ 2364 h 3462"/>
              <a:gd name="T46" fmla="*/ 978 w 2565"/>
              <a:gd name="T47" fmla="*/ 2364 h 3462"/>
              <a:gd name="T48" fmla="*/ 1639 w 2565"/>
              <a:gd name="T49" fmla="*/ 2959 h 3462"/>
              <a:gd name="T50" fmla="*/ 2194 w 2565"/>
              <a:gd name="T51" fmla="*/ 2708 h 3462"/>
              <a:gd name="T52" fmla="*/ 2564 w 2565"/>
              <a:gd name="T53" fmla="*/ 3038 h 3462"/>
              <a:gd name="T54" fmla="*/ 1599 w 2565"/>
              <a:gd name="T55" fmla="*/ 3461 h 3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565" h="3462">
                <a:moveTo>
                  <a:pt x="1599" y="3461"/>
                </a:moveTo>
                <a:lnTo>
                  <a:pt x="1599" y="3461"/>
                </a:lnTo>
                <a:cubicBezTo>
                  <a:pt x="872" y="3461"/>
                  <a:pt x="502" y="3012"/>
                  <a:pt x="357" y="2364"/>
                </a:cubicBezTo>
                <a:cubicBezTo>
                  <a:pt x="0" y="2364"/>
                  <a:pt x="0" y="2364"/>
                  <a:pt x="0" y="2364"/>
                </a:cubicBezTo>
                <a:cubicBezTo>
                  <a:pt x="132" y="1942"/>
                  <a:pt x="132" y="1942"/>
                  <a:pt x="132" y="1942"/>
                </a:cubicBezTo>
                <a:cubicBezTo>
                  <a:pt x="304" y="1942"/>
                  <a:pt x="304" y="1942"/>
                  <a:pt x="304" y="1942"/>
                </a:cubicBezTo>
                <a:cubicBezTo>
                  <a:pt x="304" y="1889"/>
                  <a:pt x="304" y="1823"/>
                  <a:pt x="304" y="1744"/>
                </a:cubicBezTo>
                <a:cubicBezTo>
                  <a:pt x="304" y="1664"/>
                  <a:pt x="304" y="1572"/>
                  <a:pt x="304" y="1519"/>
                </a:cubicBezTo>
                <a:cubicBezTo>
                  <a:pt x="0" y="1519"/>
                  <a:pt x="0" y="1519"/>
                  <a:pt x="0" y="1519"/>
                </a:cubicBezTo>
                <a:cubicBezTo>
                  <a:pt x="159" y="1070"/>
                  <a:pt x="159" y="1070"/>
                  <a:pt x="159" y="1070"/>
                </a:cubicBezTo>
                <a:cubicBezTo>
                  <a:pt x="397" y="1070"/>
                  <a:pt x="397" y="1070"/>
                  <a:pt x="397" y="1070"/>
                </a:cubicBezTo>
                <a:cubicBezTo>
                  <a:pt x="595" y="396"/>
                  <a:pt x="1097" y="0"/>
                  <a:pt x="1771" y="0"/>
                </a:cubicBezTo>
                <a:cubicBezTo>
                  <a:pt x="2061" y="0"/>
                  <a:pt x="2339" y="79"/>
                  <a:pt x="2484" y="158"/>
                </a:cubicBezTo>
                <a:cubicBezTo>
                  <a:pt x="2312" y="647"/>
                  <a:pt x="2312" y="647"/>
                  <a:pt x="2312" y="647"/>
                </a:cubicBezTo>
                <a:cubicBezTo>
                  <a:pt x="2167" y="555"/>
                  <a:pt x="1969" y="502"/>
                  <a:pt x="1771" y="502"/>
                </a:cubicBezTo>
                <a:cubicBezTo>
                  <a:pt x="1467" y="502"/>
                  <a:pt x="1150" y="674"/>
                  <a:pt x="1018" y="1070"/>
                </a:cubicBezTo>
                <a:cubicBezTo>
                  <a:pt x="2194" y="1070"/>
                  <a:pt x="2194" y="1070"/>
                  <a:pt x="2194" y="1070"/>
                </a:cubicBezTo>
                <a:cubicBezTo>
                  <a:pt x="2061" y="1519"/>
                  <a:pt x="2061" y="1519"/>
                  <a:pt x="2061" y="1519"/>
                </a:cubicBezTo>
                <a:cubicBezTo>
                  <a:pt x="925" y="1519"/>
                  <a:pt x="925" y="1519"/>
                  <a:pt x="925" y="1519"/>
                </a:cubicBezTo>
                <a:cubicBezTo>
                  <a:pt x="925" y="1598"/>
                  <a:pt x="925" y="1691"/>
                  <a:pt x="925" y="1770"/>
                </a:cubicBezTo>
                <a:cubicBezTo>
                  <a:pt x="925" y="1823"/>
                  <a:pt x="925" y="1889"/>
                  <a:pt x="925" y="1942"/>
                </a:cubicBezTo>
                <a:cubicBezTo>
                  <a:pt x="1943" y="1942"/>
                  <a:pt x="1943" y="1942"/>
                  <a:pt x="1943" y="1942"/>
                </a:cubicBezTo>
                <a:cubicBezTo>
                  <a:pt x="1797" y="2364"/>
                  <a:pt x="1797" y="2364"/>
                  <a:pt x="1797" y="2364"/>
                </a:cubicBezTo>
                <a:cubicBezTo>
                  <a:pt x="978" y="2364"/>
                  <a:pt x="978" y="2364"/>
                  <a:pt x="978" y="2364"/>
                </a:cubicBezTo>
                <a:cubicBezTo>
                  <a:pt x="1070" y="2734"/>
                  <a:pt x="1295" y="2959"/>
                  <a:pt x="1639" y="2959"/>
                </a:cubicBezTo>
                <a:cubicBezTo>
                  <a:pt x="1890" y="2959"/>
                  <a:pt x="2088" y="2880"/>
                  <a:pt x="2194" y="2708"/>
                </a:cubicBezTo>
                <a:cubicBezTo>
                  <a:pt x="2564" y="3038"/>
                  <a:pt x="2564" y="3038"/>
                  <a:pt x="2564" y="3038"/>
                </a:cubicBezTo>
                <a:cubicBezTo>
                  <a:pt x="2392" y="3263"/>
                  <a:pt x="2061" y="3461"/>
                  <a:pt x="1599" y="3461"/>
                </a:cubicBezTo>
              </a:path>
            </a:pathLst>
          </a:custGeom>
          <a:solidFill>
            <a:schemeClr val="tx1"/>
          </a:solidFill>
          <a:ln>
            <a:noFill/>
          </a:ln>
          <a:effectLst/>
        </p:spPr>
        <p:txBody>
          <a:bodyPr wrap="none" t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30" name="Freeform: Shape 29">
            <a:hlinkClick r:id="" action="ppaction://noaction"/>
            <a:extLst>
              <a:ext uri="{FF2B5EF4-FFF2-40B4-BE49-F238E27FC236}">
                <a16:creationId xmlns:a16="http://schemas.microsoft.com/office/drawing/2014/main" id="{B0D2F725-8FDE-4121-889B-F81622DD7D45}"/>
              </a:ext>
            </a:extLst>
          </p:cNvPr>
          <p:cNvSpPr>
            <a:spLocks noChangeArrowheads="1"/>
          </p:cNvSpPr>
          <p:nvPr/>
        </p:nvSpPr>
        <p:spPr bwMode="auto">
          <a:xfrm>
            <a:off x="7976546" y="1204650"/>
            <a:ext cx="487956" cy="331212"/>
          </a:xfrm>
          <a:custGeom>
            <a:avLst/>
            <a:gdLst>
              <a:gd name="connsiteX0" fmla="*/ 438819 w 898613"/>
              <a:gd name="connsiteY0" fmla="*/ 449753 h 609954"/>
              <a:gd name="connsiteX1" fmla="*/ 712734 w 898613"/>
              <a:gd name="connsiteY1" fmla="*/ 449753 h 609954"/>
              <a:gd name="connsiteX2" fmla="*/ 712734 w 898613"/>
              <a:gd name="connsiteY2" fmla="*/ 475828 h 609954"/>
              <a:gd name="connsiteX3" fmla="*/ 438819 w 898613"/>
              <a:gd name="connsiteY3" fmla="*/ 475828 h 609954"/>
              <a:gd name="connsiteX4" fmla="*/ 330772 w 898613"/>
              <a:gd name="connsiteY4" fmla="*/ 181244 h 609954"/>
              <a:gd name="connsiteX5" fmla="*/ 315226 w 898613"/>
              <a:gd name="connsiteY5" fmla="*/ 232828 h 609954"/>
              <a:gd name="connsiteX6" fmla="*/ 302946 w 898613"/>
              <a:gd name="connsiteY6" fmla="*/ 237659 h 609954"/>
              <a:gd name="connsiteX7" fmla="*/ 278728 w 898613"/>
              <a:gd name="connsiteY7" fmla="*/ 246922 h 609954"/>
              <a:gd name="connsiteX8" fmla="*/ 278728 w 898613"/>
              <a:gd name="connsiteY8" fmla="*/ 211906 h 609954"/>
              <a:gd name="connsiteX9" fmla="*/ 286159 w 898613"/>
              <a:gd name="connsiteY9" fmla="*/ 209619 h 609954"/>
              <a:gd name="connsiteX10" fmla="*/ 294552 w 898613"/>
              <a:gd name="connsiteY10" fmla="*/ 207036 h 609954"/>
              <a:gd name="connsiteX11" fmla="*/ 330772 w 898613"/>
              <a:gd name="connsiteY11" fmla="*/ 181244 h 609954"/>
              <a:gd name="connsiteX12" fmla="*/ 56892 w 898613"/>
              <a:gd name="connsiteY12" fmla="*/ 150161 h 609954"/>
              <a:gd name="connsiteX13" fmla="*/ 165386 w 898613"/>
              <a:gd name="connsiteY13" fmla="*/ 150161 h 609954"/>
              <a:gd name="connsiteX14" fmla="*/ 186059 w 898613"/>
              <a:gd name="connsiteY14" fmla="*/ 160577 h 609954"/>
              <a:gd name="connsiteX15" fmla="*/ 227405 w 898613"/>
              <a:gd name="connsiteY15" fmla="*/ 227703 h 609954"/>
              <a:gd name="connsiteX16" fmla="*/ 252941 w 898613"/>
              <a:gd name="connsiteY16" fmla="*/ 219843 h 609954"/>
              <a:gd name="connsiteX17" fmla="*/ 252941 w 898613"/>
              <a:gd name="connsiteY17" fmla="*/ 225571 h 609954"/>
              <a:gd name="connsiteX18" fmla="*/ 252941 w 898613"/>
              <a:gd name="connsiteY18" fmla="*/ 256236 h 609954"/>
              <a:gd name="connsiteX19" fmla="*/ 245453 w 898613"/>
              <a:gd name="connsiteY19" fmla="*/ 258915 h 609954"/>
              <a:gd name="connsiteX20" fmla="*/ 227405 w 898613"/>
              <a:gd name="connsiteY20" fmla="*/ 263745 h 609954"/>
              <a:gd name="connsiteX21" fmla="*/ 201605 w 898613"/>
              <a:gd name="connsiteY21" fmla="*/ 253495 h 609954"/>
              <a:gd name="connsiteX22" fmla="*/ 165386 w 898613"/>
              <a:gd name="connsiteY22" fmla="*/ 207036 h 609954"/>
              <a:gd name="connsiteX23" fmla="*/ 165386 w 898613"/>
              <a:gd name="connsiteY23" fmla="*/ 331036 h 609954"/>
              <a:gd name="connsiteX24" fmla="*/ 144712 w 898613"/>
              <a:gd name="connsiteY24" fmla="*/ 579036 h 609954"/>
              <a:gd name="connsiteX25" fmla="*/ 180766 w 898613"/>
              <a:gd name="connsiteY25" fmla="*/ 609954 h 609954"/>
              <a:gd name="connsiteX26" fmla="*/ 41346 w 898613"/>
              <a:gd name="connsiteY26" fmla="*/ 609954 h 609954"/>
              <a:gd name="connsiteX27" fmla="*/ 72273 w 898613"/>
              <a:gd name="connsiteY27" fmla="*/ 579036 h 609954"/>
              <a:gd name="connsiteX28" fmla="*/ 56892 w 898613"/>
              <a:gd name="connsiteY28" fmla="*/ 331036 h 609954"/>
              <a:gd name="connsiteX29" fmla="*/ 56892 w 898613"/>
              <a:gd name="connsiteY29" fmla="*/ 217287 h 609954"/>
              <a:gd name="connsiteX30" fmla="*/ 36219 w 898613"/>
              <a:gd name="connsiteY30" fmla="*/ 258620 h 609954"/>
              <a:gd name="connsiteX31" fmla="*/ 51600 w 898613"/>
              <a:gd name="connsiteY31" fmla="*/ 393036 h 609954"/>
              <a:gd name="connsiteX32" fmla="*/ 20673 w 898613"/>
              <a:gd name="connsiteY32" fmla="*/ 367244 h 609954"/>
              <a:gd name="connsiteX33" fmla="*/ 0 w 898613"/>
              <a:gd name="connsiteY33" fmla="*/ 269036 h 609954"/>
              <a:gd name="connsiteX34" fmla="*/ 5127 w 898613"/>
              <a:gd name="connsiteY34" fmla="*/ 243244 h 609954"/>
              <a:gd name="connsiteX35" fmla="*/ 36219 w 898613"/>
              <a:gd name="connsiteY35" fmla="*/ 160577 h 609954"/>
              <a:gd name="connsiteX36" fmla="*/ 56892 w 898613"/>
              <a:gd name="connsiteY36" fmla="*/ 150161 h 609954"/>
              <a:gd name="connsiteX37" fmla="*/ 108529 w 898613"/>
              <a:gd name="connsiteY37" fmla="*/ 41550 h 609954"/>
              <a:gd name="connsiteX38" fmla="*/ 155098 w 898613"/>
              <a:gd name="connsiteY38" fmla="*/ 88119 h 609954"/>
              <a:gd name="connsiteX39" fmla="*/ 108529 w 898613"/>
              <a:gd name="connsiteY39" fmla="*/ 134688 h 609954"/>
              <a:gd name="connsiteX40" fmla="*/ 61960 w 898613"/>
              <a:gd name="connsiteY40" fmla="*/ 88119 h 609954"/>
              <a:gd name="connsiteX41" fmla="*/ 108529 w 898613"/>
              <a:gd name="connsiteY41" fmla="*/ 41550 h 609954"/>
              <a:gd name="connsiteX42" fmla="*/ 273604 w 898613"/>
              <a:gd name="connsiteY42" fmla="*/ 0 h 609954"/>
              <a:gd name="connsiteX43" fmla="*/ 877950 w 898613"/>
              <a:gd name="connsiteY43" fmla="*/ 0 h 609954"/>
              <a:gd name="connsiteX44" fmla="*/ 898613 w 898613"/>
              <a:gd name="connsiteY44" fmla="*/ 20655 h 609954"/>
              <a:gd name="connsiteX45" fmla="*/ 898613 w 898613"/>
              <a:gd name="connsiteY45" fmla="*/ 402692 h 609954"/>
              <a:gd name="connsiteX46" fmla="*/ 877950 w 898613"/>
              <a:gd name="connsiteY46" fmla="*/ 423347 h 609954"/>
              <a:gd name="connsiteX47" fmla="*/ 273604 w 898613"/>
              <a:gd name="connsiteY47" fmla="*/ 423347 h 609954"/>
              <a:gd name="connsiteX48" fmla="*/ 252941 w 898613"/>
              <a:gd name="connsiteY48" fmla="*/ 402692 h 609954"/>
              <a:gd name="connsiteX49" fmla="*/ 252941 w 898613"/>
              <a:gd name="connsiteY49" fmla="*/ 276590 h 609954"/>
              <a:gd name="connsiteX50" fmla="*/ 252941 w 898613"/>
              <a:gd name="connsiteY50" fmla="*/ 256236 h 609954"/>
              <a:gd name="connsiteX51" fmla="*/ 275161 w 898613"/>
              <a:gd name="connsiteY51" fmla="*/ 248287 h 609954"/>
              <a:gd name="connsiteX52" fmla="*/ 278728 w 898613"/>
              <a:gd name="connsiteY52" fmla="*/ 246922 h 609954"/>
              <a:gd name="connsiteX53" fmla="*/ 278728 w 898613"/>
              <a:gd name="connsiteY53" fmla="*/ 392447 h 609954"/>
              <a:gd name="connsiteX54" fmla="*/ 872826 w 898613"/>
              <a:gd name="connsiteY54" fmla="*/ 392447 h 609954"/>
              <a:gd name="connsiteX55" fmla="*/ 872826 w 898613"/>
              <a:gd name="connsiteY55" fmla="*/ 30900 h 609954"/>
              <a:gd name="connsiteX56" fmla="*/ 278728 w 898613"/>
              <a:gd name="connsiteY56" fmla="*/ 30900 h 609954"/>
              <a:gd name="connsiteX57" fmla="*/ 278728 w 898613"/>
              <a:gd name="connsiteY57" fmla="*/ 211906 h 609954"/>
              <a:gd name="connsiteX58" fmla="*/ 266225 w 898613"/>
              <a:gd name="connsiteY58" fmla="*/ 215755 h 609954"/>
              <a:gd name="connsiteX59" fmla="*/ 252941 w 898613"/>
              <a:gd name="connsiteY59" fmla="*/ 219843 h 609954"/>
              <a:gd name="connsiteX60" fmla="*/ 252941 w 898613"/>
              <a:gd name="connsiteY60" fmla="*/ 181827 h 609954"/>
              <a:gd name="connsiteX61" fmla="*/ 252941 w 898613"/>
              <a:gd name="connsiteY61" fmla="*/ 20655 h 609954"/>
              <a:gd name="connsiteX62" fmla="*/ 273604 w 898613"/>
              <a:gd name="connsiteY62" fmla="*/ 0 h 609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898613" h="609954">
                <a:moveTo>
                  <a:pt x="438819" y="449753"/>
                </a:moveTo>
                <a:lnTo>
                  <a:pt x="712734" y="449753"/>
                </a:lnTo>
                <a:lnTo>
                  <a:pt x="712734" y="475828"/>
                </a:lnTo>
                <a:lnTo>
                  <a:pt x="438819" y="475828"/>
                </a:lnTo>
                <a:close/>
                <a:moveTo>
                  <a:pt x="330772" y="181244"/>
                </a:moveTo>
                <a:lnTo>
                  <a:pt x="315226" y="232828"/>
                </a:lnTo>
                <a:cubicBezTo>
                  <a:pt x="315226" y="232828"/>
                  <a:pt x="310378" y="234760"/>
                  <a:pt x="302946" y="237659"/>
                </a:cubicBezTo>
                <a:lnTo>
                  <a:pt x="278728" y="246922"/>
                </a:lnTo>
                <a:lnTo>
                  <a:pt x="278728" y="211906"/>
                </a:lnTo>
                <a:lnTo>
                  <a:pt x="286159" y="209619"/>
                </a:lnTo>
                <a:cubicBezTo>
                  <a:pt x="294552" y="207036"/>
                  <a:pt x="294552" y="207036"/>
                  <a:pt x="294552" y="207036"/>
                </a:cubicBezTo>
                <a:cubicBezTo>
                  <a:pt x="294552" y="207036"/>
                  <a:pt x="304806" y="175953"/>
                  <a:pt x="330772" y="181244"/>
                </a:cubicBezTo>
                <a:close/>
                <a:moveTo>
                  <a:pt x="56892" y="150161"/>
                </a:moveTo>
                <a:cubicBezTo>
                  <a:pt x="62019" y="150161"/>
                  <a:pt x="154966" y="150161"/>
                  <a:pt x="165386" y="150161"/>
                </a:cubicBezTo>
                <a:cubicBezTo>
                  <a:pt x="175639" y="150161"/>
                  <a:pt x="180766" y="155286"/>
                  <a:pt x="186059" y="160577"/>
                </a:cubicBezTo>
                <a:cubicBezTo>
                  <a:pt x="186059" y="165702"/>
                  <a:pt x="227405" y="227703"/>
                  <a:pt x="227405" y="227703"/>
                </a:cubicBezTo>
                <a:lnTo>
                  <a:pt x="252941" y="219843"/>
                </a:lnTo>
                <a:lnTo>
                  <a:pt x="252941" y="225571"/>
                </a:lnTo>
                <a:lnTo>
                  <a:pt x="252941" y="256236"/>
                </a:lnTo>
                <a:lnTo>
                  <a:pt x="245453" y="258915"/>
                </a:lnTo>
                <a:cubicBezTo>
                  <a:pt x="236739" y="261813"/>
                  <a:pt x="229969" y="263745"/>
                  <a:pt x="227405" y="263745"/>
                </a:cubicBezTo>
                <a:cubicBezTo>
                  <a:pt x="216986" y="269036"/>
                  <a:pt x="206732" y="263745"/>
                  <a:pt x="201605" y="253495"/>
                </a:cubicBezTo>
                <a:cubicBezTo>
                  <a:pt x="196313" y="248369"/>
                  <a:pt x="165386" y="207036"/>
                  <a:pt x="165386" y="207036"/>
                </a:cubicBezTo>
                <a:cubicBezTo>
                  <a:pt x="165386" y="331036"/>
                  <a:pt x="165386" y="331036"/>
                  <a:pt x="165386" y="331036"/>
                </a:cubicBezTo>
                <a:cubicBezTo>
                  <a:pt x="144712" y="579036"/>
                  <a:pt x="144712" y="579036"/>
                  <a:pt x="144712" y="579036"/>
                </a:cubicBezTo>
                <a:cubicBezTo>
                  <a:pt x="144712" y="579036"/>
                  <a:pt x="180766" y="584162"/>
                  <a:pt x="180766" y="609954"/>
                </a:cubicBezTo>
                <a:cubicBezTo>
                  <a:pt x="41346" y="609954"/>
                  <a:pt x="41346" y="609954"/>
                  <a:pt x="41346" y="609954"/>
                </a:cubicBezTo>
                <a:cubicBezTo>
                  <a:pt x="41346" y="584162"/>
                  <a:pt x="72273" y="579036"/>
                  <a:pt x="72273" y="579036"/>
                </a:cubicBezTo>
                <a:cubicBezTo>
                  <a:pt x="56892" y="331036"/>
                  <a:pt x="56892" y="331036"/>
                  <a:pt x="56892" y="331036"/>
                </a:cubicBezTo>
                <a:cubicBezTo>
                  <a:pt x="56892" y="217287"/>
                  <a:pt x="56892" y="217287"/>
                  <a:pt x="56892" y="217287"/>
                </a:cubicBezTo>
                <a:cubicBezTo>
                  <a:pt x="36219" y="258620"/>
                  <a:pt x="36219" y="258620"/>
                  <a:pt x="36219" y="258620"/>
                </a:cubicBezTo>
                <a:cubicBezTo>
                  <a:pt x="51600" y="393036"/>
                  <a:pt x="51600" y="393036"/>
                  <a:pt x="51600" y="393036"/>
                </a:cubicBezTo>
                <a:cubicBezTo>
                  <a:pt x="36219" y="393036"/>
                  <a:pt x="20673" y="382620"/>
                  <a:pt x="20673" y="367244"/>
                </a:cubicBezTo>
                <a:cubicBezTo>
                  <a:pt x="20673" y="367244"/>
                  <a:pt x="0" y="274161"/>
                  <a:pt x="0" y="269036"/>
                </a:cubicBezTo>
                <a:cubicBezTo>
                  <a:pt x="0" y="258620"/>
                  <a:pt x="0" y="248369"/>
                  <a:pt x="5127" y="243244"/>
                </a:cubicBezTo>
                <a:cubicBezTo>
                  <a:pt x="10254" y="222577"/>
                  <a:pt x="30927" y="170828"/>
                  <a:pt x="36219" y="160577"/>
                </a:cubicBezTo>
                <a:cubicBezTo>
                  <a:pt x="41346" y="150161"/>
                  <a:pt x="51600" y="150161"/>
                  <a:pt x="56892" y="150161"/>
                </a:cubicBezTo>
                <a:close/>
                <a:moveTo>
                  <a:pt x="108529" y="41550"/>
                </a:moveTo>
                <a:cubicBezTo>
                  <a:pt x="134382" y="41550"/>
                  <a:pt x="155098" y="62266"/>
                  <a:pt x="155098" y="88119"/>
                </a:cubicBezTo>
                <a:cubicBezTo>
                  <a:pt x="155098" y="113973"/>
                  <a:pt x="134382" y="134688"/>
                  <a:pt x="108529" y="134688"/>
                </a:cubicBezTo>
                <a:cubicBezTo>
                  <a:pt x="82676" y="134688"/>
                  <a:pt x="61960" y="113973"/>
                  <a:pt x="61960" y="88119"/>
                </a:cubicBezTo>
                <a:cubicBezTo>
                  <a:pt x="61960" y="62266"/>
                  <a:pt x="82676" y="41550"/>
                  <a:pt x="108529" y="41550"/>
                </a:cubicBezTo>
                <a:close/>
                <a:moveTo>
                  <a:pt x="273604" y="0"/>
                </a:moveTo>
                <a:cubicBezTo>
                  <a:pt x="877950" y="0"/>
                  <a:pt x="877950" y="0"/>
                  <a:pt x="877950" y="0"/>
                </a:cubicBezTo>
                <a:cubicBezTo>
                  <a:pt x="888364" y="0"/>
                  <a:pt x="898613" y="10245"/>
                  <a:pt x="898613" y="20655"/>
                </a:cubicBezTo>
                <a:cubicBezTo>
                  <a:pt x="898613" y="402692"/>
                  <a:pt x="898613" y="402692"/>
                  <a:pt x="898613" y="402692"/>
                </a:cubicBezTo>
                <a:cubicBezTo>
                  <a:pt x="898613" y="413102"/>
                  <a:pt x="888364" y="423347"/>
                  <a:pt x="877950" y="423347"/>
                </a:cubicBezTo>
                <a:cubicBezTo>
                  <a:pt x="273604" y="423347"/>
                  <a:pt x="273604" y="423347"/>
                  <a:pt x="273604" y="423347"/>
                </a:cubicBezTo>
                <a:cubicBezTo>
                  <a:pt x="263355" y="423347"/>
                  <a:pt x="252941" y="413102"/>
                  <a:pt x="252941" y="402692"/>
                </a:cubicBezTo>
                <a:cubicBezTo>
                  <a:pt x="252941" y="354937"/>
                  <a:pt x="252941" y="313152"/>
                  <a:pt x="252941" y="276590"/>
                </a:cubicBezTo>
                <a:lnTo>
                  <a:pt x="252941" y="256236"/>
                </a:lnTo>
                <a:lnTo>
                  <a:pt x="275161" y="248287"/>
                </a:lnTo>
                <a:lnTo>
                  <a:pt x="278728" y="246922"/>
                </a:lnTo>
                <a:lnTo>
                  <a:pt x="278728" y="392447"/>
                </a:lnTo>
                <a:cubicBezTo>
                  <a:pt x="872826" y="392447"/>
                  <a:pt x="872826" y="392447"/>
                  <a:pt x="872826" y="392447"/>
                </a:cubicBezTo>
                <a:cubicBezTo>
                  <a:pt x="872826" y="30900"/>
                  <a:pt x="872826" y="30900"/>
                  <a:pt x="872826" y="30900"/>
                </a:cubicBezTo>
                <a:cubicBezTo>
                  <a:pt x="278728" y="30900"/>
                  <a:pt x="278728" y="30900"/>
                  <a:pt x="278728" y="30900"/>
                </a:cubicBezTo>
                <a:lnTo>
                  <a:pt x="278728" y="211906"/>
                </a:lnTo>
                <a:lnTo>
                  <a:pt x="266225" y="215755"/>
                </a:lnTo>
                <a:lnTo>
                  <a:pt x="252941" y="219843"/>
                </a:lnTo>
                <a:lnTo>
                  <a:pt x="252941" y="181827"/>
                </a:lnTo>
                <a:cubicBezTo>
                  <a:pt x="252941" y="20655"/>
                  <a:pt x="252941" y="20655"/>
                  <a:pt x="252941" y="20655"/>
                </a:cubicBezTo>
                <a:cubicBezTo>
                  <a:pt x="252941" y="10245"/>
                  <a:pt x="263355" y="0"/>
                  <a:pt x="273604" y="0"/>
                </a:cubicBezTo>
                <a:close/>
              </a:path>
            </a:pathLst>
          </a:custGeom>
          <a:solidFill>
            <a:schemeClr val="tx1"/>
          </a:solidFill>
          <a:ln>
            <a:noFill/>
          </a:ln>
          <a:effectLst/>
        </p:spPr>
        <p:txBody>
          <a:bodyPr wrap="square" t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pic>
        <p:nvPicPr>
          <p:cNvPr id="31" name="Graphic 30" descr="Care">
            <a:hlinkClick r:id="" action="ppaction://noaction"/>
            <a:extLst>
              <a:ext uri="{FF2B5EF4-FFF2-40B4-BE49-F238E27FC236}">
                <a16:creationId xmlns:a16="http://schemas.microsoft.com/office/drawing/2014/main" id="{25F0856D-93E3-436C-8A19-97432DDE8082}"/>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231800" y="4168096"/>
            <a:ext cx="372238" cy="372238"/>
          </a:xfrm>
          <a:prstGeom prst="rect">
            <a:avLst/>
          </a:prstGeom>
        </p:spPr>
      </p:pic>
      <p:sp>
        <p:nvSpPr>
          <p:cNvPr id="33" name="Freeform: Shape 32">
            <a:hlinkClick r:id="" action="ppaction://noaction"/>
            <a:extLst>
              <a:ext uri="{FF2B5EF4-FFF2-40B4-BE49-F238E27FC236}">
                <a16:creationId xmlns:a16="http://schemas.microsoft.com/office/drawing/2014/main" id="{91862E29-C3A6-4FA7-90EC-9A9E92D75F9C}"/>
              </a:ext>
            </a:extLst>
          </p:cNvPr>
          <p:cNvSpPr>
            <a:spLocks noChangeArrowheads="1"/>
          </p:cNvSpPr>
          <p:nvPr/>
        </p:nvSpPr>
        <p:spPr bwMode="auto">
          <a:xfrm>
            <a:off x="7752200" y="4187307"/>
            <a:ext cx="342732" cy="267852"/>
          </a:xfrm>
          <a:custGeom>
            <a:avLst/>
            <a:gdLst>
              <a:gd name="connsiteX0" fmla="*/ 396797 w 679466"/>
              <a:gd name="connsiteY0" fmla="*/ 370577 h 531016"/>
              <a:gd name="connsiteX1" fmla="*/ 475565 w 679466"/>
              <a:gd name="connsiteY1" fmla="*/ 370577 h 531016"/>
              <a:gd name="connsiteX2" fmla="*/ 475565 w 679466"/>
              <a:gd name="connsiteY2" fmla="*/ 452678 h 531016"/>
              <a:gd name="connsiteX3" fmla="*/ 396797 w 679466"/>
              <a:gd name="connsiteY3" fmla="*/ 452678 h 531016"/>
              <a:gd name="connsiteX4" fmla="*/ 292897 w 679466"/>
              <a:gd name="connsiteY4" fmla="*/ 313874 h 531016"/>
              <a:gd name="connsiteX5" fmla="*/ 277909 w 679466"/>
              <a:gd name="connsiteY5" fmla="*/ 345614 h 531016"/>
              <a:gd name="connsiteX6" fmla="*/ 306247 w 679466"/>
              <a:gd name="connsiteY6" fmla="*/ 335663 h 531016"/>
              <a:gd name="connsiteX7" fmla="*/ 292897 w 679466"/>
              <a:gd name="connsiteY7" fmla="*/ 313874 h 531016"/>
              <a:gd name="connsiteX8" fmla="*/ 281184 w 679466"/>
              <a:gd name="connsiteY8" fmla="*/ 313874 h 531016"/>
              <a:gd name="connsiteX9" fmla="*/ 239495 w 679466"/>
              <a:gd name="connsiteY9" fmla="*/ 320675 h 531016"/>
              <a:gd name="connsiteX10" fmla="*/ 252845 w 679466"/>
              <a:gd name="connsiteY10" fmla="*/ 357327 h 531016"/>
              <a:gd name="connsiteX11" fmla="*/ 281184 w 679466"/>
              <a:gd name="connsiteY11" fmla="*/ 313874 h 531016"/>
              <a:gd name="connsiteX12" fmla="*/ 211031 w 679466"/>
              <a:gd name="connsiteY12" fmla="*/ 310599 h 531016"/>
              <a:gd name="connsiteX13" fmla="*/ 189368 w 679466"/>
              <a:gd name="connsiteY13" fmla="*/ 352289 h 531016"/>
              <a:gd name="connsiteX14" fmla="*/ 217706 w 679466"/>
              <a:gd name="connsiteY14" fmla="*/ 370679 h 531016"/>
              <a:gd name="connsiteX15" fmla="*/ 221107 w 679466"/>
              <a:gd name="connsiteY15" fmla="*/ 317274 h 531016"/>
              <a:gd name="connsiteX16" fmla="*/ 211031 w 679466"/>
              <a:gd name="connsiteY16" fmla="*/ 310599 h 531016"/>
              <a:gd name="connsiteX17" fmla="*/ 518471 w 679466"/>
              <a:gd name="connsiteY17" fmla="*/ 248903 h 531016"/>
              <a:gd name="connsiteX18" fmla="*/ 597239 w 679466"/>
              <a:gd name="connsiteY18" fmla="*/ 248903 h 531016"/>
              <a:gd name="connsiteX19" fmla="*/ 597239 w 679466"/>
              <a:gd name="connsiteY19" fmla="*/ 331003 h 531016"/>
              <a:gd name="connsiteX20" fmla="*/ 518471 w 679466"/>
              <a:gd name="connsiteY20" fmla="*/ 331003 h 531016"/>
              <a:gd name="connsiteX21" fmla="*/ 497232 w 679466"/>
              <a:gd name="connsiteY21" fmla="*/ 106739 h 531016"/>
              <a:gd name="connsiteX22" fmla="*/ 458064 w 679466"/>
              <a:gd name="connsiteY22" fmla="*/ 141400 h 531016"/>
              <a:gd name="connsiteX23" fmla="*/ 439178 w 679466"/>
              <a:gd name="connsiteY23" fmla="*/ 158114 h 531016"/>
              <a:gd name="connsiteX24" fmla="*/ 458077 w 679466"/>
              <a:gd name="connsiteY24" fmla="*/ 177609 h 531016"/>
              <a:gd name="connsiteX25" fmla="*/ 468342 w 679466"/>
              <a:gd name="connsiteY25" fmla="*/ 213741 h 531016"/>
              <a:gd name="connsiteX26" fmla="*/ 460187 w 679466"/>
              <a:gd name="connsiteY26" fmla="*/ 248174 h 531016"/>
              <a:gd name="connsiteX27" fmla="*/ 459563 w 679466"/>
              <a:gd name="connsiteY27" fmla="*/ 248903 h 531016"/>
              <a:gd name="connsiteX28" fmla="*/ 475565 w 679466"/>
              <a:gd name="connsiteY28" fmla="*/ 248903 h 531016"/>
              <a:gd name="connsiteX29" fmla="*/ 475565 w 679466"/>
              <a:gd name="connsiteY29" fmla="*/ 331003 h 531016"/>
              <a:gd name="connsiteX30" fmla="*/ 416992 w 679466"/>
              <a:gd name="connsiteY30" fmla="*/ 331003 h 531016"/>
              <a:gd name="connsiteX31" fmla="*/ 415302 w 679466"/>
              <a:gd name="connsiteY31" fmla="*/ 333569 h 531016"/>
              <a:gd name="connsiteX32" fmla="*/ 359775 w 679466"/>
              <a:gd name="connsiteY32" fmla="*/ 357327 h 531016"/>
              <a:gd name="connsiteX33" fmla="*/ 342205 w 679466"/>
              <a:gd name="connsiteY33" fmla="*/ 354399 h 531016"/>
              <a:gd name="connsiteX34" fmla="*/ 336801 w 679466"/>
              <a:gd name="connsiteY34" fmla="*/ 352743 h 531016"/>
              <a:gd name="connsiteX35" fmla="*/ 336801 w 679466"/>
              <a:gd name="connsiteY35" fmla="*/ 362962 h 531016"/>
              <a:gd name="connsiteX36" fmla="*/ 336801 w 679466"/>
              <a:gd name="connsiteY36" fmla="*/ 512624 h 531016"/>
              <a:gd name="connsiteX37" fmla="*/ 472165 w 679466"/>
              <a:gd name="connsiteY37" fmla="*/ 512624 h 531016"/>
              <a:gd name="connsiteX38" fmla="*/ 518471 w 679466"/>
              <a:gd name="connsiteY38" fmla="*/ 512624 h 531016"/>
              <a:gd name="connsiteX39" fmla="*/ 518471 w 679466"/>
              <a:gd name="connsiteY39" fmla="*/ 370577 h 531016"/>
              <a:gd name="connsiteX40" fmla="*/ 597239 w 679466"/>
              <a:gd name="connsiteY40" fmla="*/ 370577 h 531016"/>
              <a:gd name="connsiteX41" fmla="*/ 597239 w 679466"/>
              <a:gd name="connsiteY41" fmla="*/ 512624 h 531016"/>
              <a:gd name="connsiteX42" fmla="*/ 601183 w 679466"/>
              <a:gd name="connsiteY42" fmla="*/ 512624 h 531016"/>
              <a:gd name="connsiteX43" fmla="*/ 657663 w 679466"/>
              <a:gd name="connsiteY43" fmla="*/ 512624 h 531016"/>
              <a:gd name="connsiteX44" fmla="*/ 657663 w 679466"/>
              <a:gd name="connsiteY44" fmla="*/ 253750 h 531016"/>
              <a:gd name="connsiteX45" fmla="*/ 657663 w 679466"/>
              <a:gd name="connsiteY45" fmla="*/ 248711 h 531016"/>
              <a:gd name="connsiteX46" fmla="*/ 497232 w 679466"/>
              <a:gd name="connsiteY46" fmla="*/ 106739 h 531016"/>
              <a:gd name="connsiteX47" fmla="*/ 569030 w 679466"/>
              <a:gd name="connsiteY47" fmla="*/ 78337 h 531016"/>
              <a:gd name="connsiteX48" fmla="*/ 629463 w 679466"/>
              <a:gd name="connsiteY48" fmla="*/ 78337 h 531016"/>
              <a:gd name="connsiteX49" fmla="*/ 629463 w 679466"/>
              <a:gd name="connsiteY49" fmla="*/ 170438 h 531016"/>
              <a:gd name="connsiteX50" fmla="*/ 607717 w 679466"/>
              <a:gd name="connsiteY50" fmla="*/ 153762 h 531016"/>
              <a:gd name="connsiteX51" fmla="*/ 607717 w 679466"/>
              <a:gd name="connsiteY51" fmla="*/ 100067 h 531016"/>
              <a:gd name="connsiteX52" fmla="*/ 585845 w 679466"/>
              <a:gd name="connsiteY52" fmla="*/ 100067 h 531016"/>
              <a:gd name="connsiteX53" fmla="*/ 585845 w 679466"/>
              <a:gd name="connsiteY53" fmla="*/ 135316 h 531016"/>
              <a:gd name="connsiteX54" fmla="*/ 569030 w 679466"/>
              <a:gd name="connsiteY54" fmla="*/ 116870 h 531016"/>
              <a:gd name="connsiteX55" fmla="*/ 267833 w 679466"/>
              <a:gd name="connsiteY55" fmla="*/ 0 h 531016"/>
              <a:gd name="connsiteX56" fmla="*/ 346425 w 679466"/>
              <a:gd name="connsiteY56" fmla="*/ 66755 h 531016"/>
              <a:gd name="connsiteX57" fmla="*/ 353100 w 679466"/>
              <a:gd name="connsiteY57" fmla="*/ 66755 h 531016"/>
              <a:gd name="connsiteX58" fmla="*/ 425398 w 679466"/>
              <a:gd name="connsiteY58" fmla="*/ 112558 h 531016"/>
              <a:gd name="connsiteX59" fmla="*/ 430851 w 679466"/>
              <a:gd name="connsiteY59" fmla="*/ 138546 h 531016"/>
              <a:gd name="connsiteX60" fmla="*/ 455732 w 679466"/>
              <a:gd name="connsiteY60" fmla="*/ 116260 h 531016"/>
              <a:gd name="connsiteX61" fmla="*/ 485512 w 679466"/>
              <a:gd name="connsiteY61" fmla="*/ 88347 h 531016"/>
              <a:gd name="connsiteX62" fmla="*/ 497075 w 679466"/>
              <a:gd name="connsiteY62" fmla="*/ 83340 h 531016"/>
              <a:gd name="connsiteX63" fmla="*/ 507315 w 679466"/>
              <a:gd name="connsiteY63" fmla="*/ 88347 h 531016"/>
              <a:gd name="connsiteX64" fmla="*/ 672787 w 679466"/>
              <a:gd name="connsiteY64" fmla="*/ 235358 h 531016"/>
              <a:gd name="connsiteX65" fmla="*/ 679466 w 679466"/>
              <a:gd name="connsiteY65" fmla="*/ 253750 h 531016"/>
              <a:gd name="connsiteX66" fmla="*/ 679466 w 679466"/>
              <a:gd name="connsiteY66" fmla="*/ 524340 h 531016"/>
              <a:gd name="connsiteX67" fmla="*/ 667746 w 679466"/>
              <a:gd name="connsiteY67" fmla="*/ 531016 h 531016"/>
              <a:gd name="connsiteX68" fmla="*/ 325081 w 679466"/>
              <a:gd name="connsiteY68" fmla="*/ 531016 h 531016"/>
              <a:gd name="connsiteX69" fmla="*/ 315125 w 679466"/>
              <a:gd name="connsiteY69" fmla="*/ 524340 h 531016"/>
              <a:gd name="connsiteX70" fmla="*/ 315125 w 679466"/>
              <a:gd name="connsiteY70" fmla="*/ 410185 h 531016"/>
              <a:gd name="connsiteX71" fmla="*/ 315125 w 679466"/>
              <a:gd name="connsiteY71" fmla="*/ 355002 h 531016"/>
              <a:gd name="connsiteX72" fmla="*/ 300454 w 679466"/>
              <a:gd name="connsiteY72" fmla="*/ 364239 h 531016"/>
              <a:gd name="connsiteX73" fmla="*/ 281184 w 679466"/>
              <a:gd name="connsiteY73" fmla="*/ 370679 h 531016"/>
              <a:gd name="connsiteX74" fmla="*/ 277909 w 679466"/>
              <a:gd name="connsiteY74" fmla="*/ 442472 h 531016"/>
              <a:gd name="connsiteX75" fmla="*/ 292897 w 679466"/>
              <a:gd name="connsiteY75" fmla="*/ 531016 h 531016"/>
              <a:gd name="connsiteX76" fmla="*/ 199444 w 679466"/>
              <a:gd name="connsiteY76" fmla="*/ 531016 h 531016"/>
              <a:gd name="connsiteX77" fmla="*/ 214431 w 679466"/>
              <a:gd name="connsiteY77" fmla="*/ 452548 h 531016"/>
              <a:gd name="connsiteX78" fmla="*/ 207756 w 679466"/>
              <a:gd name="connsiteY78" fmla="*/ 399144 h 531016"/>
              <a:gd name="connsiteX79" fmla="*/ 174380 w 679466"/>
              <a:gd name="connsiteY79" fmla="*/ 367403 h 531016"/>
              <a:gd name="connsiteX80" fmla="*/ 132565 w 679466"/>
              <a:gd name="connsiteY80" fmla="*/ 377354 h 531016"/>
              <a:gd name="connsiteX81" fmla="*/ 57374 w 679466"/>
              <a:gd name="connsiteY81" fmla="*/ 310599 h 531016"/>
              <a:gd name="connsiteX82" fmla="*/ 572 w 679466"/>
              <a:gd name="connsiteY82" fmla="*/ 238806 h 531016"/>
              <a:gd name="connsiteX83" fmla="*/ 23998 w 679466"/>
              <a:gd name="connsiteY83" fmla="*/ 185402 h 531016"/>
              <a:gd name="connsiteX84" fmla="*/ 17323 w 679466"/>
              <a:gd name="connsiteY84" fmla="*/ 156937 h 531016"/>
              <a:gd name="connsiteX85" fmla="*/ 89113 w 679466"/>
              <a:gd name="connsiteY85" fmla="*/ 81869 h 531016"/>
              <a:gd name="connsiteX86" fmla="*/ 161029 w 679466"/>
              <a:gd name="connsiteY86" fmla="*/ 28339 h 531016"/>
              <a:gd name="connsiteX87" fmla="*/ 199444 w 679466"/>
              <a:gd name="connsiteY87" fmla="*/ 41690 h 531016"/>
              <a:gd name="connsiteX88" fmla="*/ 267833 w 679466"/>
              <a:gd name="connsiteY88" fmla="*/ 0 h 53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79466" h="531016">
                <a:moveTo>
                  <a:pt x="396797" y="370577"/>
                </a:moveTo>
                <a:lnTo>
                  <a:pt x="475565" y="370577"/>
                </a:lnTo>
                <a:lnTo>
                  <a:pt x="475565" y="452678"/>
                </a:lnTo>
                <a:lnTo>
                  <a:pt x="396797" y="452678"/>
                </a:lnTo>
                <a:close/>
                <a:moveTo>
                  <a:pt x="292897" y="313874"/>
                </a:moveTo>
                <a:cubicBezTo>
                  <a:pt x="292897" y="313874"/>
                  <a:pt x="292897" y="313874"/>
                  <a:pt x="277909" y="345614"/>
                </a:cubicBezTo>
                <a:cubicBezTo>
                  <a:pt x="277909" y="345614"/>
                  <a:pt x="286222" y="349014"/>
                  <a:pt x="306247" y="335663"/>
                </a:cubicBezTo>
                <a:cubicBezTo>
                  <a:pt x="302973" y="327351"/>
                  <a:pt x="296297" y="323950"/>
                  <a:pt x="292897" y="313874"/>
                </a:cubicBezTo>
                <a:close/>
                <a:moveTo>
                  <a:pt x="281184" y="313874"/>
                </a:moveTo>
                <a:cubicBezTo>
                  <a:pt x="264559" y="323950"/>
                  <a:pt x="239495" y="320675"/>
                  <a:pt x="239495" y="320675"/>
                </a:cubicBezTo>
                <a:cubicBezTo>
                  <a:pt x="239495" y="335663"/>
                  <a:pt x="246170" y="352289"/>
                  <a:pt x="252845" y="357327"/>
                </a:cubicBezTo>
                <a:cubicBezTo>
                  <a:pt x="261158" y="357327"/>
                  <a:pt x="271234" y="332263"/>
                  <a:pt x="281184" y="313874"/>
                </a:cubicBezTo>
                <a:close/>
                <a:moveTo>
                  <a:pt x="211031" y="310599"/>
                </a:moveTo>
                <a:cubicBezTo>
                  <a:pt x="207756" y="327351"/>
                  <a:pt x="189368" y="352289"/>
                  <a:pt x="189368" y="352289"/>
                </a:cubicBezTo>
                <a:cubicBezTo>
                  <a:pt x="199444" y="360728"/>
                  <a:pt x="211031" y="367403"/>
                  <a:pt x="217706" y="370679"/>
                </a:cubicBezTo>
                <a:cubicBezTo>
                  <a:pt x="236094" y="374079"/>
                  <a:pt x="224507" y="338938"/>
                  <a:pt x="221107" y="317274"/>
                </a:cubicBezTo>
                <a:cubicBezTo>
                  <a:pt x="217706" y="313874"/>
                  <a:pt x="214431" y="313874"/>
                  <a:pt x="211031" y="310599"/>
                </a:cubicBezTo>
                <a:close/>
                <a:moveTo>
                  <a:pt x="518471" y="248903"/>
                </a:moveTo>
                <a:lnTo>
                  <a:pt x="597239" y="248903"/>
                </a:lnTo>
                <a:lnTo>
                  <a:pt x="597239" y="331003"/>
                </a:lnTo>
                <a:lnTo>
                  <a:pt x="518471" y="331003"/>
                </a:lnTo>
                <a:close/>
                <a:moveTo>
                  <a:pt x="497232" y="106739"/>
                </a:moveTo>
                <a:cubicBezTo>
                  <a:pt x="497232" y="106739"/>
                  <a:pt x="497232" y="106739"/>
                  <a:pt x="458064" y="141400"/>
                </a:cubicBezTo>
                <a:lnTo>
                  <a:pt x="439178" y="158114"/>
                </a:lnTo>
                <a:lnTo>
                  <a:pt x="458077" y="177609"/>
                </a:lnTo>
                <a:cubicBezTo>
                  <a:pt x="464563" y="188677"/>
                  <a:pt x="468342" y="201209"/>
                  <a:pt x="468342" y="213741"/>
                </a:cubicBezTo>
                <a:cubicBezTo>
                  <a:pt x="468342" y="226274"/>
                  <a:pt x="465414" y="237956"/>
                  <a:pt x="460187" y="248174"/>
                </a:cubicBezTo>
                <a:lnTo>
                  <a:pt x="459563" y="248903"/>
                </a:lnTo>
                <a:lnTo>
                  <a:pt x="475565" y="248903"/>
                </a:lnTo>
                <a:lnTo>
                  <a:pt x="475565" y="331003"/>
                </a:lnTo>
                <a:lnTo>
                  <a:pt x="416992" y="331003"/>
                </a:lnTo>
                <a:lnTo>
                  <a:pt x="415302" y="333569"/>
                </a:lnTo>
                <a:cubicBezTo>
                  <a:pt x="401117" y="348164"/>
                  <a:pt x="381501" y="357327"/>
                  <a:pt x="359775" y="357327"/>
                </a:cubicBezTo>
                <a:cubicBezTo>
                  <a:pt x="354737" y="357327"/>
                  <a:pt x="348471" y="356068"/>
                  <a:pt x="342205" y="354399"/>
                </a:cubicBezTo>
                <a:lnTo>
                  <a:pt x="336801" y="352743"/>
                </a:lnTo>
                <a:lnTo>
                  <a:pt x="336801" y="362962"/>
                </a:lnTo>
                <a:cubicBezTo>
                  <a:pt x="336801" y="399367"/>
                  <a:pt x="336801" y="447906"/>
                  <a:pt x="336801" y="512624"/>
                </a:cubicBezTo>
                <a:cubicBezTo>
                  <a:pt x="336801" y="512624"/>
                  <a:pt x="336801" y="512624"/>
                  <a:pt x="472165" y="512624"/>
                </a:cubicBezTo>
                <a:lnTo>
                  <a:pt x="518471" y="512624"/>
                </a:lnTo>
                <a:lnTo>
                  <a:pt x="518471" y="370577"/>
                </a:lnTo>
                <a:lnTo>
                  <a:pt x="597239" y="370577"/>
                </a:lnTo>
                <a:lnTo>
                  <a:pt x="597239" y="512624"/>
                </a:lnTo>
                <a:lnTo>
                  <a:pt x="601183" y="512624"/>
                </a:lnTo>
                <a:cubicBezTo>
                  <a:pt x="618809" y="512624"/>
                  <a:pt x="637609" y="512624"/>
                  <a:pt x="657663" y="512624"/>
                </a:cubicBezTo>
                <a:cubicBezTo>
                  <a:pt x="657663" y="512624"/>
                  <a:pt x="657663" y="512624"/>
                  <a:pt x="657663" y="253750"/>
                </a:cubicBezTo>
                <a:lnTo>
                  <a:pt x="657663" y="248711"/>
                </a:lnTo>
                <a:cubicBezTo>
                  <a:pt x="657663" y="248711"/>
                  <a:pt x="657663" y="248711"/>
                  <a:pt x="497232" y="106739"/>
                </a:cubicBezTo>
                <a:close/>
                <a:moveTo>
                  <a:pt x="569030" y="78337"/>
                </a:moveTo>
                <a:lnTo>
                  <a:pt x="629463" y="78337"/>
                </a:lnTo>
                <a:lnTo>
                  <a:pt x="629463" y="170438"/>
                </a:lnTo>
                <a:lnTo>
                  <a:pt x="607717" y="153762"/>
                </a:lnTo>
                <a:lnTo>
                  <a:pt x="607717" y="100067"/>
                </a:lnTo>
                <a:lnTo>
                  <a:pt x="585845" y="100067"/>
                </a:lnTo>
                <a:lnTo>
                  <a:pt x="585845" y="135316"/>
                </a:lnTo>
                <a:lnTo>
                  <a:pt x="569030" y="116870"/>
                </a:lnTo>
                <a:close/>
                <a:moveTo>
                  <a:pt x="267833" y="0"/>
                </a:moveTo>
                <a:cubicBezTo>
                  <a:pt x="306247" y="0"/>
                  <a:pt x="339749" y="28339"/>
                  <a:pt x="346425" y="66755"/>
                </a:cubicBezTo>
                <a:cubicBezTo>
                  <a:pt x="349699" y="66755"/>
                  <a:pt x="353100" y="66755"/>
                  <a:pt x="353100" y="66755"/>
                </a:cubicBezTo>
                <a:cubicBezTo>
                  <a:pt x="385595" y="66755"/>
                  <a:pt x="413484" y="85530"/>
                  <a:pt x="425398" y="112558"/>
                </a:cubicBezTo>
                <a:lnTo>
                  <a:pt x="430851" y="138546"/>
                </a:lnTo>
                <a:lnTo>
                  <a:pt x="455732" y="116260"/>
                </a:lnTo>
                <a:cubicBezTo>
                  <a:pt x="471547" y="101929"/>
                  <a:pt x="483023" y="91276"/>
                  <a:pt x="485512" y="88347"/>
                </a:cubicBezTo>
                <a:cubicBezTo>
                  <a:pt x="489734" y="85009"/>
                  <a:pt x="493515" y="83340"/>
                  <a:pt x="497075" y="83340"/>
                </a:cubicBezTo>
                <a:cubicBezTo>
                  <a:pt x="500635" y="83340"/>
                  <a:pt x="503975" y="85009"/>
                  <a:pt x="507315" y="88347"/>
                </a:cubicBezTo>
                <a:cubicBezTo>
                  <a:pt x="510591" y="91749"/>
                  <a:pt x="672787" y="235358"/>
                  <a:pt x="672787" y="235358"/>
                </a:cubicBezTo>
                <a:cubicBezTo>
                  <a:pt x="676063" y="238759"/>
                  <a:pt x="679466" y="245435"/>
                  <a:pt x="679466" y="253750"/>
                </a:cubicBezTo>
                <a:cubicBezTo>
                  <a:pt x="679466" y="253750"/>
                  <a:pt x="679466" y="253750"/>
                  <a:pt x="679466" y="524340"/>
                </a:cubicBezTo>
                <a:cubicBezTo>
                  <a:pt x="679466" y="527615"/>
                  <a:pt x="676063" y="531016"/>
                  <a:pt x="667746" y="531016"/>
                </a:cubicBezTo>
                <a:cubicBezTo>
                  <a:pt x="667746" y="531016"/>
                  <a:pt x="667746" y="531016"/>
                  <a:pt x="325081" y="531016"/>
                </a:cubicBezTo>
                <a:cubicBezTo>
                  <a:pt x="318402" y="531016"/>
                  <a:pt x="315125" y="527615"/>
                  <a:pt x="315125" y="524340"/>
                </a:cubicBezTo>
                <a:cubicBezTo>
                  <a:pt x="315125" y="524340"/>
                  <a:pt x="315125" y="524340"/>
                  <a:pt x="315125" y="410185"/>
                </a:cubicBezTo>
                <a:lnTo>
                  <a:pt x="315125" y="355002"/>
                </a:lnTo>
                <a:lnTo>
                  <a:pt x="300454" y="364239"/>
                </a:lnTo>
                <a:cubicBezTo>
                  <a:pt x="292519" y="368191"/>
                  <a:pt x="285403" y="370679"/>
                  <a:pt x="281184" y="370679"/>
                </a:cubicBezTo>
                <a:cubicBezTo>
                  <a:pt x="281184" y="370679"/>
                  <a:pt x="274508" y="427483"/>
                  <a:pt x="277909" y="442472"/>
                </a:cubicBezTo>
                <a:cubicBezTo>
                  <a:pt x="277909" y="470937"/>
                  <a:pt x="289622" y="502677"/>
                  <a:pt x="292897" y="531016"/>
                </a:cubicBezTo>
                <a:cubicBezTo>
                  <a:pt x="292897" y="531016"/>
                  <a:pt x="292897" y="531016"/>
                  <a:pt x="199444" y="531016"/>
                </a:cubicBezTo>
                <a:cubicBezTo>
                  <a:pt x="199444" y="531016"/>
                  <a:pt x="214431" y="470937"/>
                  <a:pt x="214431" y="452548"/>
                </a:cubicBezTo>
                <a:cubicBezTo>
                  <a:pt x="214431" y="435796"/>
                  <a:pt x="207756" y="399144"/>
                  <a:pt x="207756" y="399144"/>
                </a:cubicBezTo>
                <a:cubicBezTo>
                  <a:pt x="207756" y="399144"/>
                  <a:pt x="207756" y="399144"/>
                  <a:pt x="174380" y="367403"/>
                </a:cubicBezTo>
                <a:cubicBezTo>
                  <a:pt x="164304" y="374079"/>
                  <a:pt x="149316" y="377354"/>
                  <a:pt x="132565" y="377354"/>
                </a:cubicBezTo>
                <a:cubicBezTo>
                  <a:pt x="92514" y="377354"/>
                  <a:pt x="60775" y="349014"/>
                  <a:pt x="57374" y="310599"/>
                </a:cubicBezTo>
                <a:cubicBezTo>
                  <a:pt x="23998" y="298885"/>
                  <a:pt x="3973" y="270546"/>
                  <a:pt x="572" y="238806"/>
                </a:cubicBezTo>
                <a:cubicBezTo>
                  <a:pt x="-4340" y="203665"/>
                  <a:pt x="23998" y="185402"/>
                  <a:pt x="23998" y="185402"/>
                </a:cubicBezTo>
                <a:cubicBezTo>
                  <a:pt x="20724" y="178726"/>
                  <a:pt x="17323" y="167013"/>
                  <a:pt x="17323" y="156937"/>
                </a:cubicBezTo>
                <a:cubicBezTo>
                  <a:pt x="17323" y="116884"/>
                  <a:pt x="49062" y="85144"/>
                  <a:pt x="89113" y="81869"/>
                </a:cubicBezTo>
                <a:cubicBezTo>
                  <a:pt x="99189" y="50129"/>
                  <a:pt x="127527" y="28339"/>
                  <a:pt x="161029" y="28339"/>
                </a:cubicBezTo>
                <a:cubicBezTo>
                  <a:pt x="174380" y="28339"/>
                  <a:pt x="189368" y="35015"/>
                  <a:pt x="199444" y="41690"/>
                </a:cubicBezTo>
                <a:cubicBezTo>
                  <a:pt x="214431" y="18389"/>
                  <a:pt x="239495" y="0"/>
                  <a:pt x="267833" y="0"/>
                </a:cubicBezTo>
                <a:close/>
              </a:path>
            </a:pathLst>
          </a:custGeom>
          <a:solidFill>
            <a:schemeClr val="tx1"/>
          </a:solidFill>
          <a:ln>
            <a:noFill/>
          </a:ln>
          <a:effectLst/>
        </p:spPr>
        <p:txBody>
          <a:bodyPr wrap="square" t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34" name="Freeform: Shape 33">
            <a:hlinkClick r:id="" action="ppaction://noaction"/>
            <a:extLst>
              <a:ext uri="{FF2B5EF4-FFF2-40B4-BE49-F238E27FC236}">
                <a16:creationId xmlns:a16="http://schemas.microsoft.com/office/drawing/2014/main" id="{41455880-3873-47BC-B622-C791D9D657DB}"/>
              </a:ext>
            </a:extLst>
          </p:cNvPr>
          <p:cNvSpPr/>
          <p:nvPr/>
        </p:nvSpPr>
        <p:spPr>
          <a:xfrm>
            <a:off x="6119514" y="4111093"/>
            <a:ext cx="336308" cy="343318"/>
          </a:xfrm>
          <a:custGeom>
            <a:avLst/>
            <a:gdLst>
              <a:gd name="connsiteX0" fmla="*/ 392655 w 666729"/>
              <a:gd name="connsiteY0" fmla="*/ 41729 h 680628"/>
              <a:gd name="connsiteX1" fmla="*/ 369258 w 666729"/>
              <a:gd name="connsiteY1" fmla="*/ 133970 h 680628"/>
              <a:gd name="connsiteX2" fmla="*/ 382875 w 666729"/>
              <a:gd name="connsiteY2" fmla="*/ 156581 h 680628"/>
              <a:gd name="connsiteX3" fmla="*/ 438053 w 666729"/>
              <a:gd name="connsiteY3" fmla="*/ 170529 h 680628"/>
              <a:gd name="connsiteX4" fmla="*/ 461497 w 666729"/>
              <a:gd name="connsiteY4" fmla="*/ 157367 h 680628"/>
              <a:gd name="connsiteX5" fmla="*/ 484895 w 666729"/>
              <a:gd name="connsiteY5" fmla="*/ 65127 h 680628"/>
              <a:gd name="connsiteX6" fmla="*/ 382701 w 666729"/>
              <a:gd name="connsiteY6" fmla="*/ 547 h 680628"/>
              <a:gd name="connsiteX7" fmla="*/ 512004 w 666729"/>
              <a:gd name="connsiteY7" fmla="*/ 33394 h 680628"/>
              <a:gd name="connsiteX8" fmla="*/ 525621 w 666729"/>
              <a:gd name="connsiteY8" fmla="*/ 56006 h 680628"/>
              <a:gd name="connsiteX9" fmla="*/ 497727 w 666729"/>
              <a:gd name="connsiteY9" fmla="*/ 166361 h 680628"/>
              <a:gd name="connsiteX10" fmla="*/ 428602 w 666729"/>
              <a:gd name="connsiteY10" fmla="*/ 207591 h 680628"/>
              <a:gd name="connsiteX11" fmla="*/ 372812 w 666729"/>
              <a:gd name="connsiteY11" fmla="*/ 428301 h 680628"/>
              <a:gd name="connsiteX12" fmla="*/ 427660 w 666729"/>
              <a:gd name="connsiteY12" fmla="*/ 520037 h 680628"/>
              <a:gd name="connsiteX13" fmla="*/ 407578 w 666729"/>
              <a:gd name="connsiteY13" fmla="*/ 601368 h 680628"/>
              <a:gd name="connsiteX14" fmla="*/ 409858 w 666729"/>
              <a:gd name="connsiteY14" fmla="*/ 600327 h 680628"/>
              <a:gd name="connsiteX15" fmla="*/ 427366 w 666729"/>
              <a:gd name="connsiteY15" fmla="*/ 589449 h 680628"/>
              <a:gd name="connsiteX16" fmla="*/ 537244 w 666729"/>
              <a:gd name="connsiteY16" fmla="*/ 553358 h 680628"/>
              <a:gd name="connsiteX17" fmla="*/ 650359 w 666729"/>
              <a:gd name="connsiteY17" fmla="*/ 592394 h 680628"/>
              <a:gd name="connsiteX18" fmla="*/ 666729 w 666729"/>
              <a:gd name="connsiteY18" fmla="*/ 605617 h 680628"/>
              <a:gd name="connsiteX19" fmla="*/ 666729 w 666729"/>
              <a:gd name="connsiteY19" fmla="*/ 680628 h 680628"/>
              <a:gd name="connsiteX20" fmla="*/ 269023 w 666729"/>
              <a:gd name="connsiteY20" fmla="*/ 680628 h 680628"/>
              <a:gd name="connsiteX21" fmla="*/ 269023 w 666729"/>
              <a:gd name="connsiteY21" fmla="*/ 680556 h 680628"/>
              <a:gd name="connsiteX22" fmla="*/ 0 w 666729"/>
              <a:gd name="connsiteY22" fmla="*/ 680556 h 680628"/>
              <a:gd name="connsiteX23" fmla="*/ 0 w 666729"/>
              <a:gd name="connsiteY23" fmla="*/ 605545 h 680628"/>
              <a:gd name="connsiteX24" fmla="*/ 16370 w 666729"/>
              <a:gd name="connsiteY24" fmla="*/ 592322 h 680628"/>
              <a:gd name="connsiteX25" fmla="*/ 129485 w 666729"/>
              <a:gd name="connsiteY25" fmla="*/ 553286 h 680628"/>
              <a:gd name="connsiteX26" fmla="*/ 190805 w 666729"/>
              <a:gd name="connsiteY26" fmla="*/ 562756 h 680628"/>
              <a:gd name="connsiteX27" fmla="*/ 200808 w 666729"/>
              <a:gd name="connsiteY27" fmla="*/ 568240 h 680628"/>
              <a:gd name="connsiteX28" fmla="*/ 225898 w 666729"/>
              <a:gd name="connsiteY28" fmla="*/ 469201 h 680628"/>
              <a:gd name="connsiteX29" fmla="*/ 317635 w 666729"/>
              <a:gd name="connsiteY29" fmla="*/ 414353 h 680628"/>
              <a:gd name="connsiteX30" fmla="*/ 318720 w 666729"/>
              <a:gd name="connsiteY30" fmla="*/ 410092 h 680628"/>
              <a:gd name="connsiteX31" fmla="*/ 319788 w 666729"/>
              <a:gd name="connsiteY31" fmla="*/ 410361 h 680628"/>
              <a:gd name="connsiteX32" fmla="*/ 353633 w 666729"/>
              <a:gd name="connsiteY32" fmla="*/ 276276 h 680628"/>
              <a:gd name="connsiteX33" fmla="*/ 355273 w 666729"/>
              <a:gd name="connsiteY33" fmla="*/ 274219 h 680628"/>
              <a:gd name="connsiteX34" fmla="*/ 354340 w 666729"/>
              <a:gd name="connsiteY34" fmla="*/ 273475 h 680628"/>
              <a:gd name="connsiteX35" fmla="*/ 374185 w 666729"/>
              <a:gd name="connsiteY35" fmla="*/ 194850 h 680628"/>
              <a:gd name="connsiteX36" fmla="*/ 373176 w 666729"/>
              <a:gd name="connsiteY36" fmla="*/ 194596 h 680628"/>
              <a:gd name="connsiteX37" fmla="*/ 373425 w 666729"/>
              <a:gd name="connsiteY37" fmla="*/ 193644 h 680628"/>
              <a:gd name="connsiteX38" fmla="*/ 332195 w 666729"/>
              <a:gd name="connsiteY38" fmla="*/ 124519 h 680628"/>
              <a:gd name="connsiteX39" fmla="*/ 360089 w 666729"/>
              <a:gd name="connsiteY39" fmla="*/ 14165 h 680628"/>
              <a:gd name="connsiteX40" fmla="*/ 382701 w 666729"/>
              <a:gd name="connsiteY40" fmla="*/ 547 h 68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66729" h="680628">
                <a:moveTo>
                  <a:pt x="392655" y="41729"/>
                </a:moveTo>
                <a:lnTo>
                  <a:pt x="369258" y="133970"/>
                </a:lnTo>
                <a:cubicBezTo>
                  <a:pt x="366364" y="143216"/>
                  <a:pt x="372339" y="154065"/>
                  <a:pt x="382875" y="156581"/>
                </a:cubicBezTo>
                <a:lnTo>
                  <a:pt x="438053" y="170529"/>
                </a:lnTo>
                <a:cubicBezTo>
                  <a:pt x="447754" y="172589"/>
                  <a:pt x="458604" y="166613"/>
                  <a:pt x="461497" y="157367"/>
                </a:cubicBezTo>
                <a:lnTo>
                  <a:pt x="484895" y="65127"/>
                </a:lnTo>
                <a:close/>
                <a:moveTo>
                  <a:pt x="382701" y="547"/>
                </a:moveTo>
                <a:lnTo>
                  <a:pt x="512004" y="33394"/>
                </a:lnTo>
                <a:cubicBezTo>
                  <a:pt x="521706" y="35455"/>
                  <a:pt x="528137" y="45471"/>
                  <a:pt x="525621" y="56006"/>
                </a:cubicBezTo>
                <a:lnTo>
                  <a:pt x="497727" y="166361"/>
                </a:lnTo>
                <a:cubicBezTo>
                  <a:pt x="489801" y="196678"/>
                  <a:pt x="458919" y="215516"/>
                  <a:pt x="428602" y="207591"/>
                </a:cubicBezTo>
                <a:lnTo>
                  <a:pt x="372812" y="428301"/>
                </a:lnTo>
                <a:cubicBezTo>
                  <a:pt x="412831" y="438285"/>
                  <a:pt x="438101" y="479185"/>
                  <a:pt x="427660" y="520037"/>
                </a:cubicBezTo>
                <a:lnTo>
                  <a:pt x="407578" y="601368"/>
                </a:lnTo>
                <a:lnTo>
                  <a:pt x="409858" y="600327"/>
                </a:lnTo>
                <a:cubicBezTo>
                  <a:pt x="421368" y="594243"/>
                  <a:pt x="427192" y="589601"/>
                  <a:pt x="427366" y="589449"/>
                </a:cubicBezTo>
                <a:cubicBezTo>
                  <a:pt x="453726" y="566582"/>
                  <a:pt x="493866" y="553358"/>
                  <a:pt x="537244" y="553358"/>
                </a:cubicBezTo>
                <a:cubicBezTo>
                  <a:pt x="581870" y="553358"/>
                  <a:pt x="624277" y="567795"/>
                  <a:pt x="650359" y="592394"/>
                </a:cubicBezTo>
                <a:lnTo>
                  <a:pt x="666729" y="605617"/>
                </a:lnTo>
                <a:lnTo>
                  <a:pt x="666729" y="680628"/>
                </a:lnTo>
                <a:lnTo>
                  <a:pt x="269023" y="680628"/>
                </a:lnTo>
                <a:lnTo>
                  <a:pt x="269023" y="680556"/>
                </a:lnTo>
                <a:lnTo>
                  <a:pt x="0" y="680556"/>
                </a:lnTo>
                <a:lnTo>
                  <a:pt x="0" y="605545"/>
                </a:lnTo>
                <a:lnTo>
                  <a:pt x="16370" y="592322"/>
                </a:lnTo>
                <a:cubicBezTo>
                  <a:pt x="42452" y="567723"/>
                  <a:pt x="84859" y="553286"/>
                  <a:pt x="129485" y="553286"/>
                </a:cubicBezTo>
                <a:cubicBezTo>
                  <a:pt x="151174" y="553286"/>
                  <a:pt x="172053" y="556592"/>
                  <a:pt x="190805" y="562756"/>
                </a:cubicBezTo>
                <a:lnTo>
                  <a:pt x="200808" y="568240"/>
                </a:lnTo>
                <a:lnTo>
                  <a:pt x="225898" y="469201"/>
                </a:lnTo>
                <a:cubicBezTo>
                  <a:pt x="235883" y="429182"/>
                  <a:pt x="276782" y="403912"/>
                  <a:pt x="317635" y="414353"/>
                </a:cubicBezTo>
                <a:lnTo>
                  <a:pt x="318720" y="410092"/>
                </a:lnTo>
                <a:lnTo>
                  <a:pt x="319788" y="410361"/>
                </a:lnTo>
                <a:lnTo>
                  <a:pt x="353633" y="276276"/>
                </a:lnTo>
                <a:lnTo>
                  <a:pt x="355273" y="274219"/>
                </a:lnTo>
                <a:lnTo>
                  <a:pt x="354340" y="273475"/>
                </a:lnTo>
                <a:lnTo>
                  <a:pt x="374185" y="194850"/>
                </a:lnTo>
                <a:lnTo>
                  <a:pt x="373176" y="194596"/>
                </a:lnTo>
                <a:lnTo>
                  <a:pt x="373425" y="193644"/>
                </a:lnTo>
                <a:cubicBezTo>
                  <a:pt x="343108" y="185719"/>
                  <a:pt x="324270" y="154836"/>
                  <a:pt x="332195" y="124519"/>
                </a:cubicBezTo>
                <a:lnTo>
                  <a:pt x="360089" y="14165"/>
                </a:lnTo>
                <a:cubicBezTo>
                  <a:pt x="362150" y="4463"/>
                  <a:pt x="372166" y="-1969"/>
                  <a:pt x="382701" y="547"/>
                </a:cubicBezTo>
                <a:close/>
              </a:path>
            </a:pathLst>
          </a:custGeom>
          <a:solidFill>
            <a:schemeClr val="tx1"/>
          </a:solidFill>
          <a:ln w="9525" cap="flat">
            <a:noFill/>
            <a:prstDash val="solid"/>
            <a:miter/>
          </a:ln>
        </p:spPr>
        <p:txBody>
          <a:bodyPr wrap="square" tIns="72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grpSp>
        <p:nvGrpSpPr>
          <p:cNvPr id="57" name="Group 56">
            <a:extLst>
              <a:ext uri="{FF2B5EF4-FFF2-40B4-BE49-F238E27FC236}">
                <a16:creationId xmlns:a16="http://schemas.microsoft.com/office/drawing/2014/main" id="{966DF1EC-B762-48E0-A9D8-939E0AC07211}"/>
              </a:ext>
            </a:extLst>
          </p:cNvPr>
          <p:cNvGrpSpPr/>
          <p:nvPr/>
        </p:nvGrpSpPr>
        <p:grpSpPr>
          <a:xfrm>
            <a:off x="9960934" y="4230657"/>
            <a:ext cx="392964" cy="229342"/>
            <a:chOff x="7648575" y="1647825"/>
            <a:chExt cx="1841500" cy="1074738"/>
          </a:xfrm>
          <a:solidFill>
            <a:schemeClr val="tx1"/>
          </a:solidFill>
        </p:grpSpPr>
        <p:sp>
          <p:nvSpPr>
            <p:cNvPr id="58" name="Freeform 27">
              <a:extLst>
                <a:ext uri="{FF2B5EF4-FFF2-40B4-BE49-F238E27FC236}">
                  <a16:creationId xmlns:a16="http://schemas.microsoft.com/office/drawing/2014/main" id="{7C129E3D-77F8-4F65-935E-34015F5C41E6}"/>
                </a:ext>
              </a:extLst>
            </p:cNvPr>
            <p:cNvSpPr>
              <a:spLocks noChangeArrowheads="1"/>
            </p:cNvSpPr>
            <p:nvPr/>
          </p:nvSpPr>
          <p:spPr bwMode="auto">
            <a:xfrm>
              <a:off x="7648575" y="2613025"/>
              <a:ext cx="1841500" cy="109538"/>
            </a:xfrm>
            <a:custGeom>
              <a:avLst/>
              <a:gdLst>
                <a:gd name="T0" fmla="*/ 2881 w 5115"/>
                <a:gd name="T1" fmla="*/ 0 h 305"/>
                <a:gd name="T2" fmla="*/ 2881 w 5115"/>
                <a:gd name="T3" fmla="*/ 0 h 305"/>
                <a:gd name="T4" fmla="*/ 2881 w 5115"/>
                <a:gd name="T5" fmla="*/ 53 h 305"/>
                <a:gd name="T6" fmla="*/ 2815 w 5115"/>
                <a:gd name="T7" fmla="*/ 119 h 305"/>
                <a:gd name="T8" fmla="*/ 2286 w 5115"/>
                <a:gd name="T9" fmla="*/ 119 h 305"/>
                <a:gd name="T10" fmla="*/ 2220 w 5115"/>
                <a:gd name="T11" fmla="*/ 53 h 305"/>
                <a:gd name="T12" fmla="*/ 2220 w 5115"/>
                <a:gd name="T13" fmla="*/ 0 h 305"/>
                <a:gd name="T14" fmla="*/ 0 w 5115"/>
                <a:gd name="T15" fmla="*/ 0 h 305"/>
                <a:gd name="T16" fmla="*/ 0 w 5115"/>
                <a:gd name="T17" fmla="*/ 79 h 305"/>
                <a:gd name="T18" fmla="*/ 225 w 5115"/>
                <a:gd name="T19" fmla="*/ 304 h 305"/>
                <a:gd name="T20" fmla="*/ 4876 w 5115"/>
                <a:gd name="T21" fmla="*/ 304 h 305"/>
                <a:gd name="T22" fmla="*/ 5114 w 5115"/>
                <a:gd name="T23" fmla="*/ 79 h 305"/>
                <a:gd name="T24" fmla="*/ 5114 w 5115"/>
                <a:gd name="T25" fmla="*/ 0 h 305"/>
                <a:gd name="T26" fmla="*/ 2881 w 5115"/>
                <a:gd name="T2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15" h="305">
                  <a:moveTo>
                    <a:pt x="2881" y="0"/>
                  </a:moveTo>
                  <a:lnTo>
                    <a:pt x="2881" y="0"/>
                  </a:lnTo>
                  <a:cubicBezTo>
                    <a:pt x="2881" y="53"/>
                    <a:pt x="2881" y="53"/>
                    <a:pt x="2881" y="53"/>
                  </a:cubicBezTo>
                  <a:cubicBezTo>
                    <a:pt x="2881" y="79"/>
                    <a:pt x="2881" y="119"/>
                    <a:pt x="2815" y="119"/>
                  </a:cubicBezTo>
                  <a:cubicBezTo>
                    <a:pt x="2286" y="119"/>
                    <a:pt x="2286" y="119"/>
                    <a:pt x="2286" y="119"/>
                  </a:cubicBezTo>
                  <a:cubicBezTo>
                    <a:pt x="2260" y="119"/>
                    <a:pt x="2220" y="79"/>
                    <a:pt x="2220" y="53"/>
                  </a:cubicBezTo>
                  <a:cubicBezTo>
                    <a:pt x="2220" y="0"/>
                    <a:pt x="2220" y="0"/>
                    <a:pt x="2220" y="0"/>
                  </a:cubicBezTo>
                  <a:cubicBezTo>
                    <a:pt x="0" y="0"/>
                    <a:pt x="0" y="0"/>
                    <a:pt x="0" y="0"/>
                  </a:cubicBezTo>
                  <a:cubicBezTo>
                    <a:pt x="0" y="79"/>
                    <a:pt x="0" y="79"/>
                    <a:pt x="0" y="79"/>
                  </a:cubicBezTo>
                  <a:cubicBezTo>
                    <a:pt x="0" y="198"/>
                    <a:pt x="79" y="304"/>
                    <a:pt x="225" y="304"/>
                  </a:cubicBezTo>
                  <a:cubicBezTo>
                    <a:pt x="4876" y="304"/>
                    <a:pt x="4876" y="304"/>
                    <a:pt x="4876" y="304"/>
                  </a:cubicBezTo>
                  <a:cubicBezTo>
                    <a:pt x="5021" y="304"/>
                    <a:pt x="5114" y="198"/>
                    <a:pt x="5114" y="79"/>
                  </a:cubicBezTo>
                  <a:cubicBezTo>
                    <a:pt x="5114" y="0"/>
                    <a:pt x="5114" y="0"/>
                    <a:pt x="5114" y="0"/>
                  </a:cubicBezTo>
                  <a:lnTo>
                    <a:pt x="2881" y="0"/>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t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59" name="Freeform 28">
              <a:extLst>
                <a:ext uri="{FF2B5EF4-FFF2-40B4-BE49-F238E27FC236}">
                  <a16:creationId xmlns:a16="http://schemas.microsoft.com/office/drawing/2014/main" id="{C51332F4-16B4-4595-A859-DD7D6C323C7C}"/>
                </a:ext>
              </a:extLst>
            </p:cNvPr>
            <p:cNvSpPr>
              <a:spLocks noChangeArrowheads="1"/>
            </p:cNvSpPr>
            <p:nvPr/>
          </p:nvSpPr>
          <p:spPr bwMode="auto">
            <a:xfrm>
              <a:off x="7899400" y="1647825"/>
              <a:ext cx="1331913" cy="865188"/>
            </a:xfrm>
            <a:custGeom>
              <a:avLst/>
              <a:gdLst>
                <a:gd name="T0" fmla="*/ 3528 w 3701"/>
                <a:gd name="T1" fmla="*/ 0 h 2405"/>
                <a:gd name="T2" fmla="*/ 3528 w 3701"/>
                <a:gd name="T3" fmla="*/ 0 h 2405"/>
                <a:gd name="T4" fmla="*/ 172 w 3701"/>
                <a:gd name="T5" fmla="*/ 0 h 2405"/>
                <a:gd name="T6" fmla="*/ 0 w 3701"/>
                <a:gd name="T7" fmla="*/ 171 h 2405"/>
                <a:gd name="T8" fmla="*/ 0 w 3701"/>
                <a:gd name="T9" fmla="*/ 1387 h 2405"/>
                <a:gd name="T10" fmla="*/ 0 w 3701"/>
                <a:gd name="T11" fmla="*/ 2311 h 2405"/>
                <a:gd name="T12" fmla="*/ 0 w 3701"/>
                <a:gd name="T13" fmla="*/ 2404 h 2405"/>
                <a:gd name="T14" fmla="*/ 3700 w 3701"/>
                <a:gd name="T15" fmla="*/ 2404 h 2405"/>
                <a:gd name="T16" fmla="*/ 3700 w 3701"/>
                <a:gd name="T17" fmla="*/ 2311 h 2405"/>
                <a:gd name="T18" fmla="*/ 3700 w 3701"/>
                <a:gd name="T19" fmla="*/ 1387 h 2405"/>
                <a:gd name="T20" fmla="*/ 3700 w 3701"/>
                <a:gd name="T21" fmla="*/ 171 h 2405"/>
                <a:gd name="T22" fmla="*/ 3528 w 3701"/>
                <a:gd name="T23" fmla="*/ 0 h 2405"/>
                <a:gd name="T24" fmla="*/ 3528 w 3701"/>
                <a:gd name="T25" fmla="*/ 2232 h 2405"/>
                <a:gd name="T26" fmla="*/ 3528 w 3701"/>
                <a:gd name="T27" fmla="*/ 2232 h 2405"/>
                <a:gd name="T28" fmla="*/ 172 w 3701"/>
                <a:gd name="T29" fmla="*/ 2232 h 2405"/>
                <a:gd name="T30" fmla="*/ 172 w 3701"/>
                <a:gd name="T31" fmla="*/ 1387 h 2405"/>
                <a:gd name="T32" fmla="*/ 172 w 3701"/>
                <a:gd name="T33" fmla="*/ 171 h 2405"/>
                <a:gd name="T34" fmla="*/ 3528 w 3701"/>
                <a:gd name="T35" fmla="*/ 171 h 2405"/>
                <a:gd name="T36" fmla="*/ 3528 w 3701"/>
                <a:gd name="T37" fmla="*/ 1387 h 2405"/>
                <a:gd name="T38" fmla="*/ 3528 w 3701"/>
                <a:gd name="T39" fmla="*/ 2232 h 2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01" h="2405">
                  <a:moveTo>
                    <a:pt x="3528" y="0"/>
                  </a:moveTo>
                  <a:lnTo>
                    <a:pt x="3528" y="0"/>
                  </a:lnTo>
                  <a:cubicBezTo>
                    <a:pt x="172" y="0"/>
                    <a:pt x="172" y="0"/>
                    <a:pt x="172" y="0"/>
                  </a:cubicBezTo>
                  <a:cubicBezTo>
                    <a:pt x="80" y="0"/>
                    <a:pt x="0" y="79"/>
                    <a:pt x="0" y="171"/>
                  </a:cubicBezTo>
                  <a:cubicBezTo>
                    <a:pt x="0" y="1387"/>
                    <a:pt x="0" y="1387"/>
                    <a:pt x="0" y="1387"/>
                  </a:cubicBezTo>
                  <a:cubicBezTo>
                    <a:pt x="0" y="2311"/>
                    <a:pt x="0" y="2311"/>
                    <a:pt x="0" y="2311"/>
                  </a:cubicBezTo>
                  <a:cubicBezTo>
                    <a:pt x="0" y="2404"/>
                    <a:pt x="0" y="2404"/>
                    <a:pt x="0" y="2404"/>
                  </a:cubicBezTo>
                  <a:cubicBezTo>
                    <a:pt x="3700" y="2404"/>
                    <a:pt x="3700" y="2404"/>
                    <a:pt x="3700" y="2404"/>
                  </a:cubicBezTo>
                  <a:cubicBezTo>
                    <a:pt x="3700" y="2311"/>
                    <a:pt x="3700" y="2311"/>
                    <a:pt x="3700" y="2311"/>
                  </a:cubicBezTo>
                  <a:cubicBezTo>
                    <a:pt x="3700" y="1387"/>
                    <a:pt x="3700" y="1387"/>
                    <a:pt x="3700" y="1387"/>
                  </a:cubicBezTo>
                  <a:cubicBezTo>
                    <a:pt x="3700" y="171"/>
                    <a:pt x="3700" y="171"/>
                    <a:pt x="3700" y="171"/>
                  </a:cubicBezTo>
                  <a:cubicBezTo>
                    <a:pt x="3700" y="79"/>
                    <a:pt x="3621" y="0"/>
                    <a:pt x="3528" y="0"/>
                  </a:cubicBezTo>
                  <a:close/>
                  <a:moveTo>
                    <a:pt x="3528" y="2232"/>
                  </a:moveTo>
                  <a:lnTo>
                    <a:pt x="3528" y="2232"/>
                  </a:lnTo>
                  <a:cubicBezTo>
                    <a:pt x="172" y="2232"/>
                    <a:pt x="172" y="2232"/>
                    <a:pt x="172" y="2232"/>
                  </a:cubicBezTo>
                  <a:cubicBezTo>
                    <a:pt x="172" y="1387"/>
                    <a:pt x="172" y="1387"/>
                    <a:pt x="172" y="1387"/>
                  </a:cubicBezTo>
                  <a:cubicBezTo>
                    <a:pt x="172" y="171"/>
                    <a:pt x="172" y="171"/>
                    <a:pt x="172" y="171"/>
                  </a:cubicBezTo>
                  <a:cubicBezTo>
                    <a:pt x="3528" y="171"/>
                    <a:pt x="3528" y="171"/>
                    <a:pt x="3528" y="171"/>
                  </a:cubicBezTo>
                  <a:cubicBezTo>
                    <a:pt x="3528" y="1387"/>
                    <a:pt x="3528" y="1387"/>
                    <a:pt x="3528" y="1387"/>
                  </a:cubicBezTo>
                  <a:lnTo>
                    <a:pt x="3528" y="2232"/>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t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60" name="Freeform 29">
              <a:extLst>
                <a:ext uri="{FF2B5EF4-FFF2-40B4-BE49-F238E27FC236}">
                  <a16:creationId xmlns:a16="http://schemas.microsoft.com/office/drawing/2014/main" id="{72951917-0761-42A8-9867-20FCECD0FBD8}"/>
                </a:ext>
              </a:extLst>
            </p:cNvPr>
            <p:cNvSpPr>
              <a:spLocks noChangeArrowheads="1"/>
            </p:cNvSpPr>
            <p:nvPr/>
          </p:nvSpPr>
          <p:spPr bwMode="auto">
            <a:xfrm>
              <a:off x="7961313" y="1709738"/>
              <a:ext cx="1208087" cy="742950"/>
            </a:xfrm>
            <a:custGeom>
              <a:avLst/>
              <a:gdLst>
                <a:gd name="T0" fmla="*/ 3356 w 3357"/>
                <a:gd name="T1" fmla="*/ 2061 h 2062"/>
                <a:gd name="T2" fmla="*/ 0 w 3357"/>
                <a:gd name="T3" fmla="*/ 2061 h 2062"/>
                <a:gd name="T4" fmla="*/ 0 w 3357"/>
                <a:gd name="T5" fmla="*/ 0 h 2062"/>
                <a:gd name="T6" fmla="*/ 3356 w 3357"/>
                <a:gd name="T7" fmla="*/ 0 h 2062"/>
                <a:gd name="T8" fmla="*/ 3356 w 3357"/>
                <a:gd name="T9" fmla="*/ 2061 h 2062"/>
              </a:gdLst>
              <a:ahLst/>
              <a:cxnLst>
                <a:cxn ang="0">
                  <a:pos x="T0" y="T1"/>
                </a:cxn>
                <a:cxn ang="0">
                  <a:pos x="T2" y="T3"/>
                </a:cxn>
                <a:cxn ang="0">
                  <a:pos x="T4" y="T5"/>
                </a:cxn>
                <a:cxn ang="0">
                  <a:pos x="T6" y="T7"/>
                </a:cxn>
                <a:cxn ang="0">
                  <a:pos x="T8" y="T9"/>
                </a:cxn>
              </a:cxnLst>
              <a:rect l="0" t="0" r="r" b="b"/>
              <a:pathLst>
                <a:path w="3357" h="2062">
                  <a:moveTo>
                    <a:pt x="3356" y="2061"/>
                  </a:moveTo>
                  <a:lnTo>
                    <a:pt x="0" y="2061"/>
                  </a:lnTo>
                  <a:lnTo>
                    <a:pt x="0" y="0"/>
                  </a:lnTo>
                  <a:lnTo>
                    <a:pt x="3356" y="0"/>
                  </a:lnTo>
                  <a:lnTo>
                    <a:pt x="3356" y="2061"/>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tIns="720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grpSp>
      <p:pic>
        <p:nvPicPr>
          <p:cNvPr id="66" name="Graphic 65" descr="Briefcase">
            <a:hlinkClick r:id="" action="ppaction://noaction"/>
            <a:extLst>
              <a:ext uri="{FF2B5EF4-FFF2-40B4-BE49-F238E27FC236}">
                <a16:creationId xmlns:a16="http://schemas.microsoft.com/office/drawing/2014/main" id="{9BC47FB7-C216-4747-AD43-D4A89168D159}"/>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0001677" y="1242449"/>
            <a:ext cx="311478" cy="311478"/>
          </a:xfrm>
          <a:prstGeom prst="rect">
            <a:avLst/>
          </a:prstGeom>
        </p:spPr>
      </p:pic>
      <p:sp>
        <p:nvSpPr>
          <p:cNvPr id="2" name="Rectangle 1">
            <a:extLst>
              <a:ext uri="{FF2B5EF4-FFF2-40B4-BE49-F238E27FC236}">
                <a16:creationId xmlns:a16="http://schemas.microsoft.com/office/drawing/2014/main" id="{ECA58766-7BEE-4735-A8F4-A4CDF61822D0}"/>
              </a:ext>
            </a:extLst>
          </p:cNvPr>
          <p:cNvSpPr/>
          <p:nvPr/>
        </p:nvSpPr>
        <p:spPr>
          <a:xfrm>
            <a:off x="0" y="0"/>
            <a:ext cx="1124192" cy="6858000"/>
          </a:xfrm>
          <a:prstGeom prst="rect">
            <a:avLst/>
          </a:prstGeom>
          <a:solidFill>
            <a:schemeClr val="tx2"/>
          </a:solidFill>
          <a:ln w="9525">
            <a:noFill/>
          </a:ln>
        </p:spPr>
        <p:txBody>
          <a:bodyPr rot="0" spcFirstLastPara="0" vertOverflow="overflow" horzOverflow="overflow" vert="vert270"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4000" dirty="0">
                <a:solidFill>
                  <a:schemeClr val="bg1"/>
                </a:solidFill>
              </a:rPr>
              <a:t>Toepassingen BuCa</a:t>
            </a:r>
            <a:endParaRPr kumimoji="0" lang="nl-NL" sz="40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1" name="Text Placeholder 9">
            <a:extLst>
              <a:ext uri="{FF2B5EF4-FFF2-40B4-BE49-F238E27FC236}">
                <a16:creationId xmlns:a16="http://schemas.microsoft.com/office/drawing/2014/main" id="{4BCD142F-C631-426C-853B-0B315FF0332C}"/>
              </a:ext>
            </a:extLst>
          </p:cNvPr>
          <p:cNvSpPr txBox="1">
            <a:spLocks/>
          </p:cNvSpPr>
          <p:nvPr/>
        </p:nvSpPr>
        <p:spPr>
          <a:xfrm>
            <a:off x="23903" y="5886855"/>
            <a:ext cx="110028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endParaRPr kumimoji="0" lang="nl-NL" sz="8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 name="Rectangle 2">
            <a:extLst>
              <a:ext uri="{FF2B5EF4-FFF2-40B4-BE49-F238E27FC236}">
                <a16:creationId xmlns:a16="http://schemas.microsoft.com/office/drawing/2014/main" id="{804F03E3-4E15-4DCB-A3AC-224E2DC4A739}"/>
              </a:ext>
            </a:extLst>
          </p:cNvPr>
          <p:cNvSpPr/>
          <p:nvPr/>
        </p:nvSpPr>
        <p:spPr>
          <a:xfrm>
            <a:off x="1507210" y="1975717"/>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Metro-uitbreiding</a:t>
            </a:r>
          </a:p>
          <a:p>
            <a:pPr>
              <a:buClr>
                <a:schemeClr val="tx2"/>
              </a:buClr>
            </a:pPr>
            <a:r>
              <a:rPr kumimoji="0" lang="en-NL" sz="1000" b="0" i="0" u="none" strike="noStrike" kern="1200" cap="none" spc="0" normalizeH="0" baseline="0" noProof="0">
                <a:ln>
                  <a:noFill/>
                </a:ln>
                <a:effectLst/>
                <a:uLnTx/>
                <a:uFillTx/>
                <a:latin typeface="Corbel" panose="020B0503020204020204" pitchFamily="34" charset="0"/>
                <a:ea typeface="+mn-ea"/>
                <a:cs typeface="+mn-cs"/>
              </a:rPr>
              <a:t>Verbetering fietsvoorzieningen</a:t>
            </a:r>
          </a:p>
          <a:p>
            <a:pPr>
              <a:buClr>
                <a:schemeClr val="tx2"/>
              </a:buClr>
            </a:pPr>
            <a:r>
              <a:rPr lang="en-NL" sz="1000"/>
              <a:t>Aanleg van nieuwe tramlijn</a:t>
            </a:r>
            <a:endParaRPr kumimoji="0" lang="nl-NL" sz="10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4" name="Text Placeholder 9">
            <a:extLst>
              <a:ext uri="{FF2B5EF4-FFF2-40B4-BE49-F238E27FC236}">
                <a16:creationId xmlns:a16="http://schemas.microsoft.com/office/drawing/2014/main" id="{6F46FDC0-BAD5-4C4A-A429-3AD9503C0CA4}"/>
              </a:ext>
            </a:extLst>
          </p:cNvPr>
          <p:cNvSpPr txBox="1">
            <a:spLocks/>
          </p:cNvSpPr>
          <p:nvPr/>
        </p:nvSpPr>
        <p:spPr>
          <a:xfrm>
            <a:off x="5378978" y="810829"/>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Kunst, cultuur en erfgoed</a:t>
            </a:r>
          </a:p>
        </p:txBody>
      </p:sp>
      <p:sp>
        <p:nvSpPr>
          <p:cNvPr id="205" name="Freeform: Shape 204">
            <a:hlinkClick r:id="" action="ppaction://noaction"/>
            <a:extLst>
              <a:ext uri="{FF2B5EF4-FFF2-40B4-BE49-F238E27FC236}">
                <a16:creationId xmlns:a16="http://schemas.microsoft.com/office/drawing/2014/main" id="{AA30DBFE-7424-491D-916B-913C44C2C71D}"/>
              </a:ext>
            </a:extLst>
          </p:cNvPr>
          <p:cNvSpPr>
            <a:spLocks noChangeArrowheads="1"/>
          </p:cNvSpPr>
          <p:nvPr/>
        </p:nvSpPr>
        <p:spPr bwMode="auto">
          <a:xfrm>
            <a:off x="6199198" y="1235377"/>
            <a:ext cx="176938" cy="300484"/>
          </a:xfrm>
          <a:custGeom>
            <a:avLst/>
            <a:gdLst>
              <a:gd name="connsiteX0" fmla="*/ 126747 w 170095"/>
              <a:gd name="connsiteY0" fmla="*/ 188365 h 288861"/>
              <a:gd name="connsiteX1" fmla="*/ 126747 w 170095"/>
              <a:gd name="connsiteY1" fmla="*/ 240333 h 288861"/>
              <a:gd name="connsiteX2" fmla="*/ 143915 w 170095"/>
              <a:gd name="connsiteY2" fmla="*/ 240333 h 288861"/>
              <a:gd name="connsiteX3" fmla="*/ 143915 w 170095"/>
              <a:gd name="connsiteY3" fmla="*/ 188365 h 288861"/>
              <a:gd name="connsiteX4" fmla="*/ 96098 w 170095"/>
              <a:gd name="connsiteY4" fmla="*/ 188365 h 288861"/>
              <a:gd name="connsiteX5" fmla="*/ 96098 w 170095"/>
              <a:gd name="connsiteY5" fmla="*/ 240333 h 288861"/>
              <a:gd name="connsiteX6" fmla="*/ 115500 w 170095"/>
              <a:gd name="connsiteY6" fmla="*/ 240333 h 288861"/>
              <a:gd name="connsiteX7" fmla="*/ 115500 w 170095"/>
              <a:gd name="connsiteY7" fmla="*/ 188365 h 288861"/>
              <a:gd name="connsiteX8" fmla="*/ 53636 w 170095"/>
              <a:gd name="connsiteY8" fmla="*/ 188365 h 288861"/>
              <a:gd name="connsiteX9" fmla="*/ 53636 w 170095"/>
              <a:gd name="connsiteY9" fmla="*/ 240333 h 288861"/>
              <a:gd name="connsiteX10" fmla="*/ 71762 w 170095"/>
              <a:gd name="connsiteY10" fmla="*/ 240333 h 288861"/>
              <a:gd name="connsiteX11" fmla="*/ 71762 w 170095"/>
              <a:gd name="connsiteY11" fmla="*/ 188365 h 288861"/>
              <a:gd name="connsiteX12" fmla="*/ 24902 w 170095"/>
              <a:gd name="connsiteY12" fmla="*/ 188365 h 288861"/>
              <a:gd name="connsiteX13" fmla="*/ 24902 w 170095"/>
              <a:gd name="connsiteY13" fmla="*/ 240333 h 288861"/>
              <a:gd name="connsiteX14" fmla="*/ 43028 w 170095"/>
              <a:gd name="connsiteY14" fmla="*/ 240333 h 288861"/>
              <a:gd name="connsiteX15" fmla="*/ 43028 w 170095"/>
              <a:gd name="connsiteY15" fmla="*/ 188365 h 288861"/>
              <a:gd name="connsiteX16" fmla="*/ 126747 w 170095"/>
              <a:gd name="connsiteY16" fmla="*/ 108549 h 288861"/>
              <a:gd name="connsiteX17" fmla="*/ 126747 w 170095"/>
              <a:gd name="connsiteY17" fmla="*/ 161475 h 288861"/>
              <a:gd name="connsiteX18" fmla="*/ 143915 w 170095"/>
              <a:gd name="connsiteY18" fmla="*/ 161475 h 288861"/>
              <a:gd name="connsiteX19" fmla="*/ 143915 w 170095"/>
              <a:gd name="connsiteY19" fmla="*/ 108549 h 288861"/>
              <a:gd name="connsiteX20" fmla="*/ 96098 w 170095"/>
              <a:gd name="connsiteY20" fmla="*/ 108549 h 288861"/>
              <a:gd name="connsiteX21" fmla="*/ 96098 w 170095"/>
              <a:gd name="connsiteY21" fmla="*/ 161475 h 288861"/>
              <a:gd name="connsiteX22" fmla="*/ 115500 w 170095"/>
              <a:gd name="connsiteY22" fmla="*/ 161475 h 288861"/>
              <a:gd name="connsiteX23" fmla="*/ 115500 w 170095"/>
              <a:gd name="connsiteY23" fmla="*/ 108549 h 288861"/>
              <a:gd name="connsiteX24" fmla="*/ 53636 w 170095"/>
              <a:gd name="connsiteY24" fmla="*/ 108549 h 288861"/>
              <a:gd name="connsiteX25" fmla="*/ 53636 w 170095"/>
              <a:gd name="connsiteY25" fmla="*/ 161475 h 288861"/>
              <a:gd name="connsiteX26" fmla="*/ 71762 w 170095"/>
              <a:gd name="connsiteY26" fmla="*/ 161475 h 288861"/>
              <a:gd name="connsiteX27" fmla="*/ 71762 w 170095"/>
              <a:gd name="connsiteY27" fmla="*/ 108549 h 288861"/>
              <a:gd name="connsiteX28" fmla="*/ 24902 w 170095"/>
              <a:gd name="connsiteY28" fmla="*/ 108549 h 288861"/>
              <a:gd name="connsiteX29" fmla="*/ 24902 w 170095"/>
              <a:gd name="connsiteY29" fmla="*/ 161475 h 288861"/>
              <a:gd name="connsiteX30" fmla="*/ 43028 w 170095"/>
              <a:gd name="connsiteY30" fmla="*/ 161475 h 288861"/>
              <a:gd name="connsiteX31" fmla="*/ 43028 w 170095"/>
              <a:gd name="connsiteY31" fmla="*/ 108549 h 288861"/>
              <a:gd name="connsiteX32" fmla="*/ 75984 w 170095"/>
              <a:gd name="connsiteY32" fmla="*/ 49167 h 288861"/>
              <a:gd name="connsiteX33" fmla="*/ 75984 w 170095"/>
              <a:gd name="connsiteY33" fmla="*/ 77829 h 288861"/>
              <a:gd name="connsiteX34" fmla="*/ 94110 w 170095"/>
              <a:gd name="connsiteY34" fmla="*/ 77829 h 288861"/>
              <a:gd name="connsiteX35" fmla="*/ 94110 w 170095"/>
              <a:gd name="connsiteY35" fmla="*/ 49167 h 288861"/>
              <a:gd name="connsiteX36" fmla="*/ 75920 w 170095"/>
              <a:gd name="connsiteY36" fmla="*/ 0 h 288861"/>
              <a:gd name="connsiteX37" fmla="*/ 94175 w 170095"/>
              <a:gd name="connsiteY37" fmla="*/ 0 h 288861"/>
              <a:gd name="connsiteX38" fmla="*/ 96059 w 170095"/>
              <a:gd name="connsiteY38" fmla="*/ 1954 h 288861"/>
              <a:gd name="connsiteX39" fmla="*/ 96059 w 170095"/>
              <a:gd name="connsiteY39" fmla="*/ 22076 h 288861"/>
              <a:gd name="connsiteX40" fmla="*/ 100912 w 170095"/>
              <a:gd name="connsiteY40" fmla="*/ 23957 h 288861"/>
              <a:gd name="connsiteX41" fmla="*/ 119168 w 170095"/>
              <a:gd name="connsiteY41" fmla="*/ 23957 h 288861"/>
              <a:gd name="connsiteX42" fmla="*/ 121051 w 170095"/>
              <a:gd name="connsiteY42" fmla="*/ 25912 h 288861"/>
              <a:gd name="connsiteX43" fmla="*/ 121051 w 170095"/>
              <a:gd name="connsiteY43" fmla="*/ 47046 h 288861"/>
              <a:gd name="connsiteX44" fmla="*/ 123007 w 170095"/>
              <a:gd name="connsiteY44" fmla="*/ 48928 h 288861"/>
              <a:gd name="connsiteX45" fmla="*/ 144160 w 170095"/>
              <a:gd name="connsiteY45" fmla="*/ 48928 h 288861"/>
              <a:gd name="connsiteX46" fmla="*/ 146044 w 170095"/>
              <a:gd name="connsiteY46" fmla="*/ 50882 h 288861"/>
              <a:gd name="connsiteX47" fmla="*/ 146044 w 170095"/>
              <a:gd name="connsiteY47" fmla="*/ 71003 h 288861"/>
              <a:gd name="connsiteX48" fmla="*/ 148000 w 170095"/>
              <a:gd name="connsiteY48" fmla="*/ 73898 h 288861"/>
              <a:gd name="connsiteX49" fmla="*/ 166255 w 170095"/>
              <a:gd name="connsiteY49" fmla="*/ 73898 h 288861"/>
              <a:gd name="connsiteX50" fmla="*/ 168139 w 170095"/>
              <a:gd name="connsiteY50" fmla="*/ 75780 h 288861"/>
              <a:gd name="connsiteX51" fmla="*/ 170095 w 170095"/>
              <a:gd name="connsiteY51" fmla="*/ 286907 h 288861"/>
              <a:gd name="connsiteX52" fmla="*/ 168139 w 170095"/>
              <a:gd name="connsiteY52" fmla="*/ 288861 h 288861"/>
              <a:gd name="connsiteX53" fmla="*/ 1956 w 170095"/>
              <a:gd name="connsiteY53" fmla="*/ 288861 h 288861"/>
              <a:gd name="connsiteX54" fmla="*/ 0 w 170095"/>
              <a:gd name="connsiteY54" fmla="*/ 286907 h 288861"/>
              <a:gd name="connsiteX55" fmla="*/ 0 w 170095"/>
              <a:gd name="connsiteY55" fmla="*/ 75780 h 288861"/>
              <a:gd name="connsiteX56" fmla="*/ 1956 w 170095"/>
              <a:gd name="connsiteY56" fmla="*/ 73898 h 288861"/>
              <a:gd name="connsiteX57" fmla="*/ 20212 w 170095"/>
              <a:gd name="connsiteY57" fmla="*/ 73898 h 288861"/>
              <a:gd name="connsiteX58" fmla="*/ 22095 w 170095"/>
              <a:gd name="connsiteY58" fmla="*/ 71003 h 288861"/>
              <a:gd name="connsiteX59" fmla="*/ 22095 w 170095"/>
              <a:gd name="connsiteY59" fmla="*/ 50882 h 288861"/>
              <a:gd name="connsiteX60" fmla="*/ 26949 w 170095"/>
              <a:gd name="connsiteY60" fmla="*/ 48928 h 288861"/>
              <a:gd name="connsiteX61" fmla="*/ 45204 w 170095"/>
              <a:gd name="connsiteY61" fmla="*/ 48928 h 288861"/>
              <a:gd name="connsiteX62" fmla="*/ 47088 w 170095"/>
              <a:gd name="connsiteY62" fmla="*/ 47046 h 288861"/>
              <a:gd name="connsiteX63" fmla="*/ 47088 w 170095"/>
              <a:gd name="connsiteY63" fmla="*/ 25912 h 288861"/>
              <a:gd name="connsiteX64" fmla="*/ 50927 w 170095"/>
              <a:gd name="connsiteY64" fmla="*/ 23957 h 288861"/>
              <a:gd name="connsiteX65" fmla="*/ 70124 w 170095"/>
              <a:gd name="connsiteY65" fmla="*/ 23957 h 288861"/>
              <a:gd name="connsiteX66" fmla="*/ 72080 w 170095"/>
              <a:gd name="connsiteY66" fmla="*/ 22076 h 288861"/>
              <a:gd name="connsiteX67" fmla="*/ 72080 w 170095"/>
              <a:gd name="connsiteY67" fmla="*/ 1954 h 288861"/>
              <a:gd name="connsiteX68" fmla="*/ 75920 w 170095"/>
              <a:gd name="connsiteY68" fmla="*/ 0 h 288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170095" h="288861">
                <a:moveTo>
                  <a:pt x="126747" y="188365"/>
                </a:moveTo>
                <a:lnTo>
                  <a:pt x="126747" y="240333"/>
                </a:lnTo>
                <a:lnTo>
                  <a:pt x="143915" y="240333"/>
                </a:lnTo>
                <a:lnTo>
                  <a:pt x="143915" y="188365"/>
                </a:lnTo>
                <a:close/>
                <a:moveTo>
                  <a:pt x="96098" y="188365"/>
                </a:moveTo>
                <a:lnTo>
                  <a:pt x="96098" y="240333"/>
                </a:lnTo>
                <a:lnTo>
                  <a:pt x="115500" y="240333"/>
                </a:lnTo>
                <a:lnTo>
                  <a:pt x="115500" y="188365"/>
                </a:lnTo>
                <a:close/>
                <a:moveTo>
                  <a:pt x="53636" y="188365"/>
                </a:moveTo>
                <a:lnTo>
                  <a:pt x="53636" y="240333"/>
                </a:lnTo>
                <a:lnTo>
                  <a:pt x="71762" y="240333"/>
                </a:lnTo>
                <a:lnTo>
                  <a:pt x="71762" y="188365"/>
                </a:lnTo>
                <a:close/>
                <a:moveTo>
                  <a:pt x="24902" y="188365"/>
                </a:moveTo>
                <a:lnTo>
                  <a:pt x="24902" y="240333"/>
                </a:lnTo>
                <a:lnTo>
                  <a:pt x="43028" y="240333"/>
                </a:lnTo>
                <a:lnTo>
                  <a:pt x="43028" y="188365"/>
                </a:lnTo>
                <a:close/>
                <a:moveTo>
                  <a:pt x="126747" y="108549"/>
                </a:moveTo>
                <a:lnTo>
                  <a:pt x="126747" y="161475"/>
                </a:lnTo>
                <a:lnTo>
                  <a:pt x="143915" y="161475"/>
                </a:lnTo>
                <a:lnTo>
                  <a:pt x="143915" y="108549"/>
                </a:lnTo>
                <a:close/>
                <a:moveTo>
                  <a:pt x="96098" y="108549"/>
                </a:moveTo>
                <a:lnTo>
                  <a:pt x="96098" y="161475"/>
                </a:lnTo>
                <a:lnTo>
                  <a:pt x="115500" y="161475"/>
                </a:lnTo>
                <a:lnTo>
                  <a:pt x="115500" y="108549"/>
                </a:lnTo>
                <a:close/>
                <a:moveTo>
                  <a:pt x="53636" y="108549"/>
                </a:moveTo>
                <a:lnTo>
                  <a:pt x="53636" y="161475"/>
                </a:lnTo>
                <a:lnTo>
                  <a:pt x="71762" y="161475"/>
                </a:lnTo>
                <a:lnTo>
                  <a:pt x="71762" y="108549"/>
                </a:lnTo>
                <a:close/>
                <a:moveTo>
                  <a:pt x="24902" y="108549"/>
                </a:moveTo>
                <a:lnTo>
                  <a:pt x="24902" y="161475"/>
                </a:lnTo>
                <a:lnTo>
                  <a:pt x="43028" y="161475"/>
                </a:lnTo>
                <a:lnTo>
                  <a:pt x="43028" y="108549"/>
                </a:lnTo>
                <a:close/>
                <a:moveTo>
                  <a:pt x="75984" y="49167"/>
                </a:moveTo>
                <a:lnTo>
                  <a:pt x="75984" y="77829"/>
                </a:lnTo>
                <a:lnTo>
                  <a:pt x="94110" y="77829"/>
                </a:lnTo>
                <a:lnTo>
                  <a:pt x="94110" y="49167"/>
                </a:lnTo>
                <a:close/>
                <a:moveTo>
                  <a:pt x="75920" y="0"/>
                </a:moveTo>
                <a:cubicBezTo>
                  <a:pt x="75920" y="0"/>
                  <a:pt x="75920" y="0"/>
                  <a:pt x="94175" y="0"/>
                </a:cubicBezTo>
                <a:cubicBezTo>
                  <a:pt x="96059" y="0"/>
                  <a:pt x="96059" y="1954"/>
                  <a:pt x="96059" y="1954"/>
                </a:cubicBezTo>
                <a:cubicBezTo>
                  <a:pt x="96059" y="1954"/>
                  <a:pt x="96059" y="1954"/>
                  <a:pt x="96059" y="22076"/>
                </a:cubicBezTo>
                <a:cubicBezTo>
                  <a:pt x="96059" y="23957"/>
                  <a:pt x="98956" y="23957"/>
                  <a:pt x="100912" y="23957"/>
                </a:cubicBezTo>
                <a:cubicBezTo>
                  <a:pt x="100912" y="23957"/>
                  <a:pt x="100912" y="23957"/>
                  <a:pt x="119168" y="23957"/>
                </a:cubicBezTo>
                <a:cubicBezTo>
                  <a:pt x="121051" y="23957"/>
                  <a:pt x="121051" y="25912"/>
                  <a:pt x="121051" y="25912"/>
                </a:cubicBezTo>
                <a:cubicBezTo>
                  <a:pt x="121051" y="25912"/>
                  <a:pt x="121051" y="25912"/>
                  <a:pt x="121051" y="47046"/>
                </a:cubicBezTo>
                <a:lnTo>
                  <a:pt x="123007" y="48928"/>
                </a:lnTo>
                <a:cubicBezTo>
                  <a:pt x="123007" y="48928"/>
                  <a:pt x="123007" y="48928"/>
                  <a:pt x="144160" y="48928"/>
                </a:cubicBezTo>
                <a:cubicBezTo>
                  <a:pt x="146044" y="48928"/>
                  <a:pt x="146044" y="50882"/>
                  <a:pt x="146044" y="50882"/>
                </a:cubicBezTo>
                <a:cubicBezTo>
                  <a:pt x="146044" y="50882"/>
                  <a:pt x="146044" y="50882"/>
                  <a:pt x="146044" y="71003"/>
                </a:cubicBezTo>
                <a:lnTo>
                  <a:pt x="148000" y="73898"/>
                </a:lnTo>
                <a:cubicBezTo>
                  <a:pt x="148000" y="73898"/>
                  <a:pt x="148000" y="73898"/>
                  <a:pt x="166255" y="73898"/>
                </a:cubicBezTo>
                <a:cubicBezTo>
                  <a:pt x="168139" y="73898"/>
                  <a:pt x="168139" y="75780"/>
                  <a:pt x="168139" y="75780"/>
                </a:cubicBezTo>
                <a:cubicBezTo>
                  <a:pt x="168139" y="75780"/>
                  <a:pt x="168139" y="75780"/>
                  <a:pt x="170095" y="286907"/>
                </a:cubicBezTo>
                <a:lnTo>
                  <a:pt x="168139" y="288861"/>
                </a:lnTo>
                <a:lnTo>
                  <a:pt x="1956" y="288861"/>
                </a:lnTo>
                <a:lnTo>
                  <a:pt x="0" y="286907"/>
                </a:lnTo>
                <a:cubicBezTo>
                  <a:pt x="0" y="286907"/>
                  <a:pt x="0" y="286907"/>
                  <a:pt x="0" y="75780"/>
                </a:cubicBezTo>
                <a:cubicBezTo>
                  <a:pt x="0" y="75780"/>
                  <a:pt x="0" y="73898"/>
                  <a:pt x="1956" y="73898"/>
                </a:cubicBezTo>
                <a:cubicBezTo>
                  <a:pt x="1956" y="73898"/>
                  <a:pt x="1956" y="73898"/>
                  <a:pt x="20212" y="73898"/>
                </a:cubicBezTo>
                <a:cubicBezTo>
                  <a:pt x="22095" y="73898"/>
                  <a:pt x="22095" y="71003"/>
                  <a:pt x="22095" y="71003"/>
                </a:cubicBezTo>
                <a:cubicBezTo>
                  <a:pt x="22095" y="71003"/>
                  <a:pt x="22095" y="71003"/>
                  <a:pt x="22095" y="50882"/>
                </a:cubicBezTo>
                <a:cubicBezTo>
                  <a:pt x="22095" y="50882"/>
                  <a:pt x="24993" y="48928"/>
                  <a:pt x="26949" y="48928"/>
                </a:cubicBezTo>
                <a:cubicBezTo>
                  <a:pt x="26949" y="48928"/>
                  <a:pt x="26949" y="48928"/>
                  <a:pt x="45204" y="48928"/>
                </a:cubicBezTo>
                <a:cubicBezTo>
                  <a:pt x="47088" y="48928"/>
                  <a:pt x="47088" y="47046"/>
                  <a:pt x="47088" y="47046"/>
                </a:cubicBezTo>
                <a:cubicBezTo>
                  <a:pt x="47088" y="47046"/>
                  <a:pt x="47088" y="47046"/>
                  <a:pt x="47088" y="25912"/>
                </a:cubicBezTo>
                <a:cubicBezTo>
                  <a:pt x="47088" y="25912"/>
                  <a:pt x="49044" y="23957"/>
                  <a:pt x="50927" y="23957"/>
                </a:cubicBezTo>
                <a:cubicBezTo>
                  <a:pt x="50927" y="23957"/>
                  <a:pt x="50927" y="23957"/>
                  <a:pt x="70124" y="23957"/>
                </a:cubicBezTo>
                <a:cubicBezTo>
                  <a:pt x="72080" y="23957"/>
                  <a:pt x="72080" y="23957"/>
                  <a:pt x="72080" y="22076"/>
                </a:cubicBezTo>
                <a:cubicBezTo>
                  <a:pt x="72080" y="22076"/>
                  <a:pt x="72080" y="22076"/>
                  <a:pt x="72080" y="1954"/>
                </a:cubicBezTo>
                <a:cubicBezTo>
                  <a:pt x="72080" y="1954"/>
                  <a:pt x="73964" y="0"/>
                  <a:pt x="75920" y="0"/>
                </a:cubicBezTo>
                <a:close/>
              </a:path>
            </a:pathLst>
          </a:custGeom>
          <a:solidFill>
            <a:schemeClr val="tx1"/>
          </a:solidFill>
          <a:ln>
            <a:noFill/>
          </a:ln>
          <a:effectLst/>
        </p:spPr>
        <p:txBody>
          <a:bodyPr wrap="square" t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6" name="Text Placeholder 9">
            <a:extLst>
              <a:ext uri="{FF2B5EF4-FFF2-40B4-BE49-F238E27FC236}">
                <a16:creationId xmlns:a16="http://schemas.microsoft.com/office/drawing/2014/main" id="{29E7463E-5FFE-4530-B0EA-19BEDD45BC47}"/>
              </a:ext>
            </a:extLst>
          </p:cNvPr>
          <p:cNvSpPr txBox="1">
            <a:spLocks/>
          </p:cNvSpPr>
          <p:nvPr/>
        </p:nvSpPr>
        <p:spPr>
          <a:xfrm>
            <a:off x="7311835" y="3790627"/>
            <a:ext cx="1817379" cy="2392459"/>
          </a:xfrm>
          <a:prstGeom prst="rect">
            <a:avLst/>
          </a:prstGeom>
          <a:solidFill>
            <a:schemeClr val="bg1">
              <a:lumMod val="95000"/>
            </a:schemeClr>
          </a:solidFill>
          <a:ln>
            <a:solidFill>
              <a:schemeClr val="bg1">
                <a:lumMod val="75000"/>
              </a:schemeClr>
            </a:solidFill>
          </a:ln>
        </p:spPr>
        <p:txBody>
          <a:bodyPr vert="horz" lIns="91440" tIns="72000" rIns="91440" bIns="45720" rtlCol="0" anchor="t">
            <a:noAutofit/>
          </a:bodyPr>
          <a:lstStyle>
            <a:defPPr>
              <a:defRPr lang="nl-NL"/>
            </a:defPPr>
            <a:lvl1pPr marR="0" lvl="0" indent="0" algn="ctr" defTabSz="685800" fontAlgn="auto">
              <a:lnSpc>
                <a:spcPct val="90000"/>
              </a:lnSpc>
              <a:spcBef>
                <a:spcPts val="750"/>
              </a:spcBef>
              <a:spcAft>
                <a:spcPts val="0"/>
              </a:spcAft>
              <a:buClr>
                <a:srgbClr val="FF0000"/>
              </a:buClr>
              <a:buSzTx/>
              <a:buFontTx/>
              <a:buNone/>
              <a:tabLst/>
              <a:defRPr kumimoji="0" sz="1050" b="1" i="0" u="none" strike="noStrike" cap="none" spc="0" normalizeH="0" baseline="0">
                <a:ln>
                  <a:noFill/>
                </a:ln>
                <a:solidFill>
                  <a:srgbClr val="FFFFFF"/>
                </a:solidFill>
                <a:effectLst/>
                <a:uLnTx/>
                <a:uFillTx/>
                <a:latin typeface="Corbel" panose="020B0503020204020204" pitchFamily="34" charset="0"/>
              </a:defRPr>
            </a:lvl1pPr>
            <a:lvl2pPr marL="185738" indent="-185738" defTabSz="685800">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defRPr>
            </a:lvl2pPr>
            <a:lvl3pPr marL="357188" indent="-176213"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3pPr>
            <a:lvl4pPr marL="542925" indent="-180975"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4pPr>
            <a:lvl5pPr marL="714375" indent="-171450" defTabSz="685800">
              <a:lnSpc>
                <a:spcPct val="90000"/>
              </a:lnSpc>
              <a:spcBef>
                <a:spcPts val="375"/>
              </a:spcBef>
              <a:buClr>
                <a:schemeClr val="tx2"/>
              </a:buClr>
              <a:buSzPct val="100000"/>
              <a:buFontTx/>
              <a:buChar char="-"/>
              <a:defRPr sz="1400">
                <a:solidFill>
                  <a:srgbClr val="000000"/>
                </a:solidFill>
                <a:latin typeface="Corbel" panose="020B0503020204020204" pitchFamily="34" charset="0"/>
              </a:defRPr>
            </a:lvl5pPr>
            <a:lvl6pPr marL="895350" indent="-180975" defTabSz="685800">
              <a:lnSpc>
                <a:spcPct val="90000"/>
              </a:lnSpc>
              <a:spcBef>
                <a:spcPts val="375"/>
              </a:spcBef>
              <a:buClr>
                <a:schemeClr val="tx2"/>
              </a:buClr>
              <a:buFontTx/>
              <a:buChar char="-"/>
              <a:defRPr sz="1400">
                <a:solidFill>
                  <a:srgbClr val="000000"/>
                </a:solidFill>
              </a:defRPr>
            </a:lvl6pPr>
            <a:lvl7pPr marL="1076325" indent="-180975" defTabSz="685800">
              <a:lnSpc>
                <a:spcPct val="90000"/>
              </a:lnSpc>
              <a:spcBef>
                <a:spcPts val="375"/>
              </a:spcBef>
              <a:buClr>
                <a:schemeClr val="tx2"/>
              </a:buClr>
              <a:buFontTx/>
              <a:buChar char="-"/>
              <a:defRPr sz="1400">
                <a:solidFill>
                  <a:srgbClr val="000000"/>
                </a:solidFill>
              </a:defRPr>
            </a:lvl7pPr>
            <a:lvl8pPr marL="1257300" indent="-180975" defTabSz="685800">
              <a:lnSpc>
                <a:spcPct val="90000"/>
              </a:lnSpc>
              <a:spcBef>
                <a:spcPts val="375"/>
              </a:spcBef>
              <a:buClr>
                <a:schemeClr val="tx2"/>
              </a:buClr>
              <a:buFontTx/>
              <a:buChar char="-"/>
              <a:defRPr sz="1400">
                <a:solidFill>
                  <a:srgbClr val="000000"/>
                </a:solidFill>
              </a:defRPr>
            </a:lvl8pPr>
            <a:lvl9pPr marL="1438275" indent="-180975" defTabSz="685800">
              <a:lnSpc>
                <a:spcPct val="90000"/>
              </a:lnSpc>
              <a:spcBef>
                <a:spcPts val="375"/>
              </a:spcBef>
              <a:buClr>
                <a:schemeClr val="tx2"/>
              </a:buClr>
              <a:buFontTx/>
              <a:buChar char="-"/>
              <a:defRPr sz="1400">
                <a:solidFill>
                  <a:srgbClr val="000000"/>
                </a:solidFill>
              </a:defRPr>
            </a:lvl9p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0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Wonen en groen</a:t>
            </a:r>
          </a:p>
        </p:txBody>
      </p:sp>
      <p:sp>
        <p:nvSpPr>
          <p:cNvPr id="207" name="Freeform: Shape 206">
            <a:hlinkClick r:id="" action="ppaction://noaction"/>
            <a:extLst>
              <a:ext uri="{FF2B5EF4-FFF2-40B4-BE49-F238E27FC236}">
                <a16:creationId xmlns:a16="http://schemas.microsoft.com/office/drawing/2014/main" id="{9E11E936-41AD-47BE-BD6B-77C7C0BF4A6E}"/>
              </a:ext>
            </a:extLst>
          </p:cNvPr>
          <p:cNvSpPr>
            <a:spLocks noChangeArrowheads="1"/>
          </p:cNvSpPr>
          <p:nvPr/>
        </p:nvSpPr>
        <p:spPr bwMode="auto">
          <a:xfrm>
            <a:off x="8049158" y="4187307"/>
            <a:ext cx="342732" cy="267852"/>
          </a:xfrm>
          <a:custGeom>
            <a:avLst/>
            <a:gdLst>
              <a:gd name="connsiteX0" fmla="*/ 396797 w 679466"/>
              <a:gd name="connsiteY0" fmla="*/ 370577 h 531016"/>
              <a:gd name="connsiteX1" fmla="*/ 475565 w 679466"/>
              <a:gd name="connsiteY1" fmla="*/ 370577 h 531016"/>
              <a:gd name="connsiteX2" fmla="*/ 475565 w 679466"/>
              <a:gd name="connsiteY2" fmla="*/ 452678 h 531016"/>
              <a:gd name="connsiteX3" fmla="*/ 396797 w 679466"/>
              <a:gd name="connsiteY3" fmla="*/ 452678 h 531016"/>
              <a:gd name="connsiteX4" fmla="*/ 292897 w 679466"/>
              <a:gd name="connsiteY4" fmla="*/ 313874 h 531016"/>
              <a:gd name="connsiteX5" fmla="*/ 277909 w 679466"/>
              <a:gd name="connsiteY5" fmla="*/ 345614 h 531016"/>
              <a:gd name="connsiteX6" fmla="*/ 306247 w 679466"/>
              <a:gd name="connsiteY6" fmla="*/ 335663 h 531016"/>
              <a:gd name="connsiteX7" fmla="*/ 292897 w 679466"/>
              <a:gd name="connsiteY7" fmla="*/ 313874 h 531016"/>
              <a:gd name="connsiteX8" fmla="*/ 281184 w 679466"/>
              <a:gd name="connsiteY8" fmla="*/ 313874 h 531016"/>
              <a:gd name="connsiteX9" fmla="*/ 239495 w 679466"/>
              <a:gd name="connsiteY9" fmla="*/ 320675 h 531016"/>
              <a:gd name="connsiteX10" fmla="*/ 252845 w 679466"/>
              <a:gd name="connsiteY10" fmla="*/ 357327 h 531016"/>
              <a:gd name="connsiteX11" fmla="*/ 281184 w 679466"/>
              <a:gd name="connsiteY11" fmla="*/ 313874 h 531016"/>
              <a:gd name="connsiteX12" fmla="*/ 211031 w 679466"/>
              <a:gd name="connsiteY12" fmla="*/ 310599 h 531016"/>
              <a:gd name="connsiteX13" fmla="*/ 189368 w 679466"/>
              <a:gd name="connsiteY13" fmla="*/ 352289 h 531016"/>
              <a:gd name="connsiteX14" fmla="*/ 217706 w 679466"/>
              <a:gd name="connsiteY14" fmla="*/ 370679 h 531016"/>
              <a:gd name="connsiteX15" fmla="*/ 221107 w 679466"/>
              <a:gd name="connsiteY15" fmla="*/ 317274 h 531016"/>
              <a:gd name="connsiteX16" fmla="*/ 211031 w 679466"/>
              <a:gd name="connsiteY16" fmla="*/ 310599 h 531016"/>
              <a:gd name="connsiteX17" fmla="*/ 518471 w 679466"/>
              <a:gd name="connsiteY17" fmla="*/ 248903 h 531016"/>
              <a:gd name="connsiteX18" fmla="*/ 597239 w 679466"/>
              <a:gd name="connsiteY18" fmla="*/ 248903 h 531016"/>
              <a:gd name="connsiteX19" fmla="*/ 597239 w 679466"/>
              <a:gd name="connsiteY19" fmla="*/ 331003 h 531016"/>
              <a:gd name="connsiteX20" fmla="*/ 518471 w 679466"/>
              <a:gd name="connsiteY20" fmla="*/ 331003 h 531016"/>
              <a:gd name="connsiteX21" fmla="*/ 497232 w 679466"/>
              <a:gd name="connsiteY21" fmla="*/ 106739 h 531016"/>
              <a:gd name="connsiteX22" fmla="*/ 458064 w 679466"/>
              <a:gd name="connsiteY22" fmla="*/ 141400 h 531016"/>
              <a:gd name="connsiteX23" fmla="*/ 439178 w 679466"/>
              <a:gd name="connsiteY23" fmla="*/ 158114 h 531016"/>
              <a:gd name="connsiteX24" fmla="*/ 458077 w 679466"/>
              <a:gd name="connsiteY24" fmla="*/ 177609 h 531016"/>
              <a:gd name="connsiteX25" fmla="*/ 468342 w 679466"/>
              <a:gd name="connsiteY25" fmla="*/ 213741 h 531016"/>
              <a:gd name="connsiteX26" fmla="*/ 460187 w 679466"/>
              <a:gd name="connsiteY26" fmla="*/ 248174 h 531016"/>
              <a:gd name="connsiteX27" fmla="*/ 459563 w 679466"/>
              <a:gd name="connsiteY27" fmla="*/ 248903 h 531016"/>
              <a:gd name="connsiteX28" fmla="*/ 475565 w 679466"/>
              <a:gd name="connsiteY28" fmla="*/ 248903 h 531016"/>
              <a:gd name="connsiteX29" fmla="*/ 475565 w 679466"/>
              <a:gd name="connsiteY29" fmla="*/ 331003 h 531016"/>
              <a:gd name="connsiteX30" fmla="*/ 416992 w 679466"/>
              <a:gd name="connsiteY30" fmla="*/ 331003 h 531016"/>
              <a:gd name="connsiteX31" fmla="*/ 415302 w 679466"/>
              <a:gd name="connsiteY31" fmla="*/ 333569 h 531016"/>
              <a:gd name="connsiteX32" fmla="*/ 359775 w 679466"/>
              <a:gd name="connsiteY32" fmla="*/ 357327 h 531016"/>
              <a:gd name="connsiteX33" fmla="*/ 342205 w 679466"/>
              <a:gd name="connsiteY33" fmla="*/ 354399 h 531016"/>
              <a:gd name="connsiteX34" fmla="*/ 336801 w 679466"/>
              <a:gd name="connsiteY34" fmla="*/ 352743 h 531016"/>
              <a:gd name="connsiteX35" fmla="*/ 336801 w 679466"/>
              <a:gd name="connsiteY35" fmla="*/ 362962 h 531016"/>
              <a:gd name="connsiteX36" fmla="*/ 336801 w 679466"/>
              <a:gd name="connsiteY36" fmla="*/ 512624 h 531016"/>
              <a:gd name="connsiteX37" fmla="*/ 472165 w 679466"/>
              <a:gd name="connsiteY37" fmla="*/ 512624 h 531016"/>
              <a:gd name="connsiteX38" fmla="*/ 518471 w 679466"/>
              <a:gd name="connsiteY38" fmla="*/ 512624 h 531016"/>
              <a:gd name="connsiteX39" fmla="*/ 518471 w 679466"/>
              <a:gd name="connsiteY39" fmla="*/ 370577 h 531016"/>
              <a:gd name="connsiteX40" fmla="*/ 597239 w 679466"/>
              <a:gd name="connsiteY40" fmla="*/ 370577 h 531016"/>
              <a:gd name="connsiteX41" fmla="*/ 597239 w 679466"/>
              <a:gd name="connsiteY41" fmla="*/ 512624 h 531016"/>
              <a:gd name="connsiteX42" fmla="*/ 601183 w 679466"/>
              <a:gd name="connsiteY42" fmla="*/ 512624 h 531016"/>
              <a:gd name="connsiteX43" fmla="*/ 657663 w 679466"/>
              <a:gd name="connsiteY43" fmla="*/ 512624 h 531016"/>
              <a:gd name="connsiteX44" fmla="*/ 657663 w 679466"/>
              <a:gd name="connsiteY44" fmla="*/ 253750 h 531016"/>
              <a:gd name="connsiteX45" fmla="*/ 657663 w 679466"/>
              <a:gd name="connsiteY45" fmla="*/ 248711 h 531016"/>
              <a:gd name="connsiteX46" fmla="*/ 497232 w 679466"/>
              <a:gd name="connsiteY46" fmla="*/ 106739 h 531016"/>
              <a:gd name="connsiteX47" fmla="*/ 569030 w 679466"/>
              <a:gd name="connsiteY47" fmla="*/ 78337 h 531016"/>
              <a:gd name="connsiteX48" fmla="*/ 629463 w 679466"/>
              <a:gd name="connsiteY48" fmla="*/ 78337 h 531016"/>
              <a:gd name="connsiteX49" fmla="*/ 629463 w 679466"/>
              <a:gd name="connsiteY49" fmla="*/ 170438 h 531016"/>
              <a:gd name="connsiteX50" fmla="*/ 607717 w 679466"/>
              <a:gd name="connsiteY50" fmla="*/ 153762 h 531016"/>
              <a:gd name="connsiteX51" fmla="*/ 607717 w 679466"/>
              <a:gd name="connsiteY51" fmla="*/ 100067 h 531016"/>
              <a:gd name="connsiteX52" fmla="*/ 585845 w 679466"/>
              <a:gd name="connsiteY52" fmla="*/ 100067 h 531016"/>
              <a:gd name="connsiteX53" fmla="*/ 585845 w 679466"/>
              <a:gd name="connsiteY53" fmla="*/ 135316 h 531016"/>
              <a:gd name="connsiteX54" fmla="*/ 569030 w 679466"/>
              <a:gd name="connsiteY54" fmla="*/ 116870 h 531016"/>
              <a:gd name="connsiteX55" fmla="*/ 267833 w 679466"/>
              <a:gd name="connsiteY55" fmla="*/ 0 h 531016"/>
              <a:gd name="connsiteX56" fmla="*/ 346425 w 679466"/>
              <a:gd name="connsiteY56" fmla="*/ 66755 h 531016"/>
              <a:gd name="connsiteX57" fmla="*/ 353100 w 679466"/>
              <a:gd name="connsiteY57" fmla="*/ 66755 h 531016"/>
              <a:gd name="connsiteX58" fmla="*/ 425398 w 679466"/>
              <a:gd name="connsiteY58" fmla="*/ 112558 h 531016"/>
              <a:gd name="connsiteX59" fmla="*/ 430851 w 679466"/>
              <a:gd name="connsiteY59" fmla="*/ 138546 h 531016"/>
              <a:gd name="connsiteX60" fmla="*/ 455732 w 679466"/>
              <a:gd name="connsiteY60" fmla="*/ 116260 h 531016"/>
              <a:gd name="connsiteX61" fmla="*/ 485512 w 679466"/>
              <a:gd name="connsiteY61" fmla="*/ 88347 h 531016"/>
              <a:gd name="connsiteX62" fmla="*/ 497075 w 679466"/>
              <a:gd name="connsiteY62" fmla="*/ 83340 h 531016"/>
              <a:gd name="connsiteX63" fmla="*/ 507315 w 679466"/>
              <a:gd name="connsiteY63" fmla="*/ 88347 h 531016"/>
              <a:gd name="connsiteX64" fmla="*/ 672787 w 679466"/>
              <a:gd name="connsiteY64" fmla="*/ 235358 h 531016"/>
              <a:gd name="connsiteX65" fmla="*/ 679466 w 679466"/>
              <a:gd name="connsiteY65" fmla="*/ 253750 h 531016"/>
              <a:gd name="connsiteX66" fmla="*/ 679466 w 679466"/>
              <a:gd name="connsiteY66" fmla="*/ 524340 h 531016"/>
              <a:gd name="connsiteX67" fmla="*/ 667746 w 679466"/>
              <a:gd name="connsiteY67" fmla="*/ 531016 h 531016"/>
              <a:gd name="connsiteX68" fmla="*/ 325081 w 679466"/>
              <a:gd name="connsiteY68" fmla="*/ 531016 h 531016"/>
              <a:gd name="connsiteX69" fmla="*/ 315125 w 679466"/>
              <a:gd name="connsiteY69" fmla="*/ 524340 h 531016"/>
              <a:gd name="connsiteX70" fmla="*/ 315125 w 679466"/>
              <a:gd name="connsiteY70" fmla="*/ 410185 h 531016"/>
              <a:gd name="connsiteX71" fmla="*/ 315125 w 679466"/>
              <a:gd name="connsiteY71" fmla="*/ 355002 h 531016"/>
              <a:gd name="connsiteX72" fmla="*/ 300454 w 679466"/>
              <a:gd name="connsiteY72" fmla="*/ 364239 h 531016"/>
              <a:gd name="connsiteX73" fmla="*/ 281184 w 679466"/>
              <a:gd name="connsiteY73" fmla="*/ 370679 h 531016"/>
              <a:gd name="connsiteX74" fmla="*/ 277909 w 679466"/>
              <a:gd name="connsiteY74" fmla="*/ 442472 h 531016"/>
              <a:gd name="connsiteX75" fmla="*/ 292897 w 679466"/>
              <a:gd name="connsiteY75" fmla="*/ 531016 h 531016"/>
              <a:gd name="connsiteX76" fmla="*/ 199444 w 679466"/>
              <a:gd name="connsiteY76" fmla="*/ 531016 h 531016"/>
              <a:gd name="connsiteX77" fmla="*/ 214431 w 679466"/>
              <a:gd name="connsiteY77" fmla="*/ 452548 h 531016"/>
              <a:gd name="connsiteX78" fmla="*/ 207756 w 679466"/>
              <a:gd name="connsiteY78" fmla="*/ 399144 h 531016"/>
              <a:gd name="connsiteX79" fmla="*/ 174380 w 679466"/>
              <a:gd name="connsiteY79" fmla="*/ 367403 h 531016"/>
              <a:gd name="connsiteX80" fmla="*/ 132565 w 679466"/>
              <a:gd name="connsiteY80" fmla="*/ 377354 h 531016"/>
              <a:gd name="connsiteX81" fmla="*/ 57374 w 679466"/>
              <a:gd name="connsiteY81" fmla="*/ 310599 h 531016"/>
              <a:gd name="connsiteX82" fmla="*/ 572 w 679466"/>
              <a:gd name="connsiteY82" fmla="*/ 238806 h 531016"/>
              <a:gd name="connsiteX83" fmla="*/ 23998 w 679466"/>
              <a:gd name="connsiteY83" fmla="*/ 185402 h 531016"/>
              <a:gd name="connsiteX84" fmla="*/ 17323 w 679466"/>
              <a:gd name="connsiteY84" fmla="*/ 156937 h 531016"/>
              <a:gd name="connsiteX85" fmla="*/ 89113 w 679466"/>
              <a:gd name="connsiteY85" fmla="*/ 81869 h 531016"/>
              <a:gd name="connsiteX86" fmla="*/ 161029 w 679466"/>
              <a:gd name="connsiteY86" fmla="*/ 28339 h 531016"/>
              <a:gd name="connsiteX87" fmla="*/ 199444 w 679466"/>
              <a:gd name="connsiteY87" fmla="*/ 41690 h 531016"/>
              <a:gd name="connsiteX88" fmla="*/ 267833 w 679466"/>
              <a:gd name="connsiteY88" fmla="*/ 0 h 531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79466" h="531016">
                <a:moveTo>
                  <a:pt x="396797" y="370577"/>
                </a:moveTo>
                <a:lnTo>
                  <a:pt x="475565" y="370577"/>
                </a:lnTo>
                <a:lnTo>
                  <a:pt x="475565" y="452678"/>
                </a:lnTo>
                <a:lnTo>
                  <a:pt x="396797" y="452678"/>
                </a:lnTo>
                <a:close/>
                <a:moveTo>
                  <a:pt x="292897" y="313874"/>
                </a:moveTo>
                <a:cubicBezTo>
                  <a:pt x="292897" y="313874"/>
                  <a:pt x="292897" y="313874"/>
                  <a:pt x="277909" y="345614"/>
                </a:cubicBezTo>
                <a:cubicBezTo>
                  <a:pt x="277909" y="345614"/>
                  <a:pt x="286222" y="349014"/>
                  <a:pt x="306247" y="335663"/>
                </a:cubicBezTo>
                <a:cubicBezTo>
                  <a:pt x="302973" y="327351"/>
                  <a:pt x="296297" y="323950"/>
                  <a:pt x="292897" y="313874"/>
                </a:cubicBezTo>
                <a:close/>
                <a:moveTo>
                  <a:pt x="281184" y="313874"/>
                </a:moveTo>
                <a:cubicBezTo>
                  <a:pt x="264559" y="323950"/>
                  <a:pt x="239495" y="320675"/>
                  <a:pt x="239495" y="320675"/>
                </a:cubicBezTo>
                <a:cubicBezTo>
                  <a:pt x="239495" y="335663"/>
                  <a:pt x="246170" y="352289"/>
                  <a:pt x="252845" y="357327"/>
                </a:cubicBezTo>
                <a:cubicBezTo>
                  <a:pt x="261158" y="357327"/>
                  <a:pt x="271234" y="332263"/>
                  <a:pt x="281184" y="313874"/>
                </a:cubicBezTo>
                <a:close/>
                <a:moveTo>
                  <a:pt x="211031" y="310599"/>
                </a:moveTo>
                <a:cubicBezTo>
                  <a:pt x="207756" y="327351"/>
                  <a:pt x="189368" y="352289"/>
                  <a:pt x="189368" y="352289"/>
                </a:cubicBezTo>
                <a:cubicBezTo>
                  <a:pt x="199444" y="360728"/>
                  <a:pt x="211031" y="367403"/>
                  <a:pt x="217706" y="370679"/>
                </a:cubicBezTo>
                <a:cubicBezTo>
                  <a:pt x="236094" y="374079"/>
                  <a:pt x="224507" y="338938"/>
                  <a:pt x="221107" y="317274"/>
                </a:cubicBezTo>
                <a:cubicBezTo>
                  <a:pt x="217706" y="313874"/>
                  <a:pt x="214431" y="313874"/>
                  <a:pt x="211031" y="310599"/>
                </a:cubicBezTo>
                <a:close/>
                <a:moveTo>
                  <a:pt x="518471" y="248903"/>
                </a:moveTo>
                <a:lnTo>
                  <a:pt x="597239" y="248903"/>
                </a:lnTo>
                <a:lnTo>
                  <a:pt x="597239" y="331003"/>
                </a:lnTo>
                <a:lnTo>
                  <a:pt x="518471" y="331003"/>
                </a:lnTo>
                <a:close/>
                <a:moveTo>
                  <a:pt x="497232" y="106739"/>
                </a:moveTo>
                <a:cubicBezTo>
                  <a:pt x="497232" y="106739"/>
                  <a:pt x="497232" y="106739"/>
                  <a:pt x="458064" y="141400"/>
                </a:cubicBezTo>
                <a:lnTo>
                  <a:pt x="439178" y="158114"/>
                </a:lnTo>
                <a:lnTo>
                  <a:pt x="458077" y="177609"/>
                </a:lnTo>
                <a:cubicBezTo>
                  <a:pt x="464563" y="188677"/>
                  <a:pt x="468342" y="201209"/>
                  <a:pt x="468342" y="213741"/>
                </a:cubicBezTo>
                <a:cubicBezTo>
                  <a:pt x="468342" y="226274"/>
                  <a:pt x="465414" y="237956"/>
                  <a:pt x="460187" y="248174"/>
                </a:cubicBezTo>
                <a:lnTo>
                  <a:pt x="459563" y="248903"/>
                </a:lnTo>
                <a:lnTo>
                  <a:pt x="475565" y="248903"/>
                </a:lnTo>
                <a:lnTo>
                  <a:pt x="475565" y="331003"/>
                </a:lnTo>
                <a:lnTo>
                  <a:pt x="416992" y="331003"/>
                </a:lnTo>
                <a:lnTo>
                  <a:pt x="415302" y="333569"/>
                </a:lnTo>
                <a:cubicBezTo>
                  <a:pt x="401117" y="348164"/>
                  <a:pt x="381501" y="357327"/>
                  <a:pt x="359775" y="357327"/>
                </a:cubicBezTo>
                <a:cubicBezTo>
                  <a:pt x="354737" y="357327"/>
                  <a:pt x="348471" y="356068"/>
                  <a:pt x="342205" y="354399"/>
                </a:cubicBezTo>
                <a:lnTo>
                  <a:pt x="336801" y="352743"/>
                </a:lnTo>
                <a:lnTo>
                  <a:pt x="336801" y="362962"/>
                </a:lnTo>
                <a:cubicBezTo>
                  <a:pt x="336801" y="399367"/>
                  <a:pt x="336801" y="447906"/>
                  <a:pt x="336801" y="512624"/>
                </a:cubicBezTo>
                <a:cubicBezTo>
                  <a:pt x="336801" y="512624"/>
                  <a:pt x="336801" y="512624"/>
                  <a:pt x="472165" y="512624"/>
                </a:cubicBezTo>
                <a:lnTo>
                  <a:pt x="518471" y="512624"/>
                </a:lnTo>
                <a:lnTo>
                  <a:pt x="518471" y="370577"/>
                </a:lnTo>
                <a:lnTo>
                  <a:pt x="597239" y="370577"/>
                </a:lnTo>
                <a:lnTo>
                  <a:pt x="597239" y="512624"/>
                </a:lnTo>
                <a:lnTo>
                  <a:pt x="601183" y="512624"/>
                </a:lnTo>
                <a:cubicBezTo>
                  <a:pt x="618809" y="512624"/>
                  <a:pt x="637609" y="512624"/>
                  <a:pt x="657663" y="512624"/>
                </a:cubicBezTo>
                <a:cubicBezTo>
                  <a:pt x="657663" y="512624"/>
                  <a:pt x="657663" y="512624"/>
                  <a:pt x="657663" y="253750"/>
                </a:cubicBezTo>
                <a:lnTo>
                  <a:pt x="657663" y="248711"/>
                </a:lnTo>
                <a:cubicBezTo>
                  <a:pt x="657663" y="248711"/>
                  <a:pt x="657663" y="248711"/>
                  <a:pt x="497232" y="106739"/>
                </a:cubicBezTo>
                <a:close/>
                <a:moveTo>
                  <a:pt x="569030" y="78337"/>
                </a:moveTo>
                <a:lnTo>
                  <a:pt x="629463" y="78337"/>
                </a:lnTo>
                <a:lnTo>
                  <a:pt x="629463" y="170438"/>
                </a:lnTo>
                <a:lnTo>
                  <a:pt x="607717" y="153762"/>
                </a:lnTo>
                <a:lnTo>
                  <a:pt x="607717" y="100067"/>
                </a:lnTo>
                <a:lnTo>
                  <a:pt x="585845" y="100067"/>
                </a:lnTo>
                <a:lnTo>
                  <a:pt x="585845" y="135316"/>
                </a:lnTo>
                <a:lnTo>
                  <a:pt x="569030" y="116870"/>
                </a:lnTo>
                <a:close/>
                <a:moveTo>
                  <a:pt x="267833" y="0"/>
                </a:moveTo>
                <a:cubicBezTo>
                  <a:pt x="306247" y="0"/>
                  <a:pt x="339749" y="28339"/>
                  <a:pt x="346425" y="66755"/>
                </a:cubicBezTo>
                <a:cubicBezTo>
                  <a:pt x="349699" y="66755"/>
                  <a:pt x="353100" y="66755"/>
                  <a:pt x="353100" y="66755"/>
                </a:cubicBezTo>
                <a:cubicBezTo>
                  <a:pt x="385595" y="66755"/>
                  <a:pt x="413484" y="85530"/>
                  <a:pt x="425398" y="112558"/>
                </a:cubicBezTo>
                <a:lnTo>
                  <a:pt x="430851" y="138546"/>
                </a:lnTo>
                <a:lnTo>
                  <a:pt x="455732" y="116260"/>
                </a:lnTo>
                <a:cubicBezTo>
                  <a:pt x="471547" y="101929"/>
                  <a:pt x="483023" y="91276"/>
                  <a:pt x="485512" y="88347"/>
                </a:cubicBezTo>
                <a:cubicBezTo>
                  <a:pt x="489734" y="85009"/>
                  <a:pt x="493515" y="83340"/>
                  <a:pt x="497075" y="83340"/>
                </a:cubicBezTo>
                <a:cubicBezTo>
                  <a:pt x="500635" y="83340"/>
                  <a:pt x="503975" y="85009"/>
                  <a:pt x="507315" y="88347"/>
                </a:cubicBezTo>
                <a:cubicBezTo>
                  <a:pt x="510591" y="91749"/>
                  <a:pt x="672787" y="235358"/>
                  <a:pt x="672787" y="235358"/>
                </a:cubicBezTo>
                <a:cubicBezTo>
                  <a:pt x="676063" y="238759"/>
                  <a:pt x="679466" y="245435"/>
                  <a:pt x="679466" y="253750"/>
                </a:cubicBezTo>
                <a:cubicBezTo>
                  <a:pt x="679466" y="253750"/>
                  <a:pt x="679466" y="253750"/>
                  <a:pt x="679466" y="524340"/>
                </a:cubicBezTo>
                <a:cubicBezTo>
                  <a:pt x="679466" y="527615"/>
                  <a:pt x="676063" y="531016"/>
                  <a:pt x="667746" y="531016"/>
                </a:cubicBezTo>
                <a:cubicBezTo>
                  <a:pt x="667746" y="531016"/>
                  <a:pt x="667746" y="531016"/>
                  <a:pt x="325081" y="531016"/>
                </a:cubicBezTo>
                <a:cubicBezTo>
                  <a:pt x="318402" y="531016"/>
                  <a:pt x="315125" y="527615"/>
                  <a:pt x="315125" y="524340"/>
                </a:cubicBezTo>
                <a:cubicBezTo>
                  <a:pt x="315125" y="524340"/>
                  <a:pt x="315125" y="524340"/>
                  <a:pt x="315125" y="410185"/>
                </a:cubicBezTo>
                <a:lnTo>
                  <a:pt x="315125" y="355002"/>
                </a:lnTo>
                <a:lnTo>
                  <a:pt x="300454" y="364239"/>
                </a:lnTo>
                <a:cubicBezTo>
                  <a:pt x="292519" y="368191"/>
                  <a:pt x="285403" y="370679"/>
                  <a:pt x="281184" y="370679"/>
                </a:cubicBezTo>
                <a:cubicBezTo>
                  <a:pt x="281184" y="370679"/>
                  <a:pt x="274508" y="427483"/>
                  <a:pt x="277909" y="442472"/>
                </a:cubicBezTo>
                <a:cubicBezTo>
                  <a:pt x="277909" y="470937"/>
                  <a:pt x="289622" y="502677"/>
                  <a:pt x="292897" y="531016"/>
                </a:cubicBezTo>
                <a:cubicBezTo>
                  <a:pt x="292897" y="531016"/>
                  <a:pt x="292897" y="531016"/>
                  <a:pt x="199444" y="531016"/>
                </a:cubicBezTo>
                <a:cubicBezTo>
                  <a:pt x="199444" y="531016"/>
                  <a:pt x="214431" y="470937"/>
                  <a:pt x="214431" y="452548"/>
                </a:cubicBezTo>
                <a:cubicBezTo>
                  <a:pt x="214431" y="435796"/>
                  <a:pt x="207756" y="399144"/>
                  <a:pt x="207756" y="399144"/>
                </a:cubicBezTo>
                <a:cubicBezTo>
                  <a:pt x="207756" y="399144"/>
                  <a:pt x="207756" y="399144"/>
                  <a:pt x="174380" y="367403"/>
                </a:cubicBezTo>
                <a:cubicBezTo>
                  <a:pt x="164304" y="374079"/>
                  <a:pt x="149316" y="377354"/>
                  <a:pt x="132565" y="377354"/>
                </a:cubicBezTo>
                <a:cubicBezTo>
                  <a:pt x="92514" y="377354"/>
                  <a:pt x="60775" y="349014"/>
                  <a:pt x="57374" y="310599"/>
                </a:cubicBezTo>
                <a:cubicBezTo>
                  <a:pt x="23998" y="298885"/>
                  <a:pt x="3973" y="270546"/>
                  <a:pt x="572" y="238806"/>
                </a:cubicBezTo>
                <a:cubicBezTo>
                  <a:pt x="-4340" y="203665"/>
                  <a:pt x="23998" y="185402"/>
                  <a:pt x="23998" y="185402"/>
                </a:cubicBezTo>
                <a:cubicBezTo>
                  <a:pt x="20724" y="178726"/>
                  <a:pt x="17323" y="167013"/>
                  <a:pt x="17323" y="156937"/>
                </a:cubicBezTo>
                <a:cubicBezTo>
                  <a:pt x="17323" y="116884"/>
                  <a:pt x="49062" y="85144"/>
                  <a:pt x="89113" y="81869"/>
                </a:cubicBezTo>
                <a:cubicBezTo>
                  <a:pt x="99189" y="50129"/>
                  <a:pt x="127527" y="28339"/>
                  <a:pt x="161029" y="28339"/>
                </a:cubicBezTo>
                <a:cubicBezTo>
                  <a:pt x="174380" y="28339"/>
                  <a:pt x="189368" y="35015"/>
                  <a:pt x="199444" y="41690"/>
                </a:cubicBezTo>
                <a:cubicBezTo>
                  <a:pt x="214431" y="18389"/>
                  <a:pt x="239495" y="0"/>
                  <a:pt x="267833" y="0"/>
                </a:cubicBezTo>
                <a:close/>
              </a:path>
            </a:pathLst>
          </a:custGeom>
          <a:solidFill>
            <a:schemeClr val="tx1"/>
          </a:solidFill>
          <a:ln>
            <a:noFill/>
          </a:ln>
          <a:effectLst/>
        </p:spPr>
        <p:txBody>
          <a:bodyPr wrap="square" tIns="7200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000" b="0" i="0" u="none" strike="noStrike" kern="1200" cap="none" spc="0" normalizeH="0" baseline="0" noProof="0" dirty="0">
              <a:ln>
                <a:noFill/>
              </a:ln>
              <a:solidFill>
                <a:srgbClr val="000000"/>
              </a:solidFill>
              <a:effectLst/>
              <a:uLnTx/>
              <a:uFillTx/>
              <a:latin typeface="Corbel"/>
              <a:ea typeface="+mn-ea"/>
              <a:cs typeface="+mn-cs"/>
            </a:endParaRPr>
          </a:p>
        </p:txBody>
      </p:sp>
      <p:sp>
        <p:nvSpPr>
          <p:cNvPr id="208" name="Rectangle 207">
            <a:extLst>
              <a:ext uri="{FF2B5EF4-FFF2-40B4-BE49-F238E27FC236}">
                <a16:creationId xmlns:a16="http://schemas.microsoft.com/office/drawing/2014/main" id="{B06F2C33-DF22-4B37-9A11-33359D358420}"/>
              </a:ext>
            </a:extLst>
          </p:cNvPr>
          <p:cNvSpPr/>
          <p:nvPr/>
        </p:nvSpPr>
        <p:spPr>
          <a:xfrm>
            <a:off x="3442085" y="1975717"/>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Opzetten van innovatielabs</a:t>
            </a:r>
          </a:p>
          <a:p>
            <a:pPr>
              <a:buClr>
                <a:schemeClr val="tx2"/>
              </a:buClr>
            </a:pPr>
            <a:r>
              <a:rPr lang="en-NL" sz="1000"/>
              <a:t>Duurzaamheidssubsidies voor mkb-ers</a:t>
            </a:r>
            <a:endParaRPr lang="nl-NL" sz="1000" dirty="0"/>
          </a:p>
        </p:txBody>
      </p:sp>
      <p:sp>
        <p:nvSpPr>
          <p:cNvPr id="216" name="Rectangle 215">
            <a:extLst>
              <a:ext uri="{FF2B5EF4-FFF2-40B4-BE49-F238E27FC236}">
                <a16:creationId xmlns:a16="http://schemas.microsoft.com/office/drawing/2014/main" id="{CAA1F362-1B9D-4D8A-B07F-B26665C30CF7}"/>
              </a:ext>
            </a:extLst>
          </p:cNvPr>
          <p:cNvSpPr/>
          <p:nvPr/>
        </p:nvSpPr>
        <p:spPr>
          <a:xfrm>
            <a:off x="5378977" y="1975717"/>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Ondersteunen van musea</a:t>
            </a:r>
          </a:p>
          <a:p>
            <a:pPr>
              <a:buClr>
                <a:schemeClr val="tx2"/>
              </a:buClr>
            </a:pPr>
            <a:r>
              <a:rPr lang="en-NL" sz="1000"/>
              <a:t>Organisatie van broedplaatsen</a:t>
            </a:r>
            <a:endParaRPr lang="nl-NL" sz="1000" dirty="0"/>
          </a:p>
        </p:txBody>
      </p:sp>
      <p:sp>
        <p:nvSpPr>
          <p:cNvPr id="219" name="Rectangle 218">
            <a:extLst>
              <a:ext uri="{FF2B5EF4-FFF2-40B4-BE49-F238E27FC236}">
                <a16:creationId xmlns:a16="http://schemas.microsoft.com/office/drawing/2014/main" id="{FCECD321-F0A3-4FB6-8014-FD14E8CEBD76}"/>
              </a:ext>
            </a:extLst>
          </p:cNvPr>
          <p:cNvSpPr/>
          <p:nvPr/>
        </p:nvSpPr>
        <p:spPr>
          <a:xfrm>
            <a:off x="7311834" y="1975717"/>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Introductie van digitale onderwijsondersteuning</a:t>
            </a:r>
          </a:p>
          <a:p>
            <a:pPr>
              <a:buClr>
                <a:schemeClr val="tx2"/>
              </a:buClr>
            </a:pPr>
            <a:r>
              <a:rPr lang="en-NL" sz="1000"/>
              <a:t>Fusie of ontkoppelen van middelbare scholen</a:t>
            </a:r>
            <a:endParaRPr lang="nl-NL" sz="1000" dirty="0"/>
          </a:p>
        </p:txBody>
      </p:sp>
      <p:sp>
        <p:nvSpPr>
          <p:cNvPr id="227" name="Rectangle 226">
            <a:extLst>
              <a:ext uri="{FF2B5EF4-FFF2-40B4-BE49-F238E27FC236}">
                <a16:creationId xmlns:a16="http://schemas.microsoft.com/office/drawing/2014/main" id="{91C715BC-1FD0-40F1-B199-BDE67AB56226}"/>
              </a:ext>
            </a:extLst>
          </p:cNvPr>
          <p:cNvSpPr/>
          <p:nvPr/>
        </p:nvSpPr>
        <p:spPr>
          <a:xfrm>
            <a:off x="9244692" y="1975717"/>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Begeleiding van werk-naar-werk</a:t>
            </a:r>
          </a:p>
          <a:p>
            <a:pPr>
              <a:buClr>
                <a:schemeClr val="tx2"/>
              </a:buClr>
            </a:pPr>
            <a:r>
              <a:rPr lang="en-NL" sz="1000"/>
              <a:t>Opzetten van werk-leer trajecten</a:t>
            </a:r>
            <a:endParaRPr lang="nl-NL" sz="1000" dirty="0"/>
          </a:p>
        </p:txBody>
      </p:sp>
      <p:sp>
        <p:nvSpPr>
          <p:cNvPr id="228" name="Rectangle 227">
            <a:extLst>
              <a:ext uri="{FF2B5EF4-FFF2-40B4-BE49-F238E27FC236}">
                <a16:creationId xmlns:a16="http://schemas.microsoft.com/office/drawing/2014/main" id="{8CF3B59D-F112-428F-9CC9-3F45CF2FCDFC}"/>
              </a:ext>
            </a:extLst>
          </p:cNvPr>
          <p:cNvSpPr/>
          <p:nvPr/>
        </p:nvSpPr>
        <p:spPr>
          <a:xfrm>
            <a:off x="1507210" y="4937014"/>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Gezamenlijke aanbesteding van zorgtaken door meerdere gemeenten</a:t>
            </a:r>
          </a:p>
          <a:p>
            <a:pPr>
              <a:buClr>
                <a:schemeClr val="tx2"/>
              </a:buClr>
            </a:pPr>
            <a:r>
              <a:rPr lang="en-NL" sz="1000"/>
              <a:t>Ontwikkeling va preventieprogramma’s</a:t>
            </a:r>
            <a:endParaRPr lang="nl-NL" sz="1000" dirty="0"/>
          </a:p>
        </p:txBody>
      </p:sp>
      <p:sp>
        <p:nvSpPr>
          <p:cNvPr id="229" name="Rectangle 228">
            <a:extLst>
              <a:ext uri="{FF2B5EF4-FFF2-40B4-BE49-F238E27FC236}">
                <a16:creationId xmlns:a16="http://schemas.microsoft.com/office/drawing/2014/main" id="{AA3266CF-9960-4B6B-8FEB-D39DC3084F21}"/>
              </a:ext>
            </a:extLst>
          </p:cNvPr>
          <p:cNvSpPr/>
          <p:nvPr/>
        </p:nvSpPr>
        <p:spPr>
          <a:xfrm>
            <a:off x="3442085" y="4937014"/>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Implementatie van circulaire bedrijfsvoering in gemeente</a:t>
            </a:r>
          </a:p>
          <a:p>
            <a:pPr>
              <a:buClr>
                <a:schemeClr val="tx2"/>
              </a:buClr>
            </a:pPr>
            <a:r>
              <a:rPr lang="en-NL" sz="1000"/>
              <a:t>Gunning laadpalen</a:t>
            </a:r>
          </a:p>
          <a:p>
            <a:pPr>
              <a:buClr>
                <a:schemeClr val="tx2"/>
              </a:buClr>
            </a:pPr>
            <a:r>
              <a:rPr lang="en-NL" sz="1000"/>
              <a:t>Afvalrecycling</a:t>
            </a:r>
          </a:p>
          <a:p>
            <a:pPr>
              <a:buClr>
                <a:schemeClr val="tx2"/>
              </a:buClr>
            </a:pPr>
            <a:endParaRPr lang="nl-NL" sz="1000" dirty="0"/>
          </a:p>
        </p:txBody>
      </p:sp>
      <p:sp>
        <p:nvSpPr>
          <p:cNvPr id="230" name="Rectangle 229">
            <a:extLst>
              <a:ext uri="{FF2B5EF4-FFF2-40B4-BE49-F238E27FC236}">
                <a16:creationId xmlns:a16="http://schemas.microsoft.com/office/drawing/2014/main" id="{995DCB24-FD7E-40BA-B553-93D46597723C}"/>
              </a:ext>
            </a:extLst>
          </p:cNvPr>
          <p:cNvSpPr/>
          <p:nvPr/>
        </p:nvSpPr>
        <p:spPr>
          <a:xfrm>
            <a:off x="5378977" y="4937014"/>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Gebiedsontwikkeling</a:t>
            </a:r>
          </a:p>
          <a:p>
            <a:pPr>
              <a:buClr>
                <a:schemeClr val="tx2"/>
              </a:buClr>
            </a:pPr>
            <a:r>
              <a:rPr lang="en-NL" sz="1000"/>
              <a:t>Renovatie van objecten of gebieden</a:t>
            </a:r>
            <a:endParaRPr lang="nl-NL" sz="1000" dirty="0"/>
          </a:p>
        </p:txBody>
      </p:sp>
      <p:sp>
        <p:nvSpPr>
          <p:cNvPr id="231" name="Rectangle 230">
            <a:extLst>
              <a:ext uri="{FF2B5EF4-FFF2-40B4-BE49-F238E27FC236}">
                <a16:creationId xmlns:a16="http://schemas.microsoft.com/office/drawing/2014/main" id="{95334DD8-DF03-4EF0-B7D7-AB74307098E1}"/>
              </a:ext>
            </a:extLst>
          </p:cNvPr>
          <p:cNvSpPr/>
          <p:nvPr/>
        </p:nvSpPr>
        <p:spPr>
          <a:xfrm>
            <a:off x="7311834" y="4937014"/>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Ontwikkeling van een nieuw stadspark</a:t>
            </a:r>
          </a:p>
          <a:p>
            <a:pPr>
              <a:buClr>
                <a:schemeClr val="tx2"/>
              </a:buClr>
            </a:pPr>
            <a:r>
              <a:rPr lang="en-NL" sz="1000"/>
              <a:t>Vernieuwing faciliteiten in de openbare ruimte</a:t>
            </a:r>
            <a:endParaRPr lang="nl-NL" sz="1000" dirty="0"/>
          </a:p>
        </p:txBody>
      </p:sp>
      <p:sp>
        <p:nvSpPr>
          <p:cNvPr id="232" name="Rectangle 231">
            <a:extLst>
              <a:ext uri="{FF2B5EF4-FFF2-40B4-BE49-F238E27FC236}">
                <a16:creationId xmlns:a16="http://schemas.microsoft.com/office/drawing/2014/main" id="{95A57CAF-5D25-46F3-ADDE-A01351F1E475}"/>
              </a:ext>
            </a:extLst>
          </p:cNvPr>
          <p:cNvSpPr/>
          <p:nvPr/>
        </p:nvSpPr>
        <p:spPr>
          <a:xfrm>
            <a:off x="9244692" y="4937014"/>
            <a:ext cx="1817380" cy="1440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buClr>
                <a:schemeClr val="tx2"/>
              </a:buClr>
            </a:pPr>
            <a:r>
              <a:rPr lang="en-NL" sz="1000"/>
              <a:t>Samenwerking tussen gemeentes op gebied van burgerzaken of facilitaire diensten</a:t>
            </a:r>
          </a:p>
          <a:p>
            <a:pPr>
              <a:buClr>
                <a:schemeClr val="tx2"/>
              </a:buClr>
            </a:pPr>
            <a:r>
              <a:rPr lang="en-NL" sz="1000"/>
              <a:t>Centralisatie van financiële administratie binnen een of meerdere ministeries</a:t>
            </a:r>
          </a:p>
          <a:p>
            <a:pPr>
              <a:buClr>
                <a:schemeClr val="tx2"/>
              </a:buClr>
            </a:pPr>
            <a:endParaRPr lang="nl-NL" sz="1000" dirty="0"/>
          </a:p>
        </p:txBody>
      </p:sp>
      <p:pic>
        <p:nvPicPr>
          <p:cNvPr id="6" name="Graphic 5" descr="Renewable Energy with solid fill">
            <a:extLst>
              <a:ext uri="{FF2B5EF4-FFF2-40B4-BE49-F238E27FC236}">
                <a16:creationId xmlns:a16="http://schemas.microsoft.com/office/drawing/2014/main" id="{0ABBE6D4-78CA-4606-B712-CE47F535BAA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66144" y="4168096"/>
            <a:ext cx="373296" cy="373296"/>
          </a:xfrm>
          <a:prstGeom prst="rect">
            <a:avLst/>
          </a:prstGeom>
        </p:spPr>
      </p:pic>
      <p:sp>
        <p:nvSpPr>
          <p:cNvPr id="43" name="Title 2">
            <a:extLst>
              <a:ext uri="{FF2B5EF4-FFF2-40B4-BE49-F238E27FC236}">
                <a16:creationId xmlns:a16="http://schemas.microsoft.com/office/drawing/2014/main" id="{BBAF87F7-002E-4ABA-84C4-7CFA1BA754F3}"/>
              </a:ext>
            </a:extLst>
          </p:cNvPr>
          <p:cNvSpPr>
            <a:spLocks noGrp="1"/>
          </p:cNvSpPr>
          <p:nvPr>
            <p:ph type="title"/>
          </p:nvPr>
        </p:nvSpPr>
        <p:spPr>
          <a:xfrm>
            <a:off x="1441816" y="57687"/>
            <a:ext cx="10866441" cy="930276"/>
          </a:xfrm>
        </p:spPr>
        <p:txBody>
          <a:bodyPr vert="horz"/>
          <a:lstStyle/>
          <a:p>
            <a:r>
              <a:rPr lang="nl-NL"/>
              <a:t>P</a:t>
            </a:r>
            <a:r>
              <a:rPr lang="en-NL"/>
              <a:t>ublieke business case is toepasbaar op alle domeinen</a:t>
            </a:r>
            <a:br>
              <a:rPr lang="en-NL"/>
            </a:br>
            <a:endParaRPr lang="nl-NL" dirty="0"/>
          </a:p>
        </p:txBody>
      </p:sp>
      <p:sp>
        <p:nvSpPr>
          <p:cNvPr id="61" name="Rectangle 60">
            <a:extLst>
              <a:ext uri="{FF2B5EF4-FFF2-40B4-BE49-F238E27FC236}">
                <a16:creationId xmlns:a16="http://schemas.microsoft.com/office/drawing/2014/main" id="{543973F1-7D42-402A-81B2-C0D78D352FFE}"/>
              </a:ext>
            </a:extLst>
          </p:cNvPr>
          <p:cNvSpPr/>
          <p:nvPr/>
        </p:nvSpPr>
        <p:spPr>
          <a:xfrm>
            <a:off x="8487820" y="6303080"/>
            <a:ext cx="3039291" cy="324000"/>
          </a:xfrm>
          <a:prstGeom prst="rect">
            <a:avLst/>
          </a:prstGeom>
          <a:solidFill>
            <a:schemeClr val="bg1">
              <a:lumMod val="95000"/>
            </a:schemeClr>
          </a:solidFill>
          <a:ln>
            <a:solidFill>
              <a:schemeClr val="bg1">
                <a:lumMod val="50000"/>
              </a:schemeClr>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endParaRPr kumimoji="0" lang="nl-NL" sz="10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Box 61">
            <a:extLst>
              <a:ext uri="{FF2B5EF4-FFF2-40B4-BE49-F238E27FC236}">
                <a16:creationId xmlns:a16="http://schemas.microsoft.com/office/drawing/2014/main" id="{5FB5407D-5F5C-47C9-94F3-2FF78A9CFAF7}"/>
              </a:ext>
            </a:extLst>
          </p:cNvPr>
          <p:cNvSpPr txBox="1"/>
          <p:nvPr/>
        </p:nvSpPr>
        <p:spPr>
          <a:xfrm>
            <a:off x="8729691" y="6285662"/>
            <a:ext cx="2797420" cy="369332"/>
          </a:xfrm>
          <a:prstGeom prst="rect">
            <a:avLst/>
          </a:prstGeom>
          <a:noFill/>
        </p:spPr>
        <p:txBody>
          <a:bodyPr wrap="square">
            <a:spAutoFit/>
          </a:bodyPr>
          <a:lstStyle/>
          <a:p>
            <a:pPr marL="0" indent="0">
              <a:buClr>
                <a:schemeClr val="tx2"/>
              </a:buClr>
              <a:buNone/>
            </a:pPr>
            <a:r>
              <a:rPr lang="en-NL" sz="1000"/>
              <a:t>Weten of uw case een business case kan worden?</a:t>
            </a:r>
            <a:br>
              <a:rPr lang="en-NL" sz="1000"/>
            </a:br>
            <a:r>
              <a:rPr lang="en-NL" sz="1000"/>
              <a:t>Stuur een bericht: </a:t>
            </a:r>
            <a:r>
              <a:rPr lang="nl-NL" sz="1000">
                <a:hlinkClick r:id="rId13">
                  <a:extLst>
                    <a:ext uri="{A12FA001-AC4F-418D-AE19-62706E023703}">
                      <ahyp:hlinkClr xmlns:ahyp="http://schemas.microsoft.com/office/drawing/2018/hyperlinkcolor" val="tx"/>
                    </a:ext>
                  </a:extLst>
                </a:hlinkClick>
              </a:rPr>
              <a:t>steven.jonker@itspublic.nl</a:t>
            </a:r>
            <a:endParaRPr lang="nl-NL" sz="1000" dirty="0"/>
          </a:p>
        </p:txBody>
      </p:sp>
      <p:grpSp>
        <p:nvGrpSpPr>
          <p:cNvPr id="63" name="Group 62">
            <a:extLst>
              <a:ext uri="{FF2B5EF4-FFF2-40B4-BE49-F238E27FC236}">
                <a16:creationId xmlns:a16="http://schemas.microsoft.com/office/drawing/2014/main" id="{885D1A77-5922-46F1-8353-A4FD96C1C707}"/>
              </a:ext>
            </a:extLst>
          </p:cNvPr>
          <p:cNvGrpSpPr/>
          <p:nvPr/>
        </p:nvGrpSpPr>
        <p:grpSpPr>
          <a:xfrm rot="397024">
            <a:off x="8508993" y="6350808"/>
            <a:ext cx="238474" cy="245717"/>
            <a:chOff x="8511606" y="5943020"/>
            <a:chExt cx="320191" cy="329915"/>
          </a:xfrm>
        </p:grpSpPr>
        <p:sp>
          <p:nvSpPr>
            <p:cNvPr id="64" name="Oval 63">
              <a:extLst>
                <a:ext uri="{FF2B5EF4-FFF2-40B4-BE49-F238E27FC236}">
                  <a16:creationId xmlns:a16="http://schemas.microsoft.com/office/drawing/2014/main" id="{511E093D-72A1-46E4-B416-048851F6885A}"/>
                </a:ext>
              </a:extLst>
            </p:cNvPr>
            <p:cNvSpPr/>
            <p:nvPr/>
          </p:nvSpPr>
          <p:spPr>
            <a:xfrm>
              <a:off x="8599696" y="5943020"/>
              <a:ext cx="72000" cy="72000"/>
            </a:xfrm>
            <a:prstGeom prst="ellipse">
              <a:avLst/>
            </a:prstGeom>
            <a:solidFill>
              <a:schemeClr val="bg1"/>
            </a:solidFill>
            <a:ln w="6350">
              <a:solidFill>
                <a:schemeClr val="tx1"/>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67" name="Graphic 66" descr="Right pointing backhand index with solid fill">
              <a:hlinkClick r:id="" action="ppaction://noaction"/>
              <a:extLst>
                <a:ext uri="{FF2B5EF4-FFF2-40B4-BE49-F238E27FC236}">
                  <a16:creationId xmlns:a16="http://schemas.microsoft.com/office/drawing/2014/main" id="{3C5A51C0-21C4-4CE7-AF35-F84E06A4B247}"/>
                </a:ext>
              </a:extLst>
            </p:cNvPr>
            <p:cNvPicPr>
              <a:picLocks noChangeAspect="1"/>
            </p:cNvPicPr>
            <p:nvPr/>
          </p:nvPicPr>
          <p:blipFill>
            <a:blip r:embed="rId14" cstate="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rot="16200000">
              <a:off x="8511607" y="5952744"/>
              <a:ext cx="320190" cy="320191"/>
            </a:xfrm>
            <a:prstGeom prst="rect">
              <a:avLst/>
            </a:prstGeom>
          </p:spPr>
        </p:pic>
      </p:grpSp>
    </p:spTree>
    <p:extLst>
      <p:ext uri="{BB962C8B-B14F-4D97-AF65-F5344CB8AC3E}">
        <p14:creationId xmlns:p14="http://schemas.microsoft.com/office/powerpoint/2010/main" val="16131503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877DCFC-B5F7-4D85-9BB9-AC1D82DAEF74}"/>
              </a:ext>
            </a:extLst>
          </p:cNvPr>
          <p:cNvGraphicFramePr>
            <a:graphicFrameLocks noChangeAspect="1"/>
          </p:cNvGraphicFramePr>
          <p:nvPr>
            <p:custDataLst>
              <p:tags r:id="rId1"/>
            </p:custDataLst>
            <p:extLst>
              <p:ext uri="{D42A27DB-BD31-4B8C-83A1-F6EECF244321}">
                <p14:modId xmlns:p14="http://schemas.microsoft.com/office/powerpoint/2010/main" val="2758408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6877DCFC-B5F7-4D85-9BB9-AC1D82DAEF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6" name="Table 35">
            <a:extLst>
              <a:ext uri="{FF2B5EF4-FFF2-40B4-BE49-F238E27FC236}">
                <a16:creationId xmlns:a16="http://schemas.microsoft.com/office/drawing/2014/main" id="{F3B7B63B-3576-45B0-99EE-98C288233498}"/>
              </a:ext>
            </a:extLst>
          </p:cNvPr>
          <p:cNvGraphicFramePr>
            <a:graphicFrameLocks noGrp="1"/>
          </p:cNvGraphicFramePr>
          <p:nvPr/>
        </p:nvGraphicFramePr>
        <p:xfrm>
          <a:off x="658813" y="2120545"/>
          <a:ext cx="10872000" cy="4191348"/>
        </p:xfrm>
        <a:graphic>
          <a:graphicData uri="http://schemas.openxmlformats.org/drawingml/2006/table">
            <a:tbl>
              <a:tblPr firstRow="1" bandRow="1">
                <a:tableStyleId>{5C22544A-7EE6-4342-B048-85BDC9FD1C3A}</a:tableStyleId>
              </a:tblPr>
              <a:tblGrid>
                <a:gridCol w="1224000">
                  <a:extLst>
                    <a:ext uri="{9D8B030D-6E8A-4147-A177-3AD203B41FA5}">
                      <a16:colId xmlns:a16="http://schemas.microsoft.com/office/drawing/2014/main" val="2603831262"/>
                    </a:ext>
                  </a:extLst>
                </a:gridCol>
                <a:gridCol w="2412000">
                  <a:extLst>
                    <a:ext uri="{9D8B030D-6E8A-4147-A177-3AD203B41FA5}">
                      <a16:colId xmlns:a16="http://schemas.microsoft.com/office/drawing/2014/main" val="370197980"/>
                    </a:ext>
                  </a:extLst>
                </a:gridCol>
                <a:gridCol w="2412000">
                  <a:extLst>
                    <a:ext uri="{9D8B030D-6E8A-4147-A177-3AD203B41FA5}">
                      <a16:colId xmlns:a16="http://schemas.microsoft.com/office/drawing/2014/main" val="3835934041"/>
                    </a:ext>
                  </a:extLst>
                </a:gridCol>
                <a:gridCol w="2412000">
                  <a:extLst>
                    <a:ext uri="{9D8B030D-6E8A-4147-A177-3AD203B41FA5}">
                      <a16:colId xmlns:a16="http://schemas.microsoft.com/office/drawing/2014/main" val="186661011"/>
                    </a:ext>
                  </a:extLst>
                </a:gridCol>
                <a:gridCol w="2412000">
                  <a:extLst>
                    <a:ext uri="{9D8B030D-6E8A-4147-A177-3AD203B41FA5}">
                      <a16:colId xmlns:a16="http://schemas.microsoft.com/office/drawing/2014/main" val="2748633623"/>
                    </a:ext>
                  </a:extLst>
                </a:gridCol>
              </a:tblGrid>
              <a:tr h="303348">
                <a:tc>
                  <a:txBody>
                    <a:bodyPr/>
                    <a:lstStyle/>
                    <a:p>
                      <a:pPr algn="ctr" rtl="0"/>
                      <a:endParaRPr lang="nl-NL" sz="1200" b="1" kern="1200" dirty="0">
                        <a:solidFill>
                          <a:srgbClr val="FFFFFF"/>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rtl="0"/>
                      <a:r>
                        <a:rPr lang="en-GB" sz="1200" b="1" dirty="0">
                          <a:solidFill>
                            <a:srgbClr val="FFFFFF"/>
                          </a:solidFill>
                        </a:rPr>
                        <a:t>B</a:t>
                      </a:r>
                      <a:r>
                        <a:rPr lang="nl-NL" sz="1200" b="1" dirty="0">
                          <a:solidFill>
                            <a:srgbClr val="FFFFFF"/>
                          </a:solidFill>
                        </a:rPr>
                        <a:t>eschrijving</a:t>
                      </a:r>
                    </a:p>
                  </a:txBody>
                  <a:tcPr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Opbrengste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Kosten</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tc>
                  <a:txBody>
                    <a:bodyPr/>
                    <a:lstStyle/>
                    <a:p>
                      <a:pPr algn="ctr" rtl="0"/>
                      <a:r>
                        <a:rPr lang="nl-NL" sz="1200" b="1" dirty="0">
                          <a:solidFill>
                            <a:srgbClr val="FFFFFF"/>
                          </a:solidFill>
                        </a:rPr>
                        <a:t>Risico’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22777B"/>
                    </a:solidFill>
                  </a:tcPr>
                </a:tc>
                <a:extLst>
                  <a:ext uri="{0D108BD9-81ED-4DB2-BD59-A6C34878D82A}">
                    <a16:rowId xmlns:a16="http://schemas.microsoft.com/office/drawing/2014/main" val="2609853325"/>
                  </a:ext>
                </a:extLst>
              </a:tr>
              <a:tr h="1944000">
                <a:tc>
                  <a:txBody>
                    <a:bodyPr/>
                    <a:lstStyle/>
                    <a:p>
                      <a:pPr algn="ctr" rtl="0"/>
                      <a:r>
                        <a:rPr lang="nl-NL" sz="1200" b="1" dirty="0">
                          <a:solidFill>
                            <a:srgbClr val="000000"/>
                          </a:solidFill>
                        </a:rPr>
                        <a:t>Gemeente zonder regiecentral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accent6"/>
                    </a:solidFill>
                  </a:tcPr>
                </a:tc>
                <a:tc>
                  <a:txBody>
                    <a:bodyPr/>
                    <a:lstStyle/>
                    <a:p>
                      <a:pPr rtl="0"/>
                      <a:r>
                        <a:rPr lang="nl-NL" sz="1200" b="0" dirty="0">
                          <a:solidFill>
                            <a:srgbClr val="000000"/>
                          </a:solidFill>
                        </a:rPr>
                        <a:t>Gemiddelde gemeente zonder regiecentrale neemt zelf de ritten aan, maar legt de planning en boekingsproces bij de verschillende gecontracteerde vervoerders neer. </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x% efficientieverhoging / j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Contactcentrum binnen de gemeente kost gem. </a:t>
                      </a:r>
                      <a:r>
                        <a:rPr lang="nl-NL" sz="1200">
                          <a:solidFill>
                            <a:srgbClr val="000000"/>
                          </a:solidFill>
                        </a:rPr>
                        <a:t>x </a:t>
                      </a:r>
                      <a:r>
                        <a:rPr lang="en-NL" sz="1200">
                          <a:solidFill>
                            <a:srgbClr val="000000"/>
                          </a:solidFill>
                        </a:rPr>
                        <a:t>FTE</a:t>
                      </a:r>
                      <a:endParaRPr lang="nl-NL" sz="1200" dirty="0">
                        <a:solidFill>
                          <a:srgbClr val="000000"/>
                        </a:solidFill>
                      </a:endParaRPr>
                    </a:p>
                    <a:p>
                      <a:pPr marL="171450" indent="-171450" rtl="0">
                        <a:buClr>
                          <a:schemeClr val="bg1"/>
                        </a:buClr>
                        <a:buFont typeface="Wingdings" panose="05000000000000000000" pitchFamily="2" charset="2"/>
                        <a:buChar char="§"/>
                      </a:pPr>
                      <a:r>
                        <a:rPr lang="nl-NL" sz="1200" dirty="0">
                          <a:solidFill>
                            <a:srgbClr val="000000"/>
                          </a:solidFill>
                        </a:rPr>
                        <a:t>y%- z% overheadkosten bij elke gecontracteerde vervoerd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Doelgroepenvervoer blijft verzuild, zowel in de aansturing vanuit de gemeente als in de uitvoering en service naar reizigers</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800294847"/>
                  </a:ext>
                </a:extLst>
              </a:tr>
              <a:tr h="1944000">
                <a:tc>
                  <a:txBody>
                    <a:bodyPr/>
                    <a:lstStyle/>
                    <a:p>
                      <a:pPr algn="ctr" rtl="0"/>
                      <a:r>
                        <a:rPr lang="nl-NL" sz="1200" b="1" noProof="0" dirty="0">
                          <a:solidFill>
                            <a:srgbClr val="000000"/>
                          </a:solidFill>
                        </a:rPr>
                        <a:t>Gemeente met regiecentrale</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rtl="0"/>
                      <a:r>
                        <a:rPr lang="nl-NL" sz="1200" b="0" dirty="0">
                          <a:solidFill>
                            <a:srgbClr val="000000"/>
                          </a:solidFill>
                        </a:rPr>
                        <a:t>Gemeente neemt een regiecentrale in de arm die boekingsproces en planning verzorgt.</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x% efficiëntieverhoging/jr.</a:t>
                      </a:r>
                    </a:p>
                    <a:p>
                      <a:pPr marL="171450" indent="-171450" rtl="0">
                        <a:buClr>
                          <a:schemeClr val="bg1"/>
                        </a:buClr>
                        <a:buFont typeface="Wingdings" panose="05000000000000000000" pitchFamily="2" charset="2"/>
                        <a:buChar char="§"/>
                      </a:pPr>
                      <a:r>
                        <a:rPr lang="nl-NL" sz="1200" dirty="0">
                          <a:solidFill>
                            <a:srgbClr val="000000"/>
                          </a:solidFill>
                        </a:rPr>
                        <a:t>y% meer verschuiving naar OV</a:t>
                      </a:r>
                    </a:p>
                    <a:p>
                      <a:pPr marL="171450" indent="-171450" rtl="0">
                        <a:buClr>
                          <a:schemeClr val="bg1"/>
                        </a:buClr>
                        <a:buFont typeface="Wingdings" panose="05000000000000000000" pitchFamily="2" charset="2"/>
                        <a:buChar char="§"/>
                      </a:pPr>
                      <a:r>
                        <a:rPr lang="nl-NL" sz="1200" dirty="0">
                          <a:solidFill>
                            <a:srgbClr val="000000"/>
                          </a:solidFill>
                        </a:rPr>
                        <a:t>z% kostenbesparing</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Regiecentrale kost gem. x fte</a:t>
                      </a:r>
                    </a:p>
                    <a:p>
                      <a:pPr marL="171450" indent="-171450" rtl="0">
                        <a:buClr>
                          <a:schemeClr val="bg1"/>
                        </a:buClr>
                        <a:buFont typeface="Wingdings" panose="05000000000000000000" pitchFamily="2" charset="2"/>
                        <a:buChar char="§"/>
                      </a:pPr>
                      <a:r>
                        <a:rPr lang="nl-NL" sz="1200" dirty="0">
                          <a:solidFill>
                            <a:srgbClr val="000000"/>
                          </a:solidFill>
                        </a:rPr>
                        <a:t>y% - z% overheadkosten bij elke gecontracteerde vervoerder</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171450" indent="-171450" rtl="0">
                        <a:buClr>
                          <a:schemeClr val="bg1"/>
                        </a:buClr>
                        <a:buFont typeface="Wingdings" panose="05000000000000000000" pitchFamily="2" charset="2"/>
                        <a:buChar char="§"/>
                      </a:pPr>
                      <a:r>
                        <a:rPr lang="nl-NL" sz="1200" dirty="0">
                          <a:solidFill>
                            <a:srgbClr val="000000"/>
                          </a:solidFill>
                        </a:rPr>
                        <a:t>Financiële gevolgen zijn niet goed in te schatten; hogere overheadskosten zijn een risico</a:t>
                      </a:r>
                    </a:p>
                    <a:p>
                      <a:pPr marL="171450" indent="-171450" rtl="0">
                        <a:buClr>
                          <a:schemeClr val="bg1"/>
                        </a:buClr>
                        <a:buFont typeface="Wingdings" panose="05000000000000000000" pitchFamily="2" charset="2"/>
                        <a:buChar char="§"/>
                      </a:pPr>
                      <a:r>
                        <a:rPr lang="nl-NL" sz="1200" dirty="0">
                          <a:solidFill>
                            <a:srgbClr val="000000"/>
                          </a:solidFill>
                        </a:rPr>
                        <a:t>Beleggen van ritplanning en</a:t>
                      </a:r>
                      <a:br>
                        <a:rPr lang="nl-NL" sz="1200" dirty="0">
                          <a:solidFill>
                            <a:srgbClr val="000000"/>
                          </a:solidFill>
                        </a:rPr>
                      </a:br>
                      <a:r>
                        <a:rPr lang="nl-NL" sz="1200" dirty="0">
                          <a:solidFill>
                            <a:srgbClr val="000000"/>
                          </a:solidFill>
                        </a:rPr>
                        <a:t>-boeking bij een speler maakt gemeente sterk afhankelijk</a:t>
                      </a:r>
                    </a:p>
                    <a:p>
                      <a:pPr marL="171450" indent="-171450" rtl="0">
                        <a:buClr>
                          <a:schemeClr val="bg1"/>
                        </a:buClr>
                        <a:buFont typeface="Wingdings" panose="05000000000000000000" pitchFamily="2" charset="2"/>
                        <a:buChar char="§"/>
                      </a:pPr>
                      <a:r>
                        <a:rPr lang="nl-NL" sz="1200" dirty="0">
                          <a:solidFill>
                            <a:srgbClr val="000000"/>
                          </a:solidFill>
                        </a:rPr>
                        <a:t>Verhogen van efficiëntie hangt af van in hoeverre gemeente ritten kan bundelen. Dit is niet altijd mogelijk in de praktijk.</a:t>
                      </a: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53406653"/>
                  </a:ext>
                </a:extLst>
              </a:tr>
            </a:tbl>
          </a:graphicData>
        </a:graphic>
      </p:graphicFrame>
      <p:sp>
        <p:nvSpPr>
          <p:cNvPr id="5" name="Footer Placeholder 4">
            <a:extLst>
              <a:ext uri="{FF2B5EF4-FFF2-40B4-BE49-F238E27FC236}">
                <a16:creationId xmlns:a16="http://schemas.microsoft.com/office/drawing/2014/main" id="{27935B89-953B-425D-BAFA-529FC617A425}"/>
              </a:ext>
            </a:extLst>
          </p:cNvPr>
          <p:cNvSpPr>
            <a:spLocks noGrp="1"/>
          </p:cNvSpPr>
          <p:nvPr>
            <p:ph type="ftr" sz="quarter" idx="3"/>
          </p:nvPr>
        </p:nvSpPr>
        <p:spPr/>
        <p:txBody>
          <a:bodyPr/>
          <a:lstStyle/>
          <a:p>
            <a:r>
              <a:rPr lang="nl-NL" dirty="0"/>
              <a:t>Bron: KpVV CROW,  ‘Regiecentrale: wat is het en hoe werkt het?’ (datum onbekend); Boersma Management en Advies, ‘Evaluatie Valleihopper’ (4 okt. 2018)</a:t>
            </a:r>
          </a:p>
        </p:txBody>
      </p:sp>
      <p:sp>
        <p:nvSpPr>
          <p:cNvPr id="6" name="Slide Number Placeholder 5">
            <a:extLst>
              <a:ext uri="{FF2B5EF4-FFF2-40B4-BE49-F238E27FC236}">
                <a16:creationId xmlns:a16="http://schemas.microsoft.com/office/drawing/2014/main" id="{A949A009-6191-4C42-B3A4-C7AF5E5C50B6}"/>
              </a:ext>
            </a:extLst>
          </p:cNvPr>
          <p:cNvSpPr>
            <a:spLocks noGrp="1"/>
          </p:cNvSpPr>
          <p:nvPr>
            <p:ph type="sldNum" sz="quarter" idx="12"/>
          </p:nvPr>
        </p:nvSpPr>
        <p:spPr/>
        <p:txBody>
          <a:bodyPr/>
          <a:lstStyle/>
          <a:p>
            <a:fld id="{992CD0B2-8AB2-4C6C-8876-E15753662C9B}" type="slidenum">
              <a:rPr lang="nl-NL" smtClean="0"/>
              <a:pPr/>
              <a:t>11</a:t>
            </a:fld>
            <a:endParaRPr lang="nl-NL" dirty="0"/>
          </a:p>
        </p:txBody>
      </p:sp>
      <p:pic>
        <p:nvPicPr>
          <p:cNvPr id="3" name="Graphic 2" descr="Badge Unfollow with solid fill">
            <a:extLst>
              <a:ext uri="{FF2B5EF4-FFF2-40B4-BE49-F238E27FC236}">
                <a16:creationId xmlns:a16="http://schemas.microsoft.com/office/drawing/2014/main" id="{7B1415C1-8E0F-4A95-97D5-0AB93DC2213E}"/>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42309" y="3034606"/>
            <a:ext cx="194400" cy="194400"/>
          </a:xfrm>
          <a:prstGeom prst="rect">
            <a:avLst/>
          </a:prstGeom>
        </p:spPr>
      </p:pic>
      <p:pic>
        <p:nvPicPr>
          <p:cNvPr id="8" name="Graphic 7" descr="Badge Follow with solid fill">
            <a:extLst>
              <a:ext uri="{FF2B5EF4-FFF2-40B4-BE49-F238E27FC236}">
                <a16:creationId xmlns:a16="http://schemas.microsoft.com/office/drawing/2014/main" id="{EE134556-BBD4-45B9-BCAF-075DAAF7A69F}"/>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3674" y="3304762"/>
            <a:ext cx="193442" cy="193442"/>
          </a:xfrm>
          <a:prstGeom prst="rect">
            <a:avLst/>
          </a:prstGeom>
        </p:spPr>
      </p:pic>
      <p:pic>
        <p:nvPicPr>
          <p:cNvPr id="48" name="Graphic 47" descr="Badge Unfollow with solid fill">
            <a:extLst>
              <a:ext uri="{FF2B5EF4-FFF2-40B4-BE49-F238E27FC236}">
                <a16:creationId xmlns:a16="http://schemas.microsoft.com/office/drawing/2014/main" id="{EFD5FBAB-EC74-40FE-BA5A-5F94CD6626C0}"/>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42309" y="3385467"/>
            <a:ext cx="194400" cy="194400"/>
          </a:xfrm>
          <a:prstGeom prst="rect">
            <a:avLst/>
          </a:prstGeom>
        </p:spPr>
      </p:pic>
      <p:pic>
        <p:nvPicPr>
          <p:cNvPr id="49" name="Graphic 48" descr="Badge Follow with solid fill">
            <a:extLst>
              <a:ext uri="{FF2B5EF4-FFF2-40B4-BE49-F238E27FC236}">
                <a16:creationId xmlns:a16="http://schemas.microsoft.com/office/drawing/2014/main" id="{4A9702C9-D43D-43B7-8336-D0F1EFBC866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3674" y="5237228"/>
            <a:ext cx="193442" cy="193442"/>
          </a:xfrm>
          <a:prstGeom prst="rect">
            <a:avLst/>
          </a:prstGeom>
        </p:spPr>
      </p:pic>
      <p:pic>
        <p:nvPicPr>
          <p:cNvPr id="50" name="Graphic 49" descr="Badge Follow with solid fill">
            <a:extLst>
              <a:ext uri="{FF2B5EF4-FFF2-40B4-BE49-F238E27FC236}">
                <a16:creationId xmlns:a16="http://schemas.microsoft.com/office/drawing/2014/main" id="{4CF7FE2A-906E-4FE4-92CD-DEF421DD1D26}"/>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3674" y="5430670"/>
            <a:ext cx="193442" cy="193442"/>
          </a:xfrm>
          <a:prstGeom prst="rect">
            <a:avLst/>
          </a:prstGeom>
        </p:spPr>
      </p:pic>
      <p:pic>
        <p:nvPicPr>
          <p:cNvPr id="51" name="Graphic 50" descr="Badge Unfollow with solid fill">
            <a:extLst>
              <a:ext uri="{FF2B5EF4-FFF2-40B4-BE49-F238E27FC236}">
                <a16:creationId xmlns:a16="http://schemas.microsoft.com/office/drawing/2014/main" id="{6BBCA34C-9934-4FFB-B841-561DA432CC9D}"/>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42309" y="5051260"/>
            <a:ext cx="194400" cy="194400"/>
          </a:xfrm>
          <a:prstGeom prst="rect">
            <a:avLst/>
          </a:prstGeom>
        </p:spPr>
      </p:pic>
      <p:pic>
        <p:nvPicPr>
          <p:cNvPr id="52" name="Graphic 51" descr="Badge Unfollow with solid fill">
            <a:extLst>
              <a:ext uri="{FF2B5EF4-FFF2-40B4-BE49-F238E27FC236}">
                <a16:creationId xmlns:a16="http://schemas.microsoft.com/office/drawing/2014/main" id="{5AD16156-359C-4F3A-B87F-972E013D55A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6742309" y="5245660"/>
            <a:ext cx="194400" cy="194400"/>
          </a:xfrm>
          <a:prstGeom prst="rect">
            <a:avLst/>
          </a:prstGeom>
        </p:spPr>
      </p:pic>
      <p:pic>
        <p:nvPicPr>
          <p:cNvPr id="34" name="Graphic 33" descr="Badge Follow with solid fill">
            <a:extLst>
              <a:ext uri="{FF2B5EF4-FFF2-40B4-BE49-F238E27FC236}">
                <a16:creationId xmlns:a16="http://schemas.microsoft.com/office/drawing/2014/main" id="{1B6FCCEB-A2A5-4B3F-AA85-3A7C8F207FB7}"/>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4313674" y="5036317"/>
            <a:ext cx="193442" cy="193442"/>
          </a:xfrm>
          <a:prstGeom prst="rect">
            <a:avLst/>
          </a:prstGeom>
        </p:spPr>
      </p:pic>
      <p:pic>
        <p:nvPicPr>
          <p:cNvPr id="7" name="Graphic 6" descr="Warning with solid fill">
            <a:extLst>
              <a:ext uri="{FF2B5EF4-FFF2-40B4-BE49-F238E27FC236}">
                <a16:creationId xmlns:a16="http://schemas.microsoft.com/office/drawing/2014/main" id="{D2AAD9A6-0542-4EF7-BE4A-8F16803DAC4B}"/>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38138" y="4380900"/>
            <a:ext cx="194400" cy="194400"/>
          </a:xfrm>
          <a:prstGeom prst="rect">
            <a:avLst/>
          </a:prstGeom>
        </p:spPr>
      </p:pic>
      <p:pic>
        <p:nvPicPr>
          <p:cNvPr id="37" name="Graphic 36" descr="Warning with solid fill">
            <a:extLst>
              <a:ext uri="{FF2B5EF4-FFF2-40B4-BE49-F238E27FC236}">
                <a16:creationId xmlns:a16="http://schemas.microsoft.com/office/drawing/2014/main" id="{8C5A3E43-8A63-4067-A1E0-87081D753F4C}"/>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38138" y="4944269"/>
            <a:ext cx="194400" cy="194400"/>
          </a:xfrm>
          <a:prstGeom prst="rect">
            <a:avLst/>
          </a:prstGeom>
        </p:spPr>
      </p:pic>
      <p:pic>
        <p:nvPicPr>
          <p:cNvPr id="39" name="Graphic 38" descr="Warning with solid fill">
            <a:extLst>
              <a:ext uri="{FF2B5EF4-FFF2-40B4-BE49-F238E27FC236}">
                <a16:creationId xmlns:a16="http://schemas.microsoft.com/office/drawing/2014/main" id="{1A36117C-544A-49A6-B7E7-96EEC7B667EF}"/>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38138" y="5496205"/>
            <a:ext cx="194400" cy="194400"/>
          </a:xfrm>
          <a:prstGeom prst="rect">
            <a:avLst/>
          </a:prstGeom>
        </p:spPr>
      </p:pic>
      <p:pic>
        <p:nvPicPr>
          <p:cNvPr id="38" name="Graphic 37" descr="Warning with solid fill">
            <a:extLst>
              <a:ext uri="{FF2B5EF4-FFF2-40B4-BE49-F238E27FC236}">
                <a16:creationId xmlns:a16="http://schemas.microsoft.com/office/drawing/2014/main" id="{AFDF02E1-D31D-4D91-8D90-B63AA7B817F6}"/>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138138" y="2937406"/>
            <a:ext cx="194400" cy="194400"/>
          </a:xfrm>
          <a:prstGeom prst="rect">
            <a:avLst/>
          </a:prstGeom>
        </p:spPr>
      </p:pic>
      <p:sp>
        <p:nvSpPr>
          <p:cNvPr id="25" name="Title 24">
            <a:extLst>
              <a:ext uri="{FF2B5EF4-FFF2-40B4-BE49-F238E27FC236}">
                <a16:creationId xmlns:a16="http://schemas.microsoft.com/office/drawing/2014/main" id="{B740D717-2850-42D0-9949-BF24D12E72B6}"/>
              </a:ext>
            </a:extLst>
          </p:cNvPr>
          <p:cNvSpPr>
            <a:spLocks noGrp="1"/>
          </p:cNvSpPr>
          <p:nvPr>
            <p:ph type="title"/>
          </p:nvPr>
        </p:nvSpPr>
        <p:spPr/>
        <p:txBody>
          <a:bodyPr vert="horz"/>
          <a:lstStyle/>
          <a:p>
            <a:r>
              <a:rPr lang="en-NL"/>
              <a:t>Voorbeeld – Gemeente stelt </a:t>
            </a:r>
            <a:r>
              <a:rPr lang="nl-NL"/>
              <a:t>business case </a:t>
            </a:r>
            <a:r>
              <a:rPr lang="en-NL"/>
              <a:t>op voor een regiecentrale in het doelgroepenvervoer om de verbeteringen te evalueren</a:t>
            </a:r>
            <a:endParaRPr lang="nl-NL"/>
          </a:p>
        </p:txBody>
      </p:sp>
    </p:spTree>
    <p:extLst>
      <p:ext uri="{BB962C8B-B14F-4D97-AF65-F5344CB8AC3E}">
        <p14:creationId xmlns:p14="http://schemas.microsoft.com/office/powerpoint/2010/main" val="17383082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64D0A2-2D67-4899-B28B-1A3F31954A8F}"/>
              </a:ext>
            </a:extLst>
          </p:cNvPr>
          <p:cNvGraphicFramePr>
            <a:graphicFrameLocks noChangeAspect="1"/>
          </p:cNvGraphicFramePr>
          <p:nvPr>
            <p:custDataLst>
              <p:tags r:id="rId1"/>
            </p:custDataLst>
            <p:extLst>
              <p:ext uri="{D42A27DB-BD31-4B8C-83A1-F6EECF244321}">
                <p14:modId xmlns:p14="http://schemas.microsoft.com/office/powerpoint/2010/main" val="2966653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D864D0A2-2D67-4899-B28B-1A3F31954A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90F38C1-E137-4C7F-9482-B9A769730AE6}"/>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en-US"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3" name="Content Placeholder 19">
            <a:extLst>
              <a:ext uri="{FF2B5EF4-FFF2-40B4-BE49-F238E27FC236}">
                <a16:creationId xmlns:a16="http://schemas.microsoft.com/office/drawing/2014/main" id="{990439C7-83A9-4E05-A388-DDB7C7FBD2DC}"/>
              </a:ext>
            </a:extLst>
          </p:cNvPr>
          <p:cNvSpPr>
            <a:spLocks noGrp="1"/>
          </p:cNvSpPr>
          <p:nvPr>
            <p:ph sz="quarter" idx="18"/>
          </p:nvPr>
        </p:nvSpPr>
        <p:spPr>
          <a:xfrm>
            <a:off x="667851" y="1603280"/>
            <a:ext cx="3663619" cy="4716462"/>
          </a:xfrm>
        </p:spPr>
        <p:txBody>
          <a:bodyPr/>
          <a:lstStyle/>
          <a:p>
            <a:pPr marL="0" indent="0">
              <a:buNone/>
            </a:pPr>
            <a:r>
              <a:rPr lang="nl-NL" sz="1200" b="1" dirty="0"/>
              <a:t>Algemene instellingen:</a:t>
            </a:r>
          </a:p>
          <a:p>
            <a:pPr>
              <a:defRPr/>
            </a:pPr>
            <a:r>
              <a:rPr lang="nl-NL" sz="1200" dirty="0"/>
              <a:t>Discontovoet = 4,5%</a:t>
            </a:r>
          </a:p>
          <a:p>
            <a:pPr>
              <a:defRPr/>
            </a:pPr>
            <a:r>
              <a:rPr lang="en-NL" sz="1200" dirty="0"/>
              <a:t>K</a:t>
            </a:r>
            <a:r>
              <a:rPr lang="nl-NL" sz="1200" dirty="0"/>
              <a:t>o</a:t>
            </a:r>
            <a:r>
              <a:rPr lang="en-NL" sz="1200" dirty="0"/>
              <a:t>s</a:t>
            </a:r>
            <a:r>
              <a:rPr lang="nl-NL" sz="1200" dirty="0"/>
              <a:t>t</a:t>
            </a:r>
            <a:r>
              <a:rPr lang="en-NL" sz="1200" dirty="0"/>
              <a:t>e</a:t>
            </a:r>
            <a:r>
              <a:rPr lang="nl-NL" sz="1200" dirty="0"/>
              <a:t>n</a:t>
            </a:r>
            <a:r>
              <a:rPr lang="en-NL" sz="1200" dirty="0"/>
              <a:t> </a:t>
            </a:r>
            <a:r>
              <a:rPr lang="nl-NL" sz="1200" dirty="0"/>
              <a:t>o</a:t>
            </a:r>
            <a:r>
              <a:rPr lang="en-NL" sz="1200" dirty="0"/>
              <a:t>.</a:t>
            </a:r>
            <a:r>
              <a:rPr lang="nl-NL" sz="1200" dirty="0"/>
              <a:t>b</a:t>
            </a:r>
            <a:r>
              <a:rPr lang="en-NL" sz="1200" dirty="0"/>
              <a:t>.</a:t>
            </a:r>
            <a:r>
              <a:rPr lang="nl-NL" sz="1200" dirty="0"/>
              <a:t>v</a:t>
            </a:r>
            <a:r>
              <a:rPr lang="en-NL" sz="1200" dirty="0"/>
              <a:t>. </a:t>
            </a:r>
            <a:r>
              <a:rPr lang="nl-NL" sz="1200" dirty="0"/>
              <a:t>prijspeil 2019 </a:t>
            </a:r>
            <a:r>
              <a:rPr lang="en-NL" sz="1200" dirty="0"/>
              <a:t>e</a:t>
            </a:r>
            <a:r>
              <a:rPr lang="nl-NL" sz="1200" dirty="0"/>
              <a:t>n</a:t>
            </a:r>
            <a:r>
              <a:rPr lang="en-NL" sz="1200" dirty="0"/>
              <a:t> </a:t>
            </a:r>
            <a:r>
              <a:rPr lang="nl-NL" sz="1200" dirty="0"/>
              <a:t>CROW-kostenkengetallen</a:t>
            </a:r>
            <a:r>
              <a:rPr lang="en-NL" sz="1200" dirty="0"/>
              <a:t> </a:t>
            </a:r>
            <a:r>
              <a:rPr lang="nl-NL" sz="1200" dirty="0"/>
              <a:t>m</a:t>
            </a:r>
            <a:r>
              <a:rPr lang="en-NL" sz="1200" dirty="0"/>
              <a:t>e</a:t>
            </a:r>
            <a:r>
              <a:rPr lang="nl-NL" sz="1200" dirty="0"/>
              <a:t>t</a:t>
            </a:r>
            <a:r>
              <a:rPr lang="en-NL" sz="1200" dirty="0"/>
              <a:t> </a:t>
            </a:r>
            <a:r>
              <a:rPr lang="nl-NL" sz="1200" dirty="0"/>
              <a:t>e</a:t>
            </a:r>
            <a:r>
              <a:rPr lang="en-NL" sz="1200" dirty="0"/>
              <a:t>x</a:t>
            </a:r>
            <a:r>
              <a:rPr lang="nl-NL" sz="1200" dirty="0"/>
              <a:t>p</a:t>
            </a:r>
            <a:r>
              <a:rPr lang="en-NL" sz="1200" dirty="0"/>
              <a:t>e</a:t>
            </a:r>
            <a:r>
              <a:rPr lang="nl-NL" sz="1200" dirty="0"/>
              <a:t>r</a:t>
            </a:r>
            <a:r>
              <a:rPr lang="en-NL" sz="1200" dirty="0"/>
              <a:t>t</a:t>
            </a:r>
            <a:r>
              <a:rPr lang="nl-NL" sz="1200" dirty="0"/>
              <a:t>i</a:t>
            </a:r>
            <a:r>
              <a:rPr lang="en-NL" sz="1200" dirty="0"/>
              <a:t>n</a:t>
            </a:r>
            <a:r>
              <a:rPr lang="nl-NL" sz="1200" dirty="0"/>
              <a:t>p</a:t>
            </a:r>
            <a:r>
              <a:rPr lang="en-NL" sz="1200" dirty="0"/>
              <a:t>u</a:t>
            </a:r>
            <a:r>
              <a:rPr lang="nl-NL" sz="1200" dirty="0"/>
              <a:t>t</a:t>
            </a:r>
          </a:p>
          <a:p>
            <a:pPr>
              <a:defRPr/>
            </a:pPr>
            <a:r>
              <a:rPr lang="nl-NL" sz="1200" dirty="0"/>
              <a:t>Beide lijnen bemand</a:t>
            </a:r>
          </a:p>
          <a:p>
            <a:pPr>
              <a:defRPr/>
            </a:pPr>
            <a:r>
              <a:rPr lang="nl-NL" sz="1200" dirty="0"/>
              <a:t>Additionele beprijzing nog niet meegenomen,  alleen reguliere reizigersopbrengsten </a:t>
            </a:r>
          </a:p>
          <a:p>
            <a:pPr marL="288000" indent="-288000">
              <a:spcBef>
                <a:spcPts val="400"/>
              </a:spcBef>
              <a:buClr>
                <a:prstClr val="white">
                  <a:lumMod val="65000"/>
                </a:prstClr>
              </a:buClr>
              <a:buFont typeface="Wingdings" panose="05000000000000000000" pitchFamily="2" charset="2"/>
              <a:buChar char="§"/>
              <a:defRPr/>
            </a:pPr>
            <a:endParaRPr lang="nl-NL" sz="1200" dirty="0"/>
          </a:p>
          <a:p>
            <a:pPr marL="0" indent="0">
              <a:spcBef>
                <a:spcPts val="400"/>
              </a:spcBef>
              <a:buClr>
                <a:prstClr val="white">
                  <a:lumMod val="65000"/>
                </a:prstClr>
              </a:buClr>
              <a:buNone/>
              <a:defRPr/>
            </a:pPr>
            <a:r>
              <a:rPr lang="en-NL" sz="1200" b="1" dirty="0"/>
              <a:t>H</a:t>
            </a:r>
            <a:r>
              <a:rPr lang="nl-NL" sz="1200" b="1" dirty="0"/>
              <a:t>e</a:t>
            </a:r>
            <a:r>
              <a:rPr lang="en-NL" sz="1200" b="1" dirty="0"/>
              <a:t>t </a:t>
            </a:r>
            <a:r>
              <a:rPr lang="nl-NL" sz="1200" b="1" dirty="0"/>
              <a:t>o</a:t>
            </a:r>
            <a:r>
              <a:rPr lang="en-NL" sz="1200" b="1" dirty="0"/>
              <a:t>p</a:t>
            </a:r>
            <a:r>
              <a:rPr lang="nl-NL" sz="1200" b="1" dirty="0"/>
              <a:t>e</a:t>
            </a:r>
            <a:r>
              <a:rPr lang="en-NL" sz="1200" b="1" dirty="0"/>
              <a:t>r</a:t>
            </a:r>
            <a:r>
              <a:rPr lang="nl-NL" sz="1200" b="1" dirty="0"/>
              <a:t>a</a:t>
            </a:r>
            <a:r>
              <a:rPr lang="en-NL" sz="1200" b="1" dirty="0"/>
              <a:t>t</a:t>
            </a:r>
            <a:r>
              <a:rPr lang="nl-NL" sz="1200" b="1" dirty="0"/>
              <a:t>i</a:t>
            </a:r>
            <a:r>
              <a:rPr lang="en-NL" sz="1200" b="1" dirty="0"/>
              <a:t>o</a:t>
            </a:r>
            <a:r>
              <a:rPr lang="nl-NL" sz="1200" b="1" dirty="0"/>
              <a:t>n</a:t>
            </a:r>
            <a:r>
              <a:rPr lang="en-NL" sz="1200" b="1" dirty="0"/>
              <a:t>e</a:t>
            </a:r>
            <a:r>
              <a:rPr lang="nl-NL" sz="1200" b="1" dirty="0"/>
              <a:t>e</a:t>
            </a:r>
            <a:r>
              <a:rPr lang="en-NL" sz="1200" b="1" dirty="0"/>
              <a:t>l </a:t>
            </a:r>
            <a:r>
              <a:rPr lang="nl-NL" sz="1200" b="1" dirty="0"/>
              <a:t>r</a:t>
            </a:r>
            <a:r>
              <a:rPr lang="en-NL" sz="1200" b="1" dirty="0"/>
              <a:t>e</a:t>
            </a:r>
            <a:r>
              <a:rPr lang="nl-NL" sz="1200" b="1" dirty="0"/>
              <a:t>s</a:t>
            </a:r>
            <a:r>
              <a:rPr lang="en-NL" sz="1200" b="1" dirty="0"/>
              <a:t>u</a:t>
            </a:r>
            <a:r>
              <a:rPr lang="nl-NL" sz="1200" b="1" dirty="0"/>
              <a:t>l</a:t>
            </a:r>
            <a:r>
              <a:rPr lang="en-NL" sz="1200" b="1" dirty="0"/>
              <a:t>t</a:t>
            </a:r>
            <a:r>
              <a:rPr lang="nl-NL" sz="1200" b="1" dirty="0"/>
              <a:t>a</a:t>
            </a:r>
            <a:r>
              <a:rPr lang="en-NL" sz="1200" b="1" dirty="0"/>
              <a:t>a</a:t>
            </a:r>
            <a:r>
              <a:rPr lang="nl-NL" sz="1200" b="1" dirty="0"/>
              <a:t>t</a:t>
            </a:r>
            <a:r>
              <a:rPr lang="en-NL" sz="1200" b="1" dirty="0"/>
              <a:t> </a:t>
            </a:r>
            <a:r>
              <a:rPr lang="nl-NL" sz="1200" b="1" dirty="0"/>
              <a:t>i</a:t>
            </a:r>
            <a:r>
              <a:rPr lang="en-NL" sz="1200" b="1" dirty="0"/>
              <a:t>s</a:t>
            </a:r>
            <a:r>
              <a:rPr lang="nl-NL" sz="1200" b="1" dirty="0"/>
              <a:t> inclusief </a:t>
            </a:r>
            <a:r>
              <a:rPr lang="en-NL" sz="1200" b="1" dirty="0"/>
              <a:t>delta op </a:t>
            </a:r>
            <a:r>
              <a:rPr lang="en-NL" sz="1200" b="1" dirty="0" err="1"/>
              <a:t>bestaand</a:t>
            </a:r>
            <a:r>
              <a:rPr lang="en-NL" sz="1200" b="1" dirty="0"/>
              <a:t> </a:t>
            </a:r>
            <a:r>
              <a:rPr lang="en-NL" sz="1200" b="1" dirty="0" err="1"/>
              <a:t>tracé</a:t>
            </a:r>
            <a:r>
              <a:rPr lang="nl-NL" sz="1200" b="1" dirty="0"/>
              <a:t> </a:t>
            </a:r>
            <a:r>
              <a:rPr lang="en-NL" sz="1200" b="1" dirty="0"/>
              <a:t>(</a:t>
            </a:r>
            <a:r>
              <a:rPr lang="nl-NL" sz="1200" b="1" dirty="0"/>
              <a:t>o.b.v. input VRA</a:t>
            </a:r>
            <a:r>
              <a:rPr lang="en-NL" sz="1200" b="1" dirty="0"/>
              <a:t>):</a:t>
            </a:r>
            <a:endParaRPr lang="nl-NL" sz="1200" b="1" dirty="0"/>
          </a:p>
          <a:p>
            <a:pPr>
              <a:defRPr/>
            </a:pPr>
            <a:r>
              <a:rPr lang="nl-NL" sz="1200" dirty="0"/>
              <a:t>Opbrengsten (toename </a:t>
            </a:r>
            <a:r>
              <a:rPr lang="nl-NL" sz="1200" dirty="0" err="1"/>
              <a:t>reizigerskm</a:t>
            </a:r>
            <a:r>
              <a:rPr lang="nl-NL" sz="1200" dirty="0"/>
              <a:t>) </a:t>
            </a:r>
          </a:p>
          <a:p>
            <a:pPr>
              <a:defRPr/>
            </a:pPr>
            <a:r>
              <a:rPr lang="nl-NL" sz="1200" dirty="0"/>
              <a:t>Kosten (toename frequentie en aantal metro’s t.o.v. referentie)</a:t>
            </a:r>
          </a:p>
          <a:p>
            <a:pPr>
              <a:defRPr/>
            </a:pPr>
            <a:r>
              <a:rPr lang="en-NL" sz="1200" dirty="0"/>
              <a:t>E</a:t>
            </a:r>
            <a:r>
              <a:rPr lang="nl-NL" sz="1200" dirty="0"/>
              <a:t>e</a:t>
            </a:r>
            <a:r>
              <a:rPr lang="en-NL" sz="1200" dirty="0"/>
              <a:t>n</a:t>
            </a:r>
            <a:r>
              <a:rPr lang="nl-NL" sz="1200" dirty="0"/>
              <a:t> uitsplitsing tussen nieuw en bestaand </a:t>
            </a:r>
            <a:r>
              <a:rPr lang="nl-NL" sz="1200" dirty="0" err="1"/>
              <a:t>trac</a:t>
            </a:r>
            <a:r>
              <a:rPr lang="en-NL" sz="1200" dirty="0"/>
              <a:t>é </a:t>
            </a:r>
            <a:r>
              <a:rPr lang="nl-NL" sz="1200" dirty="0"/>
              <a:t>e</a:t>
            </a:r>
            <a:r>
              <a:rPr lang="en-NL" sz="1200" dirty="0"/>
              <a:t>n </a:t>
            </a:r>
            <a:r>
              <a:rPr lang="nl-NL" sz="1200" dirty="0"/>
              <a:t>v</a:t>
            </a:r>
            <a:r>
              <a:rPr lang="en-NL" sz="1200" dirty="0"/>
              <a:t>e</a:t>
            </a:r>
            <a:r>
              <a:rPr lang="nl-NL" sz="1200" dirty="0"/>
              <a:t>r</a:t>
            </a:r>
            <a:r>
              <a:rPr lang="en-NL" sz="1200" dirty="0"/>
              <a:t>d</a:t>
            </a:r>
            <a:r>
              <a:rPr lang="nl-NL" sz="1200" dirty="0"/>
              <a:t>e</a:t>
            </a:r>
            <a:r>
              <a:rPr lang="en-NL" sz="1200" dirty="0"/>
              <a:t>re </a:t>
            </a:r>
            <a:r>
              <a:rPr lang="nl-NL" sz="1200" dirty="0"/>
              <a:t>d</a:t>
            </a:r>
            <a:r>
              <a:rPr lang="en-NL" sz="1200" dirty="0"/>
              <a:t>e</a:t>
            </a:r>
            <a:r>
              <a:rPr lang="nl-NL" sz="1200" dirty="0"/>
              <a:t>t</a:t>
            </a:r>
            <a:r>
              <a:rPr lang="en-NL" sz="1200" dirty="0"/>
              <a:t>a</a:t>
            </a:r>
            <a:r>
              <a:rPr lang="nl-NL" sz="1200" dirty="0"/>
              <a:t>i</a:t>
            </a:r>
            <a:r>
              <a:rPr lang="en-NL" sz="1200" dirty="0"/>
              <a:t>l</a:t>
            </a:r>
            <a:r>
              <a:rPr lang="nl-NL" sz="1200" dirty="0"/>
              <a:t>s</a:t>
            </a:r>
            <a:r>
              <a:rPr lang="en-NL" sz="1200" dirty="0"/>
              <a:t> </a:t>
            </a:r>
            <a:r>
              <a:rPr lang="en-NL" sz="1200" dirty="0" err="1"/>
              <a:t>volg</a:t>
            </a:r>
            <a:r>
              <a:rPr lang="nl-NL" sz="1200" dirty="0"/>
              <a:t>e</a:t>
            </a:r>
            <a:r>
              <a:rPr lang="en-NL" sz="1200" dirty="0"/>
              <a:t>n later in d</a:t>
            </a:r>
            <a:r>
              <a:rPr lang="nl-NL" sz="1200" dirty="0"/>
              <a:t>i</a:t>
            </a:r>
            <a:r>
              <a:rPr lang="en-NL" sz="1200" dirty="0"/>
              <a:t>t </a:t>
            </a:r>
            <a:r>
              <a:rPr lang="nl-NL" sz="1200" dirty="0"/>
              <a:t>d</a:t>
            </a:r>
            <a:r>
              <a:rPr lang="en-NL" sz="1200" dirty="0"/>
              <a:t>o</a:t>
            </a:r>
            <a:r>
              <a:rPr lang="nl-NL" sz="1200" dirty="0"/>
              <a:t>c</a:t>
            </a:r>
            <a:r>
              <a:rPr lang="en-NL" sz="1200" dirty="0"/>
              <a:t>u</a:t>
            </a:r>
            <a:r>
              <a:rPr lang="nl-NL" sz="1200" dirty="0"/>
              <a:t>m</a:t>
            </a:r>
            <a:r>
              <a:rPr lang="en-NL" sz="1200" dirty="0"/>
              <a:t>e</a:t>
            </a:r>
            <a:r>
              <a:rPr lang="nl-NL" sz="1200" dirty="0"/>
              <a:t>n</a:t>
            </a:r>
            <a:r>
              <a:rPr lang="en-NL" sz="1200" dirty="0"/>
              <a:t>t.</a:t>
            </a:r>
          </a:p>
          <a:p>
            <a:pPr>
              <a:defRPr/>
            </a:pPr>
            <a:r>
              <a:rPr lang="en-NL" sz="1200" dirty="0" err="1"/>
              <a:t>Aanlegkosten</a:t>
            </a:r>
            <a:r>
              <a:rPr lang="en-NL" sz="1200" dirty="0"/>
              <a:t> incl. </a:t>
            </a:r>
            <a:r>
              <a:rPr lang="en-NL" sz="1200" dirty="0" err="1"/>
              <a:t>werkplaats</a:t>
            </a:r>
            <a:r>
              <a:rPr lang="en-NL" sz="1200" dirty="0"/>
              <a:t>/</a:t>
            </a:r>
            <a:r>
              <a:rPr lang="en-NL" sz="1200" dirty="0" err="1"/>
              <a:t>opstelterrein</a:t>
            </a:r>
            <a:endParaRPr lang="nl-NL" sz="1200" dirty="0"/>
          </a:p>
          <a:p>
            <a:pPr>
              <a:defRPr/>
            </a:pPr>
            <a:r>
              <a:rPr lang="en-NL" sz="1200" dirty="0" err="1"/>
              <a:t>Restwaarde</a:t>
            </a:r>
            <a:r>
              <a:rPr lang="en-NL" sz="1200" dirty="0"/>
              <a:t> </a:t>
            </a:r>
            <a:r>
              <a:rPr lang="en-NL" sz="1200" dirty="0" err="1"/>
              <a:t>i</a:t>
            </a:r>
            <a:r>
              <a:rPr lang="nl-NL" sz="1200" dirty="0"/>
              <a:t>s</a:t>
            </a:r>
            <a:r>
              <a:rPr lang="en-NL" sz="1200" dirty="0"/>
              <a:t> </a:t>
            </a:r>
            <a:r>
              <a:rPr lang="en-NL" sz="1200" dirty="0" err="1"/>
              <a:t>ber</a:t>
            </a:r>
            <a:r>
              <a:rPr lang="nl-NL" sz="1200" dirty="0"/>
              <a:t>e</a:t>
            </a:r>
            <a:r>
              <a:rPr lang="en-NL" sz="1200" dirty="0"/>
              <a:t>k</a:t>
            </a:r>
            <a:r>
              <a:rPr lang="nl-NL" sz="1200" dirty="0"/>
              <a:t>e</a:t>
            </a:r>
            <a:r>
              <a:rPr lang="en-NL" sz="1200" dirty="0"/>
              <a:t>n</a:t>
            </a:r>
            <a:r>
              <a:rPr lang="nl-NL" sz="1200" dirty="0"/>
              <a:t>d</a:t>
            </a:r>
            <a:r>
              <a:rPr lang="en-NL" sz="1200" dirty="0"/>
              <a:t> </a:t>
            </a:r>
            <a:r>
              <a:rPr lang="nl-NL" sz="1200" dirty="0"/>
              <a:t>m</a:t>
            </a:r>
            <a:r>
              <a:rPr lang="en-NL" sz="1200" dirty="0"/>
              <a:t>e</a:t>
            </a:r>
            <a:r>
              <a:rPr lang="nl-NL" sz="1200" dirty="0"/>
              <a:t>t</a:t>
            </a:r>
            <a:r>
              <a:rPr lang="en-NL" sz="1200" dirty="0"/>
              <a:t> </a:t>
            </a:r>
            <a:r>
              <a:rPr lang="nl-NL" sz="1200" dirty="0"/>
              <a:t>a</a:t>
            </a:r>
            <a:r>
              <a:rPr lang="en-NL" sz="1200" dirty="0"/>
              <a:t>l</a:t>
            </a:r>
            <a:r>
              <a:rPr lang="nl-NL" sz="1200" dirty="0"/>
              <a:t>l</a:t>
            </a:r>
            <a:r>
              <a:rPr lang="en-NL" sz="1200" dirty="0"/>
              <a:t>e</a:t>
            </a:r>
            <a:r>
              <a:rPr lang="nl-NL" sz="1200" dirty="0"/>
              <a:t>e</a:t>
            </a:r>
            <a:r>
              <a:rPr lang="en-NL" sz="1200" dirty="0"/>
              <a:t>n het </a:t>
            </a:r>
            <a:r>
              <a:rPr lang="en-NL" sz="1200" dirty="0" err="1"/>
              <a:t>operationeel</a:t>
            </a:r>
            <a:r>
              <a:rPr lang="en-NL" sz="1200" dirty="0"/>
              <a:t> </a:t>
            </a:r>
            <a:r>
              <a:rPr lang="en-NL" sz="1200" dirty="0" err="1"/>
              <a:t>resulta</a:t>
            </a:r>
            <a:r>
              <a:rPr lang="nl-NL" sz="1200" dirty="0"/>
              <a:t>a</a:t>
            </a:r>
            <a:r>
              <a:rPr lang="en-NL" sz="1200" dirty="0"/>
              <a:t>t </a:t>
            </a:r>
            <a:r>
              <a:rPr lang="nl-NL" sz="1200" dirty="0"/>
              <a:t>v</a:t>
            </a:r>
            <a:r>
              <a:rPr lang="en-NL" sz="1200" dirty="0"/>
              <a:t>a</a:t>
            </a:r>
            <a:r>
              <a:rPr lang="nl-NL" sz="1200" dirty="0"/>
              <a:t>n</a:t>
            </a:r>
            <a:r>
              <a:rPr lang="en-NL" sz="1200" dirty="0"/>
              <a:t> </a:t>
            </a:r>
            <a:r>
              <a:rPr lang="nl-NL" sz="1200" dirty="0"/>
              <a:t>s</a:t>
            </a:r>
            <a:r>
              <a:rPr lang="en-NL" sz="1200" dirty="0"/>
              <a:t>t</a:t>
            </a:r>
            <a:r>
              <a:rPr lang="nl-NL" sz="1200" dirty="0"/>
              <a:t>r</a:t>
            </a:r>
            <a:r>
              <a:rPr lang="en-NL" sz="1200" dirty="0" err="1"/>
              <a:t>i</a:t>
            </a:r>
            <a:r>
              <a:rPr lang="nl-NL" sz="1200" dirty="0"/>
              <a:t>k</a:t>
            </a:r>
            <a:r>
              <a:rPr lang="en-NL" sz="1200" dirty="0"/>
              <a:t>t </a:t>
            </a:r>
            <a:r>
              <a:rPr lang="nl-NL" sz="1200" dirty="0"/>
              <a:t>h</a:t>
            </a:r>
            <a:r>
              <a:rPr lang="en-NL" sz="1200" dirty="0"/>
              <a:t>e</a:t>
            </a:r>
            <a:r>
              <a:rPr lang="nl-NL" sz="1200" dirty="0"/>
              <a:t>t</a:t>
            </a:r>
            <a:r>
              <a:rPr lang="en-NL" sz="1200" dirty="0"/>
              <a:t> </a:t>
            </a:r>
            <a:r>
              <a:rPr lang="nl-NL" sz="1200" dirty="0"/>
              <a:t>n</a:t>
            </a:r>
            <a:r>
              <a:rPr lang="en-NL" sz="1200" dirty="0" err="1"/>
              <a:t>i</a:t>
            </a:r>
            <a:r>
              <a:rPr lang="nl-NL" sz="1200" dirty="0"/>
              <a:t>e</a:t>
            </a:r>
            <a:r>
              <a:rPr lang="en-NL" sz="1200" dirty="0"/>
              <a:t>u</a:t>
            </a:r>
            <a:r>
              <a:rPr lang="nl-NL" sz="1200" dirty="0"/>
              <a:t>w</a:t>
            </a:r>
            <a:r>
              <a:rPr lang="en-NL" sz="1200" dirty="0"/>
              <a:t>e </a:t>
            </a:r>
            <a:r>
              <a:rPr lang="nl-NL" sz="1200" dirty="0"/>
              <a:t>t</a:t>
            </a:r>
            <a:r>
              <a:rPr lang="en-NL" sz="1200" dirty="0"/>
              <a:t>r</a:t>
            </a:r>
            <a:r>
              <a:rPr lang="nl-NL" sz="1200" dirty="0"/>
              <a:t>a</a:t>
            </a:r>
            <a:r>
              <a:rPr lang="en-NL" sz="1200" dirty="0" err="1"/>
              <a:t>cé</a:t>
            </a:r>
            <a:r>
              <a:rPr lang="en-NL" sz="1200" dirty="0"/>
              <a:t>.</a:t>
            </a:r>
          </a:p>
          <a:p>
            <a:pPr>
              <a:spcBef>
                <a:spcPts val="400"/>
              </a:spcBef>
              <a:buClr>
                <a:prstClr val="white">
                  <a:lumMod val="65000"/>
                </a:prstClr>
              </a:buClr>
              <a:defRPr/>
            </a:pPr>
            <a:endParaRPr lang="nl-NL" sz="1200" dirty="0"/>
          </a:p>
        </p:txBody>
      </p:sp>
      <p:sp>
        <p:nvSpPr>
          <p:cNvPr id="7" name="Title 6">
            <a:extLst>
              <a:ext uri="{FF2B5EF4-FFF2-40B4-BE49-F238E27FC236}">
                <a16:creationId xmlns:a16="http://schemas.microsoft.com/office/drawing/2014/main" id="{785C0C80-9216-4805-BDD5-B36983F0DC09}"/>
              </a:ext>
            </a:extLst>
          </p:cNvPr>
          <p:cNvSpPr>
            <a:spLocks noGrp="1"/>
          </p:cNvSpPr>
          <p:nvPr>
            <p:ph type="title"/>
          </p:nvPr>
        </p:nvSpPr>
        <p:spPr>
          <a:xfrm>
            <a:off x="666747" y="266699"/>
            <a:ext cx="10866441" cy="930276"/>
          </a:xfrm>
        </p:spPr>
        <p:txBody>
          <a:bodyPr vert="horz"/>
          <a:lstStyle/>
          <a:p>
            <a:r>
              <a:rPr lang="en-NL"/>
              <a:t>Besluitvorming wordt ondersteund door evalueren saldo van verschillende scenario’s volgend uit de BuCa </a:t>
            </a:r>
            <a:endParaRPr lang="nl-NL" dirty="0"/>
          </a:p>
        </p:txBody>
      </p:sp>
      <p:sp>
        <p:nvSpPr>
          <p:cNvPr id="85" name="Slide Number Placeholder 2">
            <a:extLst>
              <a:ext uri="{FF2B5EF4-FFF2-40B4-BE49-F238E27FC236}">
                <a16:creationId xmlns:a16="http://schemas.microsoft.com/office/drawing/2014/main" id="{2AB8A152-CE2D-4FFC-839B-2C73A08CD1BB}"/>
              </a:ext>
            </a:extLst>
          </p:cNvPr>
          <p:cNvSpPr>
            <a:spLocks noGrp="1"/>
          </p:cNvSpPr>
          <p:nvPr>
            <p:ph type="sldNum" sz="quarter" idx="12"/>
          </p:nvPr>
        </p:nvSpPr>
        <p:spPr>
          <a:xfrm>
            <a:off x="10510048" y="6619875"/>
            <a:ext cx="1023140" cy="16827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992CD0B2-8AB2-4C6C-8876-E15753662C9B}" type="slidenum">
              <a:rPr kumimoji="0" lang="nl-NL" sz="1200" b="0" i="0" u="none" strike="noStrike" kern="1200" cap="none" spc="0" normalizeH="0" baseline="0" noProof="0" smtClean="0">
                <a:ln>
                  <a:noFill/>
                </a:ln>
                <a:solidFill>
                  <a:srgbClr val="000000"/>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200" b="0" i="0" u="none" strike="noStrike" kern="1200" cap="none" spc="0" normalizeH="0" baseline="0" noProof="0" dirty="0">
              <a:ln>
                <a:noFill/>
              </a:ln>
              <a:solidFill>
                <a:srgbClr val="000000"/>
              </a:solidFill>
              <a:effectLst/>
              <a:uLnTx/>
              <a:uFillTx/>
              <a:latin typeface="Corbel"/>
              <a:ea typeface="+mn-ea"/>
              <a:cs typeface="Arial" panose="020B0604020202020204" pitchFamily="34" charset="0"/>
            </a:endParaRPr>
          </a:p>
        </p:txBody>
      </p:sp>
      <p:sp>
        <p:nvSpPr>
          <p:cNvPr id="46" name="Text Placeholder 6">
            <a:extLst>
              <a:ext uri="{FF2B5EF4-FFF2-40B4-BE49-F238E27FC236}">
                <a16:creationId xmlns:a16="http://schemas.microsoft.com/office/drawing/2014/main" id="{AB54A126-8155-411B-AFA8-46A42CB39C76}"/>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r>
              <a:rPr lang="nl-NL" b="1" dirty="0"/>
              <a:t>Netto contante waarde (NCW), € mln</a:t>
            </a:r>
          </a:p>
        </p:txBody>
      </p:sp>
      <p:sp>
        <p:nvSpPr>
          <p:cNvPr id="75" name="Text Placeholder 6">
            <a:extLst>
              <a:ext uri="{FF2B5EF4-FFF2-40B4-BE49-F238E27FC236}">
                <a16:creationId xmlns:a16="http://schemas.microsoft.com/office/drawing/2014/main" id="{DF44E403-C268-4E5C-BD11-25B3549E9F95}"/>
              </a:ext>
            </a:extLst>
          </p:cNvPr>
          <p:cNvSpPr txBox="1">
            <a:spLocks/>
          </p:cNvSpPr>
          <p:nvPr/>
        </p:nvSpPr>
        <p:spPr>
          <a:xfrm>
            <a:off x="4473181" y="1603370"/>
            <a:ext cx="1938489" cy="247649"/>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cenario 1</a:t>
            </a:r>
          </a:p>
        </p:txBody>
      </p:sp>
      <p:sp>
        <p:nvSpPr>
          <p:cNvPr id="101" name="Rectangle 100">
            <a:extLst>
              <a:ext uri="{FF2B5EF4-FFF2-40B4-BE49-F238E27FC236}">
                <a16:creationId xmlns:a16="http://schemas.microsoft.com/office/drawing/2014/main" id="{9FE0E42A-09E1-414E-BA4E-AC100AC66C4B}"/>
              </a:ext>
            </a:extLst>
          </p:cNvPr>
          <p:cNvSpPr/>
          <p:nvPr/>
        </p:nvSpPr>
        <p:spPr>
          <a:xfrm>
            <a:off x="4947600" y="2235202"/>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Aanlegkosten </a:t>
            </a:r>
            <a:br>
              <a:rPr lang="en-NL" sz="1000" b="1" dirty="0"/>
            </a:br>
            <a:endParaRPr lang="en-NL" sz="1000" b="1" dirty="0"/>
          </a:p>
          <a:p>
            <a:pPr marL="0" indent="0" algn="ctr">
              <a:buClr>
                <a:schemeClr val="tx2"/>
              </a:buClr>
              <a:buNone/>
            </a:pPr>
            <a:r>
              <a:rPr lang="nl-NL" sz="1000" b="1" dirty="0"/>
              <a:t>2.000</a:t>
            </a:r>
          </a:p>
        </p:txBody>
      </p:sp>
      <p:sp>
        <p:nvSpPr>
          <p:cNvPr id="106" name="Rectangle 105">
            <a:extLst>
              <a:ext uri="{FF2B5EF4-FFF2-40B4-BE49-F238E27FC236}">
                <a16:creationId xmlns:a16="http://schemas.microsoft.com/office/drawing/2014/main" id="{9D371459-0A2B-44C9-AC67-0C5AC4BA4888}"/>
              </a:ext>
            </a:extLst>
          </p:cNvPr>
          <p:cNvSpPr/>
          <p:nvPr/>
        </p:nvSpPr>
        <p:spPr>
          <a:xfrm>
            <a:off x="4952205" y="4523145"/>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000" b="1" dirty="0"/>
          </a:p>
          <a:p>
            <a:pPr marL="0" indent="0" algn="ctr">
              <a:buClr>
                <a:schemeClr val="tx2"/>
              </a:buClr>
              <a:buNone/>
            </a:pPr>
            <a:r>
              <a:rPr lang="nl-NL" sz="1000" b="1" dirty="0"/>
              <a:t>Totaal</a:t>
            </a:r>
          </a:p>
          <a:p>
            <a:pPr marL="0" indent="0" algn="ctr">
              <a:buClr>
                <a:schemeClr val="tx2"/>
              </a:buClr>
              <a:buNone/>
            </a:pPr>
            <a:r>
              <a:rPr lang="nl-NL" sz="1000" b="1"/>
              <a:t>1.650</a:t>
            </a:r>
            <a:endParaRPr lang="nl-NL" sz="1000" b="1" dirty="0"/>
          </a:p>
          <a:p>
            <a:pPr marL="0" indent="0" algn="ctr">
              <a:buClr>
                <a:schemeClr val="tx2"/>
              </a:buClr>
              <a:buNone/>
            </a:pPr>
            <a:endParaRPr lang="nl-NL" sz="1000" b="1" dirty="0"/>
          </a:p>
        </p:txBody>
      </p:sp>
      <p:sp>
        <p:nvSpPr>
          <p:cNvPr id="102" name="Rectangle 101">
            <a:extLst>
              <a:ext uri="{FF2B5EF4-FFF2-40B4-BE49-F238E27FC236}">
                <a16:creationId xmlns:a16="http://schemas.microsoft.com/office/drawing/2014/main" id="{63C95494-801C-4A4F-A373-C3366E068BDD}"/>
              </a:ext>
            </a:extLst>
          </p:cNvPr>
          <p:cNvSpPr/>
          <p:nvPr/>
        </p:nvSpPr>
        <p:spPr>
          <a:xfrm>
            <a:off x="4941362" y="2997650"/>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Operationeel resultaat </a:t>
            </a:r>
          </a:p>
          <a:p>
            <a:pPr marL="0" indent="0" algn="ctr">
              <a:buClr>
                <a:schemeClr val="tx2"/>
              </a:buClr>
              <a:buNone/>
            </a:pPr>
            <a:r>
              <a:rPr lang="nl-NL" sz="1000" b="1" dirty="0"/>
              <a:t>200</a:t>
            </a:r>
          </a:p>
        </p:txBody>
      </p:sp>
      <p:sp>
        <p:nvSpPr>
          <p:cNvPr id="56" name="Rectangle 55">
            <a:extLst>
              <a:ext uri="{FF2B5EF4-FFF2-40B4-BE49-F238E27FC236}">
                <a16:creationId xmlns:a16="http://schemas.microsoft.com/office/drawing/2014/main" id="{813216D7-68D4-42B5-92B3-77116E3EA605}"/>
              </a:ext>
            </a:extLst>
          </p:cNvPr>
          <p:cNvSpPr/>
          <p:nvPr/>
        </p:nvSpPr>
        <p:spPr>
          <a:xfrm>
            <a:off x="4941362" y="3757669"/>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Restwaarde</a:t>
            </a:r>
          </a:p>
          <a:p>
            <a:pPr marL="0" indent="0" algn="ctr">
              <a:buClr>
                <a:schemeClr val="tx2"/>
              </a:buClr>
              <a:buNone/>
            </a:pPr>
            <a:r>
              <a:rPr lang="nl-NL" sz="1000" b="1" dirty="0"/>
              <a:t>150</a:t>
            </a:r>
          </a:p>
        </p:txBody>
      </p:sp>
      <p:cxnSp>
        <p:nvCxnSpPr>
          <p:cNvPr id="4" name="Straight Connector 3">
            <a:extLst>
              <a:ext uri="{FF2B5EF4-FFF2-40B4-BE49-F238E27FC236}">
                <a16:creationId xmlns:a16="http://schemas.microsoft.com/office/drawing/2014/main" id="{BC7C3449-E4B9-47FF-ACC1-4F2D1655BE4A}"/>
              </a:ext>
            </a:extLst>
          </p:cNvPr>
          <p:cNvCxnSpPr>
            <a:cxnSpLocks/>
          </p:cNvCxnSpPr>
          <p:nvPr/>
        </p:nvCxnSpPr>
        <p:spPr>
          <a:xfrm flipV="1">
            <a:off x="4562457" y="1793116"/>
            <a:ext cx="18492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66" name="Text Placeholder 6">
            <a:extLst>
              <a:ext uri="{FF2B5EF4-FFF2-40B4-BE49-F238E27FC236}">
                <a16:creationId xmlns:a16="http://schemas.microsoft.com/office/drawing/2014/main" id="{9652DC53-2460-4CE9-8050-2C79043CE1E7}"/>
              </a:ext>
            </a:extLst>
          </p:cNvPr>
          <p:cNvSpPr txBox="1">
            <a:spLocks/>
          </p:cNvSpPr>
          <p:nvPr/>
        </p:nvSpPr>
        <p:spPr>
          <a:xfrm>
            <a:off x="4473181" y="1786539"/>
            <a:ext cx="1849213" cy="234348"/>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endParaRPr kumimoji="0" lang="nl-NL" sz="110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Footer Placeholder 1">
            <a:extLst>
              <a:ext uri="{FF2B5EF4-FFF2-40B4-BE49-F238E27FC236}">
                <a16:creationId xmlns:a16="http://schemas.microsoft.com/office/drawing/2014/main" id="{455B5907-8AF5-40C7-B0FB-150C4F986CDE}"/>
              </a:ext>
            </a:extLst>
          </p:cNvPr>
          <p:cNvSpPr>
            <a:spLocks noGrp="1"/>
          </p:cNvSpPr>
          <p:nvPr>
            <p:ph type="ftr" sz="quarter" idx="11"/>
          </p:nvPr>
        </p:nvSpPr>
        <p:spPr>
          <a:xfrm>
            <a:off x="658813" y="6369198"/>
            <a:ext cx="9675812" cy="163512"/>
          </a:xfrm>
        </p:spPr>
        <p:txBody>
          <a:bodyPr/>
          <a:lstStyle/>
          <a:p>
            <a:pPr marL="85725" indent="-85725"/>
            <a:endParaRPr lang="nl-NL" dirty="0"/>
          </a:p>
        </p:txBody>
      </p:sp>
      <p:sp>
        <p:nvSpPr>
          <p:cNvPr id="59" name="Footer Placeholder 1">
            <a:extLst>
              <a:ext uri="{FF2B5EF4-FFF2-40B4-BE49-F238E27FC236}">
                <a16:creationId xmlns:a16="http://schemas.microsoft.com/office/drawing/2014/main" id="{AFD2D5DE-80C8-4020-903D-69CDD20B6378}"/>
              </a:ext>
            </a:extLst>
          </p:cNvPr>
          <p:cNvSpPr txBox="1">
            <a:spLocks/>
          </p:cNvSpPr>
          <p:nvPr/>
        </p:nvSpPr>
        <p:spPr>
          <a:xfrm>
            <a:off x="658813" y="6619875"/>
            <a:ext cx="9675812" cy="163512"/>
          </a:xfrm>
          <a:prstGeom prst="rect">
            <a:avLst/>
          </a:prstGeom>
        </p:spPr>
        <p:txBody>
          <a:bodyPr vert="horz" lIns="91440" tIns="45720" rIns="91440" bIns="45720" rtlCol="0" anchor="ctr"/>
          <a:lstStyle>
            <a:defPPr>
              <a:defRPr lang="nl-NL"/>
            </a:defPPr>
            <a:lvl1pPr algn="l" rtl="0" fontAlgn="base">
              <a:spcBef>
                <a:spcPct val="0"/>
              </a:spcBef>
              <a:spcAft>
                <a:spcPct val="0"/>
              </a:spcAft>
              <a:defRPr sz="8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indent="0">
              <a:buNone/>
            </a:pPr>
            <a:r>
              <a:rPr lang="en-NL" dirty="0"/>
              <a:t>B</a:t>
            </a:r>
            <a:r>
              <a:rPr lang="nl-NL" dirty="0"/>
              <a:t>r</a:t>
            </a:r>
            <a:r>
              <a:rPr lang="en-NL" dirty="0"/>
              <a:t>o</a:t>
            </a:r>
            <a:r>
              <a:rPr lang="nl-NL" dirty="0"/>
              <a:t>n</a:t>
            </a:r>
            <a:r>
              <a:rPr lang="en-NL" dirty="0"/>
              <a:t>: </a:t>
            </a:r>
            <a:r>
              <a:rPr lang="nl-NL" dirty="0"/>
              <a:t>B</a:t>
            </a:r>
            <a:r>
              <a:rPr lang="en-NL" dirty="0"/>
              <a:t>u</a:t>
            </a:r>
            <a:r>
              <a:rPr lang="nl-NL" dirty="0"/>
              <a:t>C</a:t>
            </a:r>
            <a:r>
              <a:rPr lang="en-NL" dirty="0"/>
              <a:t>a-</a:t>
            </a:r>
            <a:r>
              <a:rPr lang="nl-NL" dirty="0"/>
              <a:t>m</a:t>
            </a:r>
            <a:r>
              <a:rPr lang="en-NL" dirty="0"/>
              <a:t>o</a:t>
            </a:r>
            <a:r>
              <a:rPr lang="nl-NL" dirty="0"/>
              <a:t>d</a:t>
            </a:r>
            <a:r>
              <a:rPr lang="en-NL" dirty="0"/>
              <a:t>e</a:t>
            </a:r>
            <a:r>
              <a:rPr lang="nl-NL" dirty="0"/>
              <a:t>l</a:t>
            </a:r>
            <a:r>
              <a:rPr lang="en-NL" dirty="0"/>
              <a:t>, V</a:t>
            </a:r>
            <a:r>
              <a:rPr lang="nl-NL" dirty="0"/>
              <a:t>R</a:t>
            </a:r>
            <a:r>
              <a:rPr lang="en-NL" dirty="0"/>
              <a:t>A, </a:t>
            </a:r>
            <a:r>
              <a:rPr lang="nl-NL" dirty="0"/>
              <a:t>A</a:t>
            </a:r>
            <a:r>
              <a:rPr lang="en-NL" dirty="0"/>
              <a:t>n</a:t>
            </a:r>
            <a:r>
              <a:rPr lang="nl-NL" dirty="0"/>
              <a:t>a</a:t>
            </a:r>
            <a:r>
              <a:rPr lang="en-NL" dirty="0"/>
              <a:t>l</a:t>
            </a:r>
            <a:r>
              <a:rPr lang="nl-NL" dirty="0"/>
              <a:t>y</a:t>
            </a:r>
            <a:r>
              <a:rPr lang="en-NL" dirty="0"/>
              <a:t>s</a:t>
            </a:r>
            <a:r>
              <a:rPr lang="nl-NL" dirty="0"/>
              <a:t>e</a:t>
            </a:r>
            <a:r>
              <a:rPr lang="en-NL" dirty="0"/>
              <a:t> </a:t>
            </a:r>
            <a:r>
              <a:rPr lang="nl-NL" dirty="0"/>
              <a:t>i</a:t>
            </a:r>
            <a:r>
              <a:rPr lang="en-NL" dirty="0"/>
              <a:t>t’</a:t>
            </a:r>
            <a:r>
              <a:rPr lang="nl-NL" dirty="0"/>
              <a:t>s</a:t>
            </a:r>
            <a:r>
              <a:rPr lang="en-NL" dirty="0"/>
              <a:t> </a:t>
            </a:r>
            <a:r>
              <a:rPr lang="nl-NL" dirty="0"/>
              <a:t>p</a:t>
            </a:r>
            <a:r>
              <a:rPr lang="en-NL" dirty="0"/>
              <a:t>u</a:t>
            </a:r>
            <a:r>
              <a:rPr lang="nl-NL" dirty="0"/>
              <a:t>b</a:t>
            </a:r>
            <a:r>
              <a:rPr lang="en-NL" dirty="0"/>
              <a:t>l</a:t>
            </a:r>
            <a:r>
              <a:rPr lang="nl-NL" dirty="0"/>
              <a:t>i</a:t>
            </a:r>
            <a:r>
              <a:rPr lang="en-NL" dirty="0"/>
              <a:t>c</a:t>
            </a:r>
            <a:endParaRPr lang="nl-NL" dirty="0"/>
          </a:p>
        </p:txBody>
      </p:sp>
      <p:sp>
        <p:nvSpPr>
          <p:cNvPr id="68" name="Text Placeholder 6">
            <a:extLst>
              <a:ext uri="{FF2B5EF4-FFF2-40B4-BE49-F238E27FC236}">
                <a16:creationId xmlns:a16="http://schemas.microsoft.com/office/drawing/2014/main" id="{339F83D2-6634-4588-9FE5-727092EA7A6A}"/>
              </a:ext>
            </a:extLst>
          </p:cNvPr>
          <p:cNvSpPr txBox="1">
            <a:spLocks/>
          </p:cNvSpPr>
          <p:nvPr/>
        </p:nvSpPr>
        <p:spPr>
          <a:xfrm>
            <a:off x="6915840" y="1603370"/>
            <a:ext cx="1938489" cy="247649"/>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cenario 2</a:t>
            </a:r>
          </a:p>
        </p:txBody>
      </p:sp>
      <p:sp>
        <p:nvSpPr>
          <p:cNvPr id="94" name="Rectangle 93">
            <a:extLst>
              <a:ext uri="{FF2B5EF4-FFF2-40B4-BE49-F238E27FC236}">
                <a16:creationId xmlns:a16="http://schemas.microsoft.com/office/drawing/2014/main" id="{12FEE382-2B21-4401-9E7B-C91B8C4EF3BB}"/>
              </a:ext>
            </a:extLst>
          </p:cNvPr>
          <p:cNvSpPr/>
          <p:nvPr/>
        </p:nvSpPr>
        <p:spPr>
          <a:xfrm>
            <a:off x="7390259" y="2235202"/>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Aanlegkosten </a:t>
            </a:r>
            <a:br>
              <a:rPr lang="en-NL" sz="1000" b="1" dirty="0"/>
            </a:br>
            <a:endParaRPr lang="en-NL" sz="1000" b="1" dirty="0"/>
          </a:p>
          <a:p>
            <a:pPr marL="0" indent="0" algn="ctr">
              <a:buClr>
                <a:schemeClr val="tx2"/>
              </a:buClr>
              <a:buNone/>
            </a:pPr>
            <a:r>
              <a:rPr lang="nl-NL" sz="1000" b="1" dirty="0"/>
              <a:t>2.600</a:t>
            </a:r>
          </a:p>
        </p:txBody>
      </p:sp>
      <p:sp>
        <p:nvSpPr>
          <p:cNvPr id="95" name="Rectangle 94">
            <a:extLst>
              <a:ext uri="{FF2B5EF4-FFF2-40B4-BE49-F238E27FC236}">
                <a16:creationId xmlns:a16="http://schemas.microsoft.com/office/drawing/2014/main" id="{B4121DFA-74C6-4A21-A0E8-E959335B005D}"/>
              </a:ext>
            </a:extLst>
          </p:cNvPr>
          <p:cNvSpPr/>
          <p:nvPr/>
        </p:nvSpPr>
        <p:spPr>
          <a:xfrm>
            <a:off x="7394864" y="4523145"/>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000" b="1" dirty="0"/>
          </a:p>
          <a:p>
            <a:pPr marL="0" indent="0" algn="ctr">
              <a:buClr>
                <a:schemeClr val="tx2"/>
              </a:buClr>
              <a:buNone/>
            </a:pPr>
            <a:r>
              <a:rPr lang="nl-NL" sz="1000" b="1" dirty="0"/>
              <a:t>Totaal</a:t>
            </a:r>
          </a:p>
          <a:p>
            <a:pPr marL="0" indent="0" algn="ctr">
              <a:buClr>
                <a:schemeClr val="tx2"/>
              </a:buClr>
              <a:buNone/>
            </a:pPr>
            <a:r>
              <a:rPr lang="nl-NL" sz="1000" b="1"/>
              <a:t>2.150</a:t>
            </a:r>
            <a:endParaRPr lang="nl-NL" sz="1000" b="1" dirty="0"/>
          </a:p>
          <a:p>
            <a:pPr marL="0" indent="0" algn="ctr">
              <a:buClr>
                <a:schemeClr val="tx2"/>
              </a:buClr>
              <a:buNone/>
            </a:pPr>
            <a:endParaRPr lang="nl-NL" sz="1000" b="1" dirty="0"/>
          </a:p>
        </p:txBody>
      </p:sp>
      <p:sp>
        <p:nvSpPr>
          <p:cNvPr id="96" name="Rectangle 95">
            <a:extLst>
              <a:ext uri="{FF2B5EF4-FFF2-40B4-BE49-F238E27FC236}">
                <a16:creationId xmlns:a16="http://schemas.microsoft.com/office/drawing/2014/main" id="{6F5AB844-1926-4007-88BF-4E3A8F8BD2B8}"/>
              </a:ext>
            </a:extLst>
          </p:cNvPr>
          <p:cNvSpPr/>
          <p:nvPr/>
        </p:nvSpPr>
        <p:spPr>
          <a:xfrm>
            <a:off x="7384021" y="2997650"/>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Operationeel resultaat </a:t>
            </a:r>
          </a:p>
          <a:p>
            <a:pPr marL="0" indent="0" algn="ctr">
              <a:buClr>
                <a:schemeClr val="tx2"/>
              </a:buClr>
              <a:buNone/>
            </a:pPr>
            <a:r>
              <a:rPr lang="nl-NL" sz="1000" b="1" dirty="0"/>
              <a:t>250</a:t>
            </a:r>
          </a:p>
        </p:txBody>
      </p:sp>
      <p:sp>
        <p:nvSpPr>
          <p:cNvPr id="97" name="Rectangle 96">
            <a:extLst>
              <a:ext uri="{FF2B5EF4-FFF2-40B4-BE49-F238E27FC236}">
                <a16:creationId xmlns:a16="http://schemas.microsoft.com/office/drawing/2014/main" id="{703F9FED-5B61-41F8-9283-C3420BC3483D}"/>
              </a:ext>
            </a:extLst>
          </p:cNvPr>
          <p:cNvSpPr/>
          <p:nvPr/>
        </p:nvSpPr>
        <p:spPr>
          <a:xfrm>
            <a:off x="7384021" y="3757669"/>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Restwaarde</a:t>
            </a:r>
          </a:p>
          <a:p>
            <a:pPr marL="0" indent="0" algn="ctr">
              <a:buClr>
                <a:schemeClr val="tx2"/>
              </a:buClr>
              <a:buNone/>
            </a:pPr>
            <a:r>
              <a:rPr lang="nl-NL" sz="1000" b="1" dirty="0"/>
              <a:t>200</a:t>
            </a:r>
          </a:p>
        </p:txBody>
      </p:sp>
      <p:cxnSp>
        <p:nvCxnSpPr>
          <p:cNvPr id="98" name="Straight Connector 97">
            <a:extLst>
              <a:ext uri="{FF2B5EF4-FFF2-40B4-BE49-F238E27FC236}">
                <a16:creationId xmlns:a16="http://schemas.microsoft.com/office/drawing/2014/main" id="{698DC9CC-0DD8-4D82-B53C-FE453AE3E619}"/>
              </a:ext>
            </a:extLst>
          </p:cNvPr>
          <p:cNvCxnSpPr>
            <a:cxnSpLocks/>
          </p:cNvCxnSpPr>
          <p:nvPr/>
        </p:nvCxnSpPr>
        <p:spPr>
          <a:xfrm flipV="1">
            <a:off x="7005116" y="1793116"/>
            <a:ext cx="18492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9" name="Text Placeholder 6">
            <a:extLst>
              <a:ext uri="{FF2B5EF4-FFF2-40B4-BE49-F238E27FC236}">
                <a16:creationId xmlns:a16="http://schemas.microsoft.com/office/drawing/2014/main" id="{F727C3FE-5165-4E1F-A5DC-190C9C41A510}"/>
              </a:ext>
            </a:extLst>
          </p:cNvPr>
          <p:cNvSpPr txBox="1">
            <a:spLocks/>
          </p:cNvSpPr>
          <p:nvPr/>
        </p:nvSpPr>
        <p:spPr>
          <a:xfrm>
            <a:off x="6915840" y="1786539"/>
            <a:ext cx="1849213" cy="234348"/>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endParaRPr kumimoji="0" lang="nl-NL" sz="110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11" name="Text Placeholder 6">
            <a:extLst>
              <a:ext uri="{FF2B5EF4-FFF2-40B4-BE49-F238E27FC236}">
                <a16:creationId xmlns:a16="http://schemas.microsoft.com/office/drawing/2014/main" id="{D57F77CC-2185-49A0-B433-E182F072FA14}"/>
              </a:ext>
            </a:extLst>
          </p:cNvPr>
          <p:cNvSpPr txBox="1">
            <a:spLocks/>
          </p:cNvSpPr>
          <p:nvPr/>
        </p:nvSpPr>
        <p:spPr>
          <a:xfrm>
            <a:off x="9358499" y="1603370"/>
            <a:ext cx="1938489" cy="247649"/>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cenario 3</a:t>
            </a:r>
          </a:p>
        </p:txBody>
      </p:sp>
      <p:sp>
        <p:nvSpPr>
          <p:cNvPr id="112" name="Rectangle 111">
            <a:extLst>
              <a:ext uri="{FF2B5EF4-FFF2-40B4-BE49-F238E27FC236}">
                <a16:creationId xmlns:a16="http://schemas.microsoft.com/office/drawing/2014/main" id="{8224B1DD-D278-4F40-8EFE-B44A046BE35D}"/>
              </a:ext>
            </a:extLst>
          </p:cNvPr>
          <p:cNvSpPr/>
          <p:nvPr/>
        </p:nvSpPr>
        <p:spPr>
          <a:xfrm>
            <a:off x="9832918" y="2235202"/>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Aanlegkosten </a:t>
            </a:r>
            <a:br>
              <a:rPr lang="en-NL" sz="1000" b="1" dirty="0"/>
            </a:br>
            <a:endParaRPr lang="en-NL" sz="1000" b="1" dirty="0"/>
          </a:p>
          <a:p>
            <a:pPr marL="0" indent="0" algn="ctr">
              <a:buClr>
                <a:schemeClr val="tx2"/>
              </a:buClr>
              <a:buNone/>
            </a:pPr>
            <a:r>
              <a:rPr lang="nl-NL" sz="1000" b="1" dirty="0"/>
              <a:t>2.800</a:t>
            </a:r>
          </a:p>
        </p:txBody>
      </p:sp>
      <p:sp>
        <p:nvSpPr>
          <p:cNvPr id="113" name="Rectangle 112">
            <a:extLst>
              <a:ext uri="{FF2B5EF4-FFF2-40B4-BE49-F238E27FC236}">
                <a16:creationId xmlns:a16="http://schemas.microsoft.com/office/drawing/2014/main" id="{D5803545-0355-4F8F-843C-474554BF0BC4}"/>
              </a:ext>
            </a:extLst>
          </p:cNvPr>
          <p:cNvSpPr/>
          <p:nvPr/>
        </p:nvSpPr>
        <p:spPr>
          <a:xfrm>
            <a:off x="9837523" y="4523145"/>
            <a:ext cx="1148400" cy="64800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000" b="1" dirty="0"/>
          </a:p>
          <a:p>
            <a:pPr marL="0" indent="0" algn="ctr">
              <a:buClr>
                <a:schemeClr val="tx2"/>
              </a:buClr>
              <a:buNone/>
            </a:pPr>
            <a:r>
              <a:rPr lang="nl-NL" sz="1000" b="1" dirty="0"/>
              <a:t>Totaal</a:t>
            </a:r>
          </a:p>
          <a:p>
            <a:pPr marL="0" indent="0" algn="ctr">
              <a:buClr>
                <a:schemeClr val="tx2"/>
              </a:buClr>
              <a:buNone/>
            </a:pPr>
            <a:r>
              <a:rPr lang="nl-NL" sz="1000" b="1" dirty="0"/>
              <a:t>2.400</a:t>
            </a:r>
          </a:p>
          <a:p>
            <a:pPr marL="0" indent="0" algn="ctr">
              <a:buClr>
                <a:schemeClr val="tx2"/>
              </a:buClr>
              <a:buNone/>
            </a:pPr>
            <a:endParaRPr lang="nl-NL" sz="1000" b="1" dirty="0"/>
          </a:p>
        </p:txBody>
      </p:sp>
      <p:sp>
        <p:nvSpPr>
          <p:cNvPr id="114" name="Rectangle 113">
            <a:extLst>
              <a:ext uri="{FF2B5EF4-FFF2-40B4-BE49-F238E27FC236}">
                <a16:creationId xmlns:a16="http://schemas.microsoft.com/office/drawing/2014/main" id="{BE5101DC-433F-480D-AB5A-3F7A81B90624}"/>
              </a:ext>
            </a:extLst>
          </p:cNvPr>
          <p:cNvSpPr/>
          <p:nvPr/>
        </p:nvSpPr>
        <p:spPr>
          <a:xfrm>
            <a:off x="9826680" y="2997650"/>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Operationeel resultaat </a:t>
            </a:r>
          </a:p>
          <a:p>
            <a:pPr marL="0" indent="0" algn="ctr">
              <a:buClr>
                <a:schemeClr val="tx2"/>
              </a:buClr>
              <a:buNone/>
            </a:pPr>
            <a:r>
              <a:rPr lang="nl-NL" sz="1000" b="1" dirty="0"/>
              <a:t>220</a:t>
            </a:r>
          </a:p>
        </p:txBody>
      </p:sp>
      <p:sp>
        <p:nvSpPr>
          <p:cNvPr id="115" name="Rectangle 114">
            <a:extLst>
              <a:ext uri="{FF2B5EF4-FFF2-40B4-BE49-F238E27FC236}">
                <a16:creationId xmlns:a16="http://schemas.microsoft.com/office/drawing/2014/main" id="{303B709B-FFEA-4582-8632-47F15DAD07DD}"/>
              </a:ext>
            </a:extLst>
          </p:cNvPr>
          <p:cNvSpPr/>
          <p:nvPr/>
        </p:nvSpPr>
        <p:spPr>
          <a:xfrm>
            <a:off x="9826680" y="3757669"/>
            <a:ext cx="1148400" cy="64800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Restwaarde</a:t>
            </a:r>
          </a:p>
          <a:p>
            <a:pPr marL="0" indent="0" algn="ctr">
              <a:buClr>
                <a:schemeClr val="tx2"/>
              </a:buClr>
              <a:buNone/>
            </a:pPr>
            <a:r>
              <a:rPr lang="nl-NL" sz="1000" b="1" dirty="0"/>
              <a:t>180</a:t>
            </a:r>
          </a:p>
        </p:txBody>
      </p:sp>
      <p:cxnSp>
        <p:nvCxnSpPr>
          <p:cNvPr id="116" name="Straight Connector 115">
            <a:extLst>
              <a:ext uri="{FF2B5EF4-FFF2-40B4-BE49-F238E27FC236}">
                <a16:creationId xmlns:a16="http://schemas.microsoft.com/office/drawing/2014/main" id="{EF09CC65-75B8-4561-BBFF-CF4AA5D18D85}"/>
              </a:ext>
            </a:extLst>
          </p:cNvPr>
          <p:cNvCxnSpPr>
            <a:cxnSpLocks/>
          </p:cNvCxnSpPr>
          <p:nvPr/>
        </p:nvCxnSpPr>
        <p:spPr>
          <a:xfrm flipV="1">
            <a:off x="9447775" y="1793116"/>
            <a:ext cx="1849213"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7" name="Text Placeholder 6">
            <a:extLst>
              <a:ext uri="{FF2B5EF4-FFF2-40B4-BE49-F238E27FC236}">
                <a16:creationId xmlns:a16="http://schemas.microsoft.com/office/drawing/2014/main" id="{BD9D110F-9F1C-4E78-AE11-9C3E66DB64DC}"/>
              </a:ext>
            </a:extLst>
          </p:cNvPr>
          <p:cNvSpPr txBox="1">
            <a:spLocks/>
          </p:cNvSpPr>
          <p:nvPr/>
        </p:nvSpPr>
        <p:spPr>
          <a:xfrm>
            <a:off x="9358499" y="1786539"/>
            <a:ext cx="1849213" cy="234348"/>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lvl="0">
              <a:defRPr/>
            </a:pPr>
            <a:endParaRPr kumimoji="0" lang="nl-NL" sz="110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1" name="Speech Bubble: Rectangle 40">
            <a:extLst>
              <a:ext uri="{FF2B5EF4-FFF2-40B4-BE49-F238E27FC236}">
                <a16:creationId xmlns:a16="http://schemas.microsoft.com/office/drawing/2014/main" id="{46AE8D4D-E63A-46E3-BD63-38C17AC4484B}"/>
              </a:ext>
            </a:extLst>
          </p:cNvPr>
          <p:cNvSpPr/>
          <p:nvPr/>
        </p:nvSpPr>
        <p:spPr>
          <a:xfrm>
            <a:off x="4941362" y="5575178"/>
            <a:ext cx="6582787" cy="623794"/>
          </a:xfrm>
          <a:prstGeom prst="wedgeRectCallout">
            <a:avLst>
              <a:gd name="adj1" fmla="val -12793"/>
              <a:gd name="adj2" fmla="val -74150"/>
            </a:avLst>
          </a:prstGeom>
          <a:solidFill>
            <a:schemeClr val="bg1"/>
          </a:solidFill>
          <a:ln>
            <a:solidFill>
              <a:schemeClr val="bg1">
                <a:lumMod val="50000"/>
              </a:schemeClr>
            </a:solidFill>
          </a:ln>
        </p:spPr>
        <p:txBody>
          <a:bodyPr lIns="72000" rIns="36000" rtlCol="0" anchor="t">
            <a:noAutofit/>
          </a:bodyPr>
          <a:lstStyle/>
          <a:p>
            <a:pPr marL="0" indent="0" defTabSz="685800" fontAlgn="auto">
              <a:lnSpc>
                <a:spcPct val="90000"/>
              </a:lnSpc>
              <a:spcBef>
                <a:spcPts val="300"/>
              </a:spcBef>
              <a:spcAft>
                <a:spcPts val="0"/>
              </a:spcAft>
              <a:buClr>
                <a:srgbClr val="FF0000"/>
              </a:buClr>
              <a:buNone/>
            </a:pPr>
            <a:r>
              <a:rPr lang="nl-NL" sz="1200" dirty="0">
                <a:solidFill>
                  <a:schemeClr val="tx1">
                    <a:lumMod val="50000"/>
                  </a:schemeClr>
                </a:solidFill>
                <a:latin typeface="+mn-lt"/>
              </a:rPr>
              <a:t>De relevantie van de scenario’s hangt sterk af van de zekerheid van de aanlegkosten per scenario. </a:t>
            </a:r>
            <a:r>
              <a:rPr lang="nl-NL" sz="1200" dirty="0" err="1">
                <a:solidFill>
                  <a:schemeClr val="tx1">
                    <a:lumMod val="50000"/>
                  </a:schemeClr>
                </a:solidFill>
                <a:latin typeface="+mn-lt"/>
              </a:rPr>
              <a:t>Dezijn</a:t>
            </a:r>
            <a:r>
              <a:rPr lang="nl-NL" sz="1200" dirty="0">
                <a:solidFill>
                  <a:schemeClr val="tx1">
                    <a:lumMod val="50000"/>
                  </a:schemeClr>
                </a:solidFill>
                <a:latin typeface="+mn-lt"/>
              </a:rPr>
              <a:t> erg bepalend voor de NCW omdat ze zeer groot zijn en vroeg gemaakt worden (en dus niet veel verdisconteerd worden).</a:t>
            </a:r>
            <a:endParaRPr lang="nl-NL" sz="1200" b="1" dirty="0">
              <a:solidFill>
                <a:schemeClr val="tx1">
                  <a:lumMod val="50000"/>
                </a:schemeClr>
              </a:solidFill>
              <a:latin typeface="+mn-lt"/>
            </a:endParaRPr>
          </a:p>
        </p:txBody>
      </p:sp>
      <p:sp>
        <p:nvSpPr>
          <p:cNvPr id="44" name="Rectangle: Rounded Corners 43">
            <a:extLst>
              <a:ext uri="{FF2B5EF4-FFF2-40B4-BE49-F238E27FC236}">
                <a16:creationId xmlns:a16="http://schemas.microsoft.com/office/drawing/2014/main" id="{4C1BC571-C776-4D28-8EF5-02110246C7D2}"/>
              </a:ext>
            </a:extLst>
          </p:cNvPr>
          <p:cNvSpPr/>
          <p:nvPr/>
        </p:nvSpPr>
        <p:spPr>
          <a:xfrm>
            <a:off x="777588" y="5735283"/>
            <a:ext cx="180000" cy="180000"/>
          </a:xfrm>
          <a:prstGeom prst="roundRect">
            <a:avLst>
              <a:gd name="adj" fmla="val 6084"/>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000" b="1" dirty="0"/>
          </a:p>
        </p:txBody>
      </p:sp>
      <p:sp>
        <p:nvSpPr>
          <p:cNvPr id="45" name="TextBox 44">
            <a:extLst>
              <a:ext uri="{FF2B5EF4-FFF2-40B4-BE49-F238E27FC236}">
                <a16:creationId xmlns:a16="http://schemas.microsoft.com/office/drawing/2014/main" id="{0B87D161-29D3-437A-8310-EA835ADD8838}"/>
              </a:ext>
            </a:extLst>
          </p:cNvPr>
          <p:cNvSpPr txBox="1"/>
          <p:nvPr/>
        </p:nvSpPr>
        <p:spPr>
          <a:xfrm>
            <a:off x="1061791" y="5701458"/>
            <a:ext cx="717755" cy="247650"/>
          </a:xfrm>
          <a:prstGeom prst="rect">
            <a:avLst/>
          </a:prstGeom>
        </p:spPr>
        <p:txBody>
          <a:bodyPr vert="horz" wrap="square" lIns="0" tIns="45720" rIns="0" bIns="45720" rtlCol="0">
            <a:noAutofit/>
          </a:bodyPr>
          <a:lstStyle/>
          <a:p>
            <a:pPr marL="0" indent="0" algn="l">
              <a:buNone/>
            </a:pPr>
            <a:r>
              <a:rPr lang="nl-NL" sz="800" noProof="0">
                <a:latin typeface="+mj-lt"/>
              </a:rPr>
              <a:t>Positief getal</a:t>
            </a:r>
            <a:endParaRPr lang="nl-NL" sz="800" noProof="0" dirty="0">
              <a:latin typeface="+mj-lt"/>
            </a:endParaRPr>
          </a:p>
        </p:txBody>
      </p:sp>
      <p:sp>
        <p:nvSpPr>
          <p:cNvPr id="42" name="Rectangle: Rounded Corners 41">
            <a:extLst>
              <a:ext uri="{FF2B5EF4-FFF2-40B4-BE49-F238E27FC236}">
                <a16:creationId xmlns:a16="http://schemas.microsoft.com/office/drawing/2014/main" id="{854FD52D-AA2E-412A-BFE0-DE671B144644}"/>
              </a:ext>
            </a:extLst>
          </p:cNvPr>
          <p:cNvSpPr/>
          <p:nvPr/>
        </p:nvSpPr>
        <p:spPr>
          <a:xfrm>
            <a:off x="780137" y="6018973"/>
            <a:ext cx="180000" cy="180000"/>
          </a:xfrm>
          <a:prstGeom prst="roundRect">
            <a:avLst>
              <a:gd name="adj" fmla="val 6084"/>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endParaRPr lang="nl-NL" sz="1000" b="1" dirty="0"/>
          </a:p>
        </p:txBody>
      </p:sp>
      <p:sp>
        <p:nvSpPr>
          <p:cNvPr id="43" name="TextBox 42">
            <a:extLst>
              <a:ext uri="{FF2B5EF4-FFF2-40B4-BE49-F238E27FC236}">
                <a16:creationId xmlns:a16="http://schemas.microsoft.com/office/drawing/2014/main" id="{423C27D8-15A1-4DF7-9323-A68D90639E7B}"/>
              </a:ext>
            </a:extLst>
          </p:cNvPr>
          <p:cNvSpPr txBox="1"/>
          <p:nvPr/>
        </p:nvSpPr>
        <p:spPr>
          <a:xfrm>
            <a:off x="1065937" y="5985148"/>
            <a:ext cx="717755" cy="247650"/>
          </a:xfrm>
          <a:prstGeom prst="rect">
            <a:avLst/>
          </a:prstGeom>
        </p:spPr>
        <p:txBody>
          <a:bodyPr vert="horz" wrap="square" lIns="0" tIns="45720" rIns="0" bIns="45720" rtlCol="0">
            <a:noAutofit/>
          </a:bodyPr>
          <a:lstStyle/>
          <a:p>
            <a:pPr marL="0" indent="0" algn="l">
              <a:buNone/>
            </a:pPr>
            <a:r>
              <a:rPr lang="nl-NL" sz="800" dirty="0">
                <a:latin typeface="+mj-lt"/>
              </a:rPr>
              <a:t>Negatie</a:t>
            </a:r>
            <a:r>
              <a:rPr lang="nl-NL" sz="800" noProof="0" dirty="0">
                <a:latin typeface="+mj-lt"/>
              </a:rPr>
              <a:t>f getal</a:t>
            </a:r>
          </a:p>
        </p:txBody>
      </p:sp>
      <p:sp>
        <p:nvSpPr>
          <p:cNvPr id="49" name="Rectangle 48">
            <a:extLst>
              <a:ext uri="{FF2B5EF4-FFF2-40B4-BE49-F238E27FC236}">
                <a16:creationId xmlns:a16="http://schemas.microsoft.com/office/drawing/2014/main" id="{AFCD1BB1-4A90-4E37-97FB-9C64D16956BA}"/>
              </a:ext>
            </a:extLst>
          </p:cNvPr>
          <p:cNvSpPr/>
          <p:nvPr/>
        </p:nvSpPr>
        <p:spPr>
          <a:xfrm rot="256469">
            <a:off x="8956225" y="1106680"/>
            <a:ext cx="2732986" cy="284233"/>
          </a:xfrm>
          <a:prstGeom prst="rect">
            <a:avLst/>
          </a:prstGeom>
          <a:solidFill>
            <a:srgbClr val="FFC00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Dummygetallen</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9167203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4A2A9CC-8448-4703-9359-1501F357C53F}"/>
              </a:ext>
            </a:extLst>
          </p:cNvPr>
          <p:cNvGraphicFramePr>
            <a:graphicFrameLocks noChangeAspect="1"/>
          </p:cNvGraphicFramePr>
          <p:nvPr>
            <p:custDataLst>
              <p:tags r:id="rId1"/>
            </p:custDataLst>
            <p:extLst>
              <p:ext uri="{D42A27DB-BD31-4B8C-83A1-F6EECF244321}">
                <p14:modId xmlns:p14="http://schemas.microsoft.com/office/powerpoint/2010/main" val="4205804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1" imgW="425" imgH="424" progId="TCLayout.ActiveDocument.1">
                  <p:embed/>
                </p:oleObj>
              </mc:Choice>
              <mc:Fallback>
                <p:oleObj name="think-cell Slide" r:id="rId61" imgW="425" imgH="424" progId="TCLayout.ActiveDocument.1">
                  <p:embed/>
                  <p:pic>
                    <p:nvPicPr>
                      <p:cNvPr id="9" name="Object 8" hidden="1">
                        <a:extLst>
                          <a:ext uri="{FF2B5EF4-FFF2-40B4-BE49-F238E27FC236}">
                            <a16:creationId xmlns:a16="http://schemas.microsoft.com/office/drawing/2014/main" id="{E4A2A9CC-8448-4703-9359-1501F357C53F}"/>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0FBB6B5-A417-46FA-A202-C0DD23428BDB}"/>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1000" b="1" u="none" strike="noStrike" kern="1200" cap="none" spc="0" normalizeH="0" noProof="0" dirty="0">
              <a:ln>
                <a:noFill/>
              </a:ln>
              <a:solidFill>
                <a:srgbClr val="000000"/>
              </a:solidFill>
              <a:effectLst/>
              <a:uLnTx/>
              <a:uFillTx/>
              <a:latin typeface="Corbel" panose="020B0503020204020204" pitchFamily="34" charset="0"/>
              <a:cs typeface="+mn-cs"/>
              <a:sym typeface="Corbel" panose="020B0503020204020204" pitchFamily="34" charset="0"/>
            </a:endParaRPr>
          </a:p>
        </p:txBody>
      </p:sp>
      <p:cxnSp>
        <p:nvCxnSpPr>
          <p:cNvPr id="149" name="Straight Connector 148">
            <a:extLst>
              <a:ext uri="{FF2B5EF4-FFF2-40B4-BE49-F238E27FC236}">
                <a16:creationId xmlns:a16="http://schemas.microsoft.com/office/drawing/2014/main" id="{4CC3461B-ED16-4FF6-BA2F-D51F47289048}"/>
              </a:ext>
            </a:extLst>
          </p:cNvPr>
          <p:cNvCxnSpPr/>
          <p:nvPr>
            <p:custDataLst>
              <p:tags r:id="rId3"/>
            </p:custDataLst>
          </p:nvPr>
        </p:nvCxnSpPr>
        <p:spPr bwMode="auto">
          <a:xfrm>
            <a:off x="1179513" y="4675188"/>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36FE1660-8CDB-4F9D-A1B7-C81A371027A9}"/>
              </a:ext>
            </a:extLst>
          </p:cNvPr>
          <p:cNvCxnSpPr/>
          <p:nvPr>
            <p:custDataLst>
              <p:tags r:id="rId4"/>
            </p:custDataLst>
          </p:nvPr>
        </p:nvCxnSpPr>
        <p:spPr bwMode="auto">
          <a:xfrm>
            <a:off x="1836738" y="2376488"/>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D6D9112A-1540-454D-B7D5-64B83E03EAA9}"/>
              </a:ext>
            </a:extLst>
          </p:cNvPr>
          <p:cNvCxnSpPr/>
          <p:nvPr>
            <p:custDataLst>
              <p:tags r:id="rId5"/>
            </p:custDataLst>
          </p:nvPr>
        </p:nvCxnSpPr>
        <p:spPr bwMode="auto">
          <a:xfrm>
            <a:off x="2495550" y="2568575"/>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BCF9AD10-5BBD-4673-8662-74F0ED54BE7E}"/>
              </a:ext>
            </a:extLst>
          </p:cNvPr>
          <p:cNvCxnSpPr/>
          <p:nvPr>
            <p:custDataLst>
              <p:tags r:id="rId6"/>
            </p:custDataLst>
          </p:nvPr>
        </p:nvCxnSpPr>
        <p:spPr bwMode="auto">
          <a:xfrm>
            <a:off x="3152775" y="2759075"/>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093E60F5-6272-4781-B49F-9840A7EA2D20}"/>
              </a:ext>
            </a:extLst>
          </p:cNvPr>
          <p:cNvCxnSpPr/>
          <p:nvPr>
            <p:custDataLst>
              <p:tags r:id="rId7"/>
            </p:custDataLst>
          </p:nvPr>
        </p:nvCxnSpPr>
        <p:spPr bwMode="auto">
          <a:xfrm>
            <a:off x="3811588" y="2951163"/>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9B3F7748-996B-41BC-8EBA-F05D37D4324C}"/>
              </a:ext>
            </a:extLst>
          </p:cNvPr>
          <p:cNvCxnSpPr/>
          <p:nvPr>
            <p:custDataLst>
              <p:tags r:id="rId8"/>
            </p:custDataLst>
          </p:nvPr>
        </p:nvCxnSpPr>
        <p:spPr bwMode="auto">
          <a:xfrm>
            <a:off x="4468813" y="2759075"/>
            <a:ext cx="292100"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35" name="Chart 234">
            <a:extLst>
              <a:ext uri="{FF2B5EF4-FFF2-40B4-BE49-F238E27FC236}">
                <a16:creationId xmlns:a16="http://schemas.microsoft.com/office/drawing/2014/main" id="{4948B034-93AE-4AA5-9054-03E04CD5EE6E}"/>
              </a:ext>
            </a:extLst>
          </p:cNvPr>
          <p:cNvGraphicFramePr/>
          <p:nvPr>
            <p:custDataLst>
              <p:tags r:id="rId9"/>
            </p:custDataLst>
            <p:extLst>
              <p:ext uri="{D42A27DB-BD31-4B8C-83A1-F6EECF244321}">
                <p14:modId xmlns:p14="http://schemas.microsoft.com/office/powerpoint/2010/main" val="2146311213"/>
              </p:ext>
            </p:extLst>
          </p:nvPr>
        </p:nvGraphicFramePr>
        <p:xfrm>
          <a:off x="584200" y="1865313"/>
          <a:ext cx="4772025" cy="3851275"/>
        </p:xfrm>
        <a:graphic>
          <a:graphicData uri="http://schemas.openxmlformats.org/drawingml/2006/chart">
            <c:chart xmlns:c="http://schemas.openxmlformats.org/drawingml/2006/chart" xmlns:r="http://schemas.openxmlformats.org/officeDocument/2006/relationships" r:id="rId63"/>
          </a:graphicData>
        </a:graphic>
      </p:graphicFrame>
      <p:sp useBgFill="1">
        <p:nvSpPr>
          <p:cNvPr id="11" name="Freeform: Shape 10">
            <a:extLst>
              <a:ext uri="{FF2B5EF4-FFF2-40B4-BE49-F238E27FC236}">
                <a16:creationId xmlns:a16="http://schemas.microsoft.com/office/drawing/2014/main" id="{0046C29C-3EE8-492D-99FF-E892D162CA12}"/>
              </a:ext>
            </a:extLst>
          </p:cNvPr>
          <p:cNvSpPr/>
          <p:nvPr>
            <p:custDataLst>
              <p:tags r:id="rId10"/>
            </p:custDataLst>
          </p:nvPr>
        </p:nvSpPr>
        <p:spPr bwMode="auto">
          <a:xfrm>
            <a:off x="774700" y="2074863"/>
            <a:ext cx="442914" cy="176213"/>
          </a:xfrm>
          <a:custGeom>
            <a:avLst/>
            <a:gdLst/>
            <a:ahLst/>
            <a:cxnLst/>
            <a:rect l="0" t="0" r="0" b="0"/>
            <a:pathLst>
              <a:path w="442914" h="176213">
                <a:moveTo>
                  <a:pt x="0" y="119062"/>
                </a:moveTo>
                <a:lnTo>
                  <a:pt x="442913" y="0"/>
                </a:lnTo>
                <a:lnTo>
                  <a:pt x="442913" y="57150"/>
                </a:lnTo>
                <a:lnTo>
                  <a:pt x="0" y="176212"/>
                </a:lnTo>
                <a:close/>
              </a:path>
            </a:pathLst>
          </a:custGeom>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useBgFill="1">
        <p:nvSpPr>
          <p:cNvPr id="26" name="Freeform: Shape 25">
            <a:extLst>
              <a:ext uri="{FF2B5EF4-FFF2-40B4-BE49-F238E27FC236}">
                <a16:creationId xmlns:a16="http://schemas.microsoft.com/office/drawing/2014/main" id="{0EC4851A-10BE-48E6-9C9C-196308C04CA8}"/>
              </a:ext>
            </a:extLst>
          </p:cNvPr>
          <p:cNvSpPr/>
          <p:nvPr>
            <p:custDataLst>
              <p:tags r:id="rId11"/>
            </p:custDataLst>
          </p:nvPr>
        </p:nvSpPr>
        <p:spPr bwMode="auto">
          <a:xfrm>
            <a:off x="4722813" y="2074863"/>
            <a:ext cx="442913" cy="176213"/>
          </a:xfrm>
          <a:custGeom>
            <a:avLst/>
            <a:gdLst/>
            <a:ahLst/>
            <a:cxnLst/>
            <a:rect l="0" t="0" r="0" b="0"/>
            <a:pathLst>
              <a:path w="442913" h="176213">
                <a:moveTo>
                  <a:pt x="0" y="119062"/>
                </a:moveTo>
                <a:lnTo>
                  <a:pt x="442912" y="0"/>
                </a:lnTo>
                <a:lnTo>
                  <a:pt x="442912" y="57150"/>
                </a:lnTo>
                <a:lnTo>
                  <a:pt x="0" y="176212"/>
                </a:lnTo>
                <a:close/>
              </a:path>
            </a:pathLst>
          </a:custGeom>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 name="Freeform: Shape 9">
            <a:extLst>
              <a:ext uri="{FF2B5EF4-FFF2-40B4-BE49-F238E27FC236}">
                <a16:creationId xmlns:a16="http://schemas.microsoft.com/office/drawing/2014/main" id="{459E5DEB-04EF-4C19-95F2-C23ABCD18C4A}"/>
              </a:ext>
            </a:extLst>
          </p:cNvPr>
          <p:cNvSpPr/>
          <p:nvPr>
            <p:custDataLst>
              <p:tags r:id="rId12"/>
            </p:custDataLst>
          </p:nvPr>
        </p:nvSpPr>
        <p:spPr bwMode="auto">
          <a:xfrm>
            <a:off x="774700" y="2132013"/>
            <a:ext cx="442914" cy="119063"/>
          </a:xfrm>
          <a:custGeom>
            <a:avLst/>
            <a:gdLst/>
            <a:ahLst/>
            <a:cxnLst/>
            <a:rect l="0" t="0" r="0" b="0"/>
            <a:pathLst>
              <a:path w="442914" h="119063">
                <a:moveTo>
                  <a:pt x="0" y="119062"/>
                </a:moveTo>
                <a:lnTo>
                  <a:pt x="442913"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6" name="Freeform: Shape 5">
            <a:extLst>
              <a:ext uri="{FF2B5EF4-FFF2-40B4-BE49-F238E27FC236}">
                <a16:creationId xmlns:a16="http://schemas.microsoft.com/office/drawing/2014/main" id="{0D3AC9E7-0108-476E-BE38-FBBBCA731ABD}"/>
              </a:ext>
            </a:extLst>
          </p:cNvPr>
          <p:cNvSpPr/>
          <p:nvPr>
            <p:custDataLst>
              <p:tags r:id="rId13"/>
            </p:custDataLst>
          </p:nvPr>
        </p:nvSpPr>
        <p:spPr bwMode="auto">
          <a:xfrm>
            <a:off x="774700" y="2074863"/>
            <a:ext cx="442914" cy="119063"/>
          </a:xfrm>
          <a:custGeom>
            <a:avLst/>
            <a:gdLst/>
            <a:ahLst/>
            <a:cxnLst/>
            <a:rect l="0" t="0" r="0" b="0"/>
            <a:pathLst>
              <a:path w="442914" h="119063">
                <a:moveTo>
                  <a:pt x="0" y="119062"/>
                </a:moveTo>
                <a:lnTo>
                  <a:pt x="442913"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2" name="Freeform: Shape 11">
            <a:extLst>
              <a:ext uri="{FF2B5EF4-FFF2-40B4-BE49-F238E27FC236}">
                <a16:creationId xmlns:a16="http://schemas.microsoft.com/office/drawing/2014/main" id="{CAF74250-9A25-4153-860F-DA32151DDE5B}"/>
              </a:ext>
            </a:extLst>
          </p:cNvPr>
          <p:cNvSpPr/>
          <p:nvPr>
            <p:custDataLst>
              <p:tags r:id="rId14"/>
            </p:custDataLst>
          </p:nvPr>
        </p:nvSpPr>
        <p:spPr bwMode="auto">
          <a:xfrm>
            <a:off x="4722813" y="2074863"/>
            <a:ext cx="442913" cy="119063"/>
          </a:xfrm>
          <a:custGeom>
            <a:avLst/>
            <a:gdLst/>
            <a:ahLst/>
            <a:cxnLst/>
            <a:rect l="0" t="0" r="0" b="0"/>
            <a:pathLst>
              <a:path w="442913" h="119063">
                <a:moveTo>
                  <a:pt x="0" y="119062"/>
                </a:moveTo>
                <a:lnTo>
                  <a:pt x="442912"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3" name="Freeform: Shape 12">
            <a:extLst>
              <a:ext uri="{FF2B5EF4-FFF2-40B4-BE49-F238E27FC236}">
                <a16:creationId xmlns:a16="http://schemas.microsoft.com/office/drawing/2014/main" id="{182D092C-C446-4CF2-A844-74E5EFAC2F8E}"/>
              </a:ext>
            </a:extLst>
          </p:cNvPr>
          <p:cNvSpPr/>
          <p:nvPr>
            <p:custDataLst>
              <p:tags r:id="rId15"/>
            </p:custDataLst>
          </p:nvPr>
        </p:nvSpPr>
        <p:spPr bwMode="auto">
          <a:xfrm>
            <a:off x="4722813" y="2132013"/>
            <a:ext cx="442913" cy="119063"/>
          </a:xfrm>
          <a:custGeom>
            <a:avLst/>
            <a:gdLst/>
            <a:ahLst/>
            <a:cxnLst/>
            <a:rect l="0" t="0" r="0" b="0"/>
            <a:pathLst>
              <a:path w="442913" h="119063">
                <a:moveTo>
                  <a:pt x="0" y="119062"/>
                </a:moveTo>
                <a:lnTo>
                  <a:pt x="442912"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258" name="Text Placeholder 5">
            <a:extLst>
              <a:ext uri="{FF2B5EF4-FFF2-40B4-BE49-F238E27FC236}">
                <a16:creationId xmlns:a16="http://schemas.microsoft.com/office/drawing/2014/main" id="{F2D2EE17-23EC-49B6-844F-7555308F92F4}"/>
              </a:ext>
            </a:extLst>
          </p:cNvPr>
          <p:cNvSpPr>
            <a:spLocks noGrp="1"/>
          </p:cNvSpPr>
          <p:nvPr>
            <p:custDataLst>
              <p:tags r:id="rId16"/>
            </p:custDataLst>
          </p:nvPr>
        </p:nvSpPr>
        <p:spPr bwMode="gray">
          <a:xfrm>
            <a:off x="3548063" y="2786063"/>
            <a:ext cx="160338" cy="136525"/>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5DD9E48-963B-4365-AE4A-A67060A72829}" type="datetime'''''''''''''''''''''5''''''0'''''''">
              <a:rPr lang="nl-NL" altLang="en-US" sz="1000" smtClean="0">
                <a:solidFill>
                  <a:schemeClr val="bg1"/>
                </a:solidFill>
                <a:effectLst/>
              </a:rPr>
              <a:pPr/>
              <a:t>50</a:t>
            </a:fld>
            <a:endParaRPr lang="en-US" sz="1000" dirty="0">
              <a:solidFill>
                <a:schemeClr val="bg1"/>
              </a:solidFill>
              <a:latin typeface="+mn-lt"/>
              <a:sym typeface="+mn-lt"/>
            </a:endParaRPr>
          </a:p>
        </p:txBody>
      </p:sp>
      <p:sp>
        <p:nvSpPr>
          <p:cNvPr id="146" name="Text Placeholder 5">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1463675" y="5676900"/>
            <a:ext cx="3825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DFEC283-4847-430E-82A3-C250B70E09CC}" type="datetime'''''''''''''''''''A''a''''nl''''eg'''''''''''' k''''o''sten'''">
              <a:rPr lang="en-US" altLang="en-US" sz="1000" smtClean="0">
                <a:solidFill>
                  <a:schemeClr val="tx1"/>
                </a:solidFill>
              </a:rPr>
              <a:pPr/>
              <a:t>Aanleg kosten</a:t>
            </a:fld>
            <a:endParaRPr lang="en-US" sz="1000" dirty="0">
              <a:solidFill>
                <a:schemeClr val="tx1"/>
              </a:solidFill>
              <a:latin typeface="+mn-lt"/>
              <a:sym typeface="+mn-lt"/>
            </a:endParaRPr>
          </a:p>
        </p:txBody>
      </p:sp>
      <p:sp>
        <p:nvSpPr>
          <p:cNvPr id="207" name="Text Placeholder 5">
            <a:extLst>
              <a:ext uri="{FF2B5EF4-FFF2-40B4-BE49-F238E27FC236}">
                <a16:creationId xmlns:a16="http://schemas.microsoft.com/office/drawing/2014/main" id="{F1C7F90A-D327-4BEB-B999-8C7AA46C1AB2}"/>
              </a:ext>
            </a:extLst>
          </p:cNvPr>
          <p:cNvSpPr>
            <a:spLocks noGrp="1"/>
          </p:cNvSpPr>
          <p:nvPr>
            <p:custDataLst>
              <p:tags r:id="rId18"/>
            </p:custDataLst>
          </p:nvPr>
        </p:nvSpPr>
        <p:spPr bwMode="gray">
          <a:xfrm>
            <a:off x="1538288" y="3457575"/>
            <a:ext cx="231775" cy="136525"/>
          </a:xfrm>
          <a:prstGeom prst="rect">
            <a:avLst/>
          </a:prstGeom>
          <a:noFill/>
          <a:ln>
            <a:noFill/>
          </a:ln>
          <a:extLst>
            <a:ext uri="{909E8E84-426E-40DD-AFC4-6F175D3DCCD1}">
              <a14:hiddenFill xmlns:a14="http://schemas.microsoft.com/office/drawing/2010/main">
                <a:solidFill>
                  <a:srgbClr val="FFCCCC"/>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F2EF2FD-B087-439F-839B-4798A11E8CB8}" type="datetime'''''''''''6''''''0''''''''''0'''''''''">
              <a:rPr lang="nl-NL" altLang="en-US" sz="1000" smtClean="0">
                <a:solidFill>
                  <a:schemeClr val="bg1"/>
                </a:solidFill>
              </a:rPr>
              <a:pPr/>
              <a:t>600</a:t>
            </a:fld>
            <a:endParaRPr lang="en-US" sz="1000" dirty="0">
              <a:solidFill>
                <a:schemeClr val="bg1"/>
              </a:solidFill>
              <a:latin typeface="+mn-lt"/>
              <a:sym typeface="+mn-lt"/>
            </a:endParaRPr>
          </a:p>
        </p:txBody>
      </p:sp>
      <p:sp>
        <p:nvSpPr>
          <p:cNvPr id="152" name="Text Placeholder 5">
            <a:extLst>
              <a:ext uri="{FF2B5EF4-FFF2-40B4-BE49-F238E27FC236}">
                <a16:creationId xmlns:a16="http://schemas.microsoft.com/office/drawing/2014/main" id="{CA4958EF-859C-46B0-9021-6804BE71F12B}"/>
              </a:ext>
            </a:extLst>
          </p:cNvPr>
          <p:cNvSpPr>
            <a:spLocks noGrp="1"/>
          </p:cNvSpPr>
          <p:nvPr>
            <p:custDataLst>
              <p:tags r:id="rId19"/>
            </p:custDataLst>
          </p:nvPr>
        </p:nvSpPr>
        <p:spPr bwMode="auto">
          <a:xfrm>
            <a:off x="3370263" y="5676900"/>
            <a:ext cx="5159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B017574-35FA-4B77-B37C-A11FA46EC057}" type="datetime'''Be''h''''''. ''''&amp; ond''.'''' inf''''''''''''''''''r''a'''">
              <a:rPr lang="en-US" altLang="en-US" sz="1000" smtClean="0">
                <a:solidFill>
                  <a:schemeClr val="tx1"/>
                </a:solidFill>
              </a:rPr>
              <a:pPr/>
              <a:t>Beh. &amp; ond. infra</a:t>
            </a:fld>
            <a:endParaRPr lang="en-US" sz="1000" dirty="0">
              <a:solidFill>
                <a:schemeClr val="tx1"/>
              </a:solidFill>
              <a:latin typeface="+mn-lt"/>
              <a:sym typeface="+mn-lt"/>
            </a:endParaRPr>
          </a:p>
        </p:txBody>
      </p:sp>
      <p:sp>
        <p:nvSpPr>
          <p:cNvPr id="145" name="Text Placeholder 5">
            <a:extLst>
              <a:ext uri="{FF2B5EF4-FFF2-40B4-BE49-F238E27FC236}">
                <a16:creationId xmlns:a16="http://schemas.microsoft.com/office/drawing/2014/main" id="{B0892CE3-6203-4761-9373-93A6D9FAC58B}"/>
              </a:ext>
            </a:extLst>
          </p:cNvPr>
          <p:cNvSpPr>
            <a:spLocks noGrp="1"/>
          </p:cNvSpPr>
          <p:nvPr>
            <p:custDataLst>
              <p:tags r:id="rId20"/>
            </p:custDataLst>
          </p:nvPr>
        </p:nvSpPr>
        <p:spPr bwMode="auto">
          <a:xfrm>
            <a:off x="760413" y="5676900"/>
            <a:ext cx="471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S</a:t>
            </a:r>
            <a:r>
              <a:rPr lang="nl-NL" altLang="en-US" sz="1000">
                <a:solidFill>
                  <a:schemeClr val="tx1"/>
                </a:solidFill>
              </a:rPr>
              <a:t>c</a:t>
            </a:r>
            <a:r>
              <a:rPr lang="en-NL" altLang="en-US" sz="1000">
                <a:solidFill>
                  <a:schemeClr val="tx1"/>
                </a:solidFill>
              </a:rPr>
              <a:t>e</a:t>
            </a:r>
            <a:r>
              <a:rPr lang="nl-NL" altLang="en-US" sz="1000">
                <a:solidFill>
                  <a:schemeClr val="tx1"/>
                </a:solidFill>
              </a:rPr>
              <a:t>n</a:t>
            </a:r>
            <a:r>
              <a:rPr lang="en-NL" altLang="en-US" sz="1000">
                <a:solidFill>
                  <a:schemeClr val="tx1"/>
                </a:solidFill>
              </a:rPr>
              <a:t>a</a:t>
            </a:r>
            <a:r>
              <a:rPr lang="nl-NL" altLang="en-US" sz="1000">
                <a:solidFill>
                  <a:schemeClr val="tx1"/>
                </a:solidFill>
              </a:rPr>
              <a:t>r</a:t>
            </a:r>
            <a:r>
              <a:rPr lang="en-NL" altLang="en-US" sz="1000">
                <a:solidFill>
                  <a:schemeClr val="tx1"/>
                </a:solidFill>
              </a:rPr>
              <a:t>i</a:t>
            </a:r>
            <a:r>
              <a:rPr lang="nl-NL" altLang="en-US" sz="1000">
                <a:solidFill>
                  <a:schemeClr val="tx1"/>
                </a:solidFill>
              </a:rPr>
              <a:t>o</a:t>
            </a:r>
            <a:endParaRPr lang="en-US" sz="1000" dirty="0">
              <a:solidFill>
                <a:schemeClr val="tx1"/>
              </a:solidFill>
              <a:latin typeface="+mn-lt"/>
              <a:sym typeface="+mn-lt"/>
            </a:endParaRPr>
          </a:p>
        </p:txBody>
      </p:sp>
      <p:sp>
        <p:nvSpPr>
          <p:cNvPr id="262" name="Text Placeholder 5">
            <a:extLst>
              <a:ext uri="{FF2B5EF4-FFF2-40B4-BE49-F238E27FC236}">
                <a16:creationId xmlns:a16="http://schemas.microsoft.com/office/drawing/2014/main" id="{86082F90-A65E-415F-8AAE-9761B23A09DB}"/>
              </a:ext>
            </a:extLst>
          </p:cNvPr>
          <p:cNvSpPr>
            <a:spLocks noGrp="1"/>
          </p:cNvSpPr>
          <p:nvPr>
            <p:custDataLst>
              <p:tags r:id="rId21"/>
            </p:custDataLst>
          </p:nvPr>
        </p:nvSpPr>
        <p:spPr bwMode="gray">
          <a:xfrm>
            <a:off x="2232024" y="2403475"/>
            <a:ext cx="160338" cy="136525"/>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1485AC2-E499-47F9-9827-A6F8C99B7869}" type="datetime'''''''''''''''''50'''''''''''''''''''''''''''''''''''">
              <a:rPr lang="nl-NL" altLang="en-US" sz="1000" smtClean="0">
                <a:solidFill>
                  <a:schemeClr val="bg1"/>
                </a:solidFill>
                <a:effectLst/>
              </a:rPr>
              <a:pPr/>
              <a:t>50</a:t>
            </a:fld>
            <a:endParaRPr lang="en-US" sz="1000" dirty="0">
              <a:solidFill>
                <a:schemeClr val="bg1"/>
              </a:solidFill>
              <a:latin typeface="+mn-lt"/>
              <a:sym typeface="+mn-lt"/>
            </a:endParaRPr>
          </a:p>
        </p:txBody>
      </p:sp>
      <p:sp>
        <p:nvSpPr>
          <p:cNvPr id="151" name="Text Placeholder 5">
            <a:extLst>
              <a:ext uri="{FF2B5EF4-FFF2-40B4-BE49-F238E27FC236}">
                <a16:creationId xmlns:a16="http://schemas.microsoft.com/office/drawing/2014/main" id="{BAF2CEF8-9E34-436F-A1CA-2FA2EDCF242C}"/>
              </a:ext>
            </a:extLst>
          </p:cNvPr>
          <p:cNvSpPr>
            <a:spLocks noGrp="1"/>
          </p:cNvSpPr>
          <p:nvPr>
            <p:custDataLst>
              <p:tags r:id="rId22"/>
            </p:custDataLst>
          </p:nvPr>
        </p:nvSpPr>
        <p:spPr bwMode="auto">
          <a:xfrm>
            <a:off x="2755900" y="5676900"/>
            <a:ext cx="43021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E7A2840-48BA-43A5-85CF-07D0CCC3FFEA}" type="datetime'A''ansc''''h''.'' ''''''m''e''t''r''''o''''''’''''''''''s'''">
              <a:rPr lang="en-US" altLang="en-US" sz="1000" smtClean="0">
                <a:solidFill>
                  <a:schemeClr val="tx1"/>
                </a:solidFill>
              </a:rPr>
              <a:pPr algn="ctr">
                <a:spcBef>
                  <a:spcPct val="0"/>
                </a:spcBef>
              </a:pPr>
              <a:t>Aansch. metro’s</a:t>
            </a:fld>
            <a:endParaRPr lang="en-US" sz="1000" dirty="0">
              <a:solidFill>
                <a:schemeClr val="tx1"/>
              </a:solidFill>
              <a:latin typeface="+mn-lt"/>
              <a:sym typeface="+mn-lt"/>
            </a:endParaRPr>
          </a:p>
        </p:txBody>
      </p:sp>
      <p:sp>
        <p:nvSpPr>
          <p:cNvPr id="147" name="Text Placeholder 5">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2127250" y="5676900"/>
            <a:ext cx="3683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7748160-513B-4D91-A402-A7C1462F5EC9}" type="datetime'''Ex''''''''''''p''l.  k''''''os''''''''t''''''''''en'''">
              <a:rPr lang="en-US" altLang="en-US" sz="1000" smtClean="0">
                <a:solidFill>
                  <a:schemeClr val="tx1"/>
                </a:solidFill>
              </a:rPr>
              <a:pPr/>
              <a:t>Expl.  kosten</a:t>
            </a:fld>
            <a:endParaRPr lang="en-US" sz="1000" dirty="0">
              <a:solidFill>
                <a:schemeClr val="tx1"/>
              </a:solidFill>
              <a:latin typeface="+mn-lt"/>
              <a:sym typeface="+mn-lt"/>
            </a:endParaRPr>
          </a:p>
        </p:txBody>
      </p:sp>
      <p:sp>
        <p:nvSpPr>
          <p:cNvPr id="260" name="Text Placeholder 5">
            <a:extLst>
              <a:ext uri="{FF2B5EF4-FFF2-40B4-BE49-F238E27FC236}">
                <a16:creationId xmlns:a16="http://schemas.microsoft.com/office/drawing/2014/main" id="{AE4865FF-A20E-4966-A7B9-A188C3F43431}"/>
              </a:ext>
            </a:extLst>
          </p:cNvPr>
          <p:cNvSpPr>
            <a:spLocks noGrp="1"/>
          </p:cNvSpPr>
          <p:nvPr>
            <p:custDataLst>
              <p:tags r:id="rId24"/>
            </p:custDataLst>
          </p:nvPr>
        </p:nvSpPr>
        <p:spPr bwMode="gray">
          <a:xfrm>
            <a:off x="2890838" y="2595563"/>
            <a:ext cx="160338" cy="136525"/>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108F825-EE25-4CBB-8DD8-C53B7B1B4392}" type="datetime'''''''''5''''''''''''''''''''''0'''">
              <a:rPr lang="nl-NL" altLang="en-US" sz="1000" smtClean="0">
                <a:solidFill>
                  <a:schemeClr val="bg1"/>
                </a:solidFill>
                <a:effectLst/>
              </a:rPr>
              <a:pPr/>
              <a:t>50</a:t>
            </a:fld>
            <a:endParaRPr lang="en-US" sz="1000" dirty="0">
              <a:solidFill>
                <a:schemeClr val="bg1"/>
              </a:solidFill>
              <a:latin typeface="+mn-lt"/>
              <a:sym typeface="+mn-lt"/>
            </a:endParaRPr>
          </a:p>
        </p:txBody>
      </p:sp>
      <p:sp>
        <p:nvSpPr>
          <p:cNvPr id="256" name="Text Placeholder 5">
            <a:extLst>
              <a:ext uri="{FF2B5EF4-FFF2-40B4-BE49-F238E27FC236}">
                <a16:creationId xmlns:a16="http://schemas.microsoft.com/office/drawing/2014/main" id="{6EE3E566-7574-4A27-8E03-A9437EECEBAC}"/>
              </a:ext>
            </a:extLst>
          </p:cNvPr>
          <p:cNvSpPr>
            <a:spLocks noGrp="1"/>
          </p:cNvSpPr>
          <p:nvPr>
            <p:custDataLst>
              <p:tags r:id="rId25"/>
            </p:custDataLst>
          </p:nvPr>
        </p:nvSpPr>
        <p:spPr bwMode="gray">
          <a:xfrm>
            <a:off x="4206875" y="2786063"/>
            <a:ext cx="160338" cy="136525"/>
          </a:xfrm>
          <a:prstGeom prst="rect">
            <a:avLst/>
          </a:prstGeom>
          <a:noFill/>
          <a:ln>
            <a:noFill/>
          </a:ln>
          <a:extLst>
            <a:ext uri="{909E8E84-426E-40DD-AFC4-6F175D3DCCD1}">
              <a14:hiddenFill xmlns:a14="http://schemas.microsoft.com/office/drawing/2010/main">
                <a:solidFill>
                  <a:schemeClr val="tx2"/>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51F00B6-AE30-4CB3-9CA9-583B263B9DB4}" type="datetime'''''''''''''''5''''''0'''''''''''''''''''''''''''''''''">
              <a:rPr lang="nl-NL" altLang="en-US" sz="1000" smtClean="0">
                <a:solidFill>
                  <a:schemeClr val="bg1"/>
                </a:solidFill>
                <a:effectLst/>
              </a:rPr>
              <a:pPr/>
              <a:t>50</a:t>
            </a:fld>
            <a:endParaRPr lang="en-US" sz="1000" dirty="0">
              <a:solidFill>
                <a:schemeClr val="bg1"/>
              </a:solidFill>
              <a:latin typeface="+mn-lt"/>
              <a:sym typeface="+mn-lt"/>
            </a:endParaRPr>
          </a:p>
        </p:txBody>
      </p:sp>
      <p:sp>
        <p:nvSpPr>
          <p:cNvPr id="153" name="Text Placeholder 5">
            <a:extLst>
              <a:ext uri="{FF2B5EF4-FFF2-40B4-BE49-F238E27FC236}">
                <a16:creationId xmlns:a16="http://schemas.microsoft.com/office/drawing/2014/main" id="{302ED4F1-1C20-49DA-9B9D-984E38E72173}"/>
              </a:ext>
            </a:extLst>
          </p:cNvPr>
          <p:cNvSpPr>
            <a:spLocks noGrp="1"/>
          </p:cNvSpPr>
          <p:nvPr>
            <p:custDataLst>
              <p:tags r:id="rId26"/>
            </p:custDataLst>
          </p:nvPr>
        </p:nvSpPr>
        <p:spPr bwMode="auto">
          <a:xfrm>
            <a:off x="4086225" y="5676900"/>
            <a:ext cx="4016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R</a:t>
            </a:r>
            <a:r>
              <a:rPr lang="nl-NL" altLang="en-US" sz="1000">
                <a:solidFill>
                  <a:schemeClr val="tx1"/>
                </a:solidFill>
              </a:rPr>
              <a:t>e</a:t>
            </a:r>
            <a:r>
              <a:rPr lang="en-NL" altLang="en-US" sz="1000">
                <a:solidFill>
                  <a:schemeClr val="tx1"/>
                </a:solidFill>
              </a:rPr>
              <a:t>s</a:t>
            </a:r>
            <a:r>
              <a:rPr lang="nl-NL" altLang="en-US" sz="1000">
                <a:solidFill>
                  <a:schemeClr val="tx1"/>
                </a:solidFill>
              </a:rPr>
              <a:t>t</a:t>
            </a:r>
            <a:r>
              <a:rPr lang="en-NL" altLang="en-US" sz="1000">
                <a:solidFill>
                  <a:schemeClr val="tx1"/>
                </a:solidFill>
              </a:rPr>
              <a:t>-</a:t>
            </a:r>
            <a:r>
              <a:rPr lang="nl-NL" altLang="en-US" sz="1000">
                <a:solidFill>
                  <a:schemeClr val="tx1"/>
                </a:solidFill>
              </a:rPr>
              <a:t>w</a:t>
            </a:r>
            <a:r>
              <a:rPr lang="en-NL" altLang="en-US" sz="1000">
                <a:solidFill>
                  <a:schemeClr val="tx1"/>
                </a:solidFill>
              </a:rPr>
              <a:t>a</a:t>
            </a:r>
            <a:r>
              <a:rPr lang="nl-NL" altLang="en-US" sz="1000">
                <a:solidFill>
                  <a:schemeClr val="tx1"/>
                </a:solidFill>
              </a:rPr>
              <a:t>a</a:t>
            </a:r>
            <a:r>
              <a:rPr lang="en-NL" altLang="en-US" sz="1000">
                <a:solidFill>
                  <a:schemeClr val="tx1"/>
                </a:solidFill>
              </a:rPr>
              <a:t>r</a:t>
            </a:r>
            <a:r>
              <a:rPr lang="nl-NL" altLang="en-US" sz="1000">
                <a:solidFill>
                  <a:schemeClr val="tx1"/>
                </a:solidFill>
              </a:rPr>
              <a:t>d</a:t>
            </a:r>
            <a:r>
              <a:rPr lang="en-NL" altLang="en-US" sz="1000">
                <a:solidFill>
                  <a:schemeClr val="tx1"/>
                </a:solidFill>
              </a:rPr>
              <a:t>e</a:t>
            </a:r>
            <a:endParaRPr lang="en-US" sz="1000" dirty="0">
              <a:solidFill>
                <a:schemeClr val="tx1"/>
              </a:solidFill>
              <a:latin typeface="+mn-lt"/>
              <a:sym typeface="+mn-lt"/>
            </a:endParaRPr>
          </a:p>
        </p:txBody>
      </p:sp>
      <p:sp>
        <p:nvSpPr>
          <p:cNvPr id="157" name="Text Placeholder 5">
            <a:extLst>
              <a:ext uri="{FF2B5EF4-FFF2-40B4-BE49-F238E27FC236}">
                <a16:creationId xmlns:a16="http://schemas.microsoft.com/office/drawing/2014/main" id="{D53C7E15-8E1F-4BDC-91DB-8EA6B6616EA8}"/>
              </a:ext>
            </a:extLst>
          </p:cNvPr>
          <p:cNvSpPr>
            <a:spLocks noGrp="1"/>
          </p:cNvSpPr>
          <p:nvPr>
            <p:custDataLst>
              <p:tags r:id="rId27"/>
            </p:custDataLst>
          </p:nvPr>
        </p:nvSpPr>
        <p:spPr bwMode="auto">
          <a:xfrm>
            <a:off x="4708524" y="5676900"/>
            <a:ext cx="471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S</a:t>
            </a:r>
            <a:r>
              <a:rPr lang="nl-NL" altLang="en-US" sz="1000">
                <a:solidFill>
                  <a:schemeClr val="tx1"/>
                </a:solidFill>
              </a:rPr>
              <a:t>c</a:t>
            </a:r>
            <a:r>
              <a:rPr lang="en-NL" altLang="en-US" sz="1000">
                <a:solidFill>
                  <a:schemeClr val="tx1"/>
                </a:solidFill>
              </a:rPr>
              <a:t>enario</a:t>
            </a:r>
            <a:endParaRPr lang="en-US" sz="1000" dirty="0">
              <a:solidFill>
                <a:schemeClr val="tx1"/>
              </a:solidFill>
              <a:latin typeface="+mn-lt"/>
              <a:sym typeface="+mn-lt"/>
            </a:endParaRPr>
          </a:p>
        </p:txBody>
      </p:sp>
      <p:sp>
        <p:nvSpPr>
          <p:cNvPr id="203" name="Text Placeholder 5">
            <a:extLst>
              <a:ext uri="{FF2B5EF4-FFF2-40B4-BE49-F238E27FC236}">
                <a16:creationId xmlns:a16="http://schemas.microsoft.com/office/drawing/2014/main" id="{4B9982FA-94CE-476E-98B9-AED20350F85D}"/>
              </a:ext>
            </a:extLst>
          </p:cNvPr>
          <p:cNvSpPr>
            <a:spLocks noGrp="1"/>
          </p:cNvSpPr>
          <p:nvPr>
            <p:custDataLst>
              <p:tags r:id="rId28"/>
            </p:custDataLst>
          </p:nvPr>
        </p:nvSpPr>
        <p:spPr bwMode="gray">
          <a:xfrm>
            <a:off x="811213" y="4700588"/>
            <a:ext cx="368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US" sz="1000" b="1" dirty="0">
                <a:solidFill>
                  <a:schemeClr val="tx1"/>
                </a:solidFill>
                <a:latin typeface="+mn-lt"/>
                <a:sym typeface="+mn-lt"/>
              </a:rPr>
              <a:t>-2.150</a:t>
            </a:r>
          </a:p>
        </p:txBody>
      </p:sp>
      <p:sp>
        <p:nvSpPr>
          <p:cNvPr id="234" name="Text Placeholder 5">
            <a:extLst>
              <a:ext uri="{FF2B5EF4-FFF2-40B4-BE49-F238E27FC236}">
                <a16:creationId xmlns:a16="http://schemas.microsoft.com/office/drawing/2014/main" id="{4B9982FA-94CE-476E-98B9-AED20350F85D}"/>
              </a:ext>
            </a:extLst>
          </p:cNvPr>
          <p:cNvSpPr>
            <a:spLocks noGrp="1"/>
          </p:cNvSpPr>
          <p:nvPr>
            <p:custDataLst>
              <p:tags r:id="rId29"/>
            </p:custDataLst>
          </p:nvPr>
        </p:nvSpPr>
        <p:spPr bwMode="gray">
          <a:xfrm>
            <a:off x="4756149" y="2784475"/>
            <a:ext cx="374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1B82D47-A52F-4F7F-8155-24F7B16C1BE9}" type="datetime'''''''''''''-1''.6''''5''''''''''''''''''''''0'''''''''''''">
              <a:rPr lang="nl-NL" altLang="en-US" sz="1000" b="1" smtClean="0">
                <a:solidFill>
                  <a:schemeClr val="tx1"/>
                </a:solidFill>
              </a:rPr>
              <a:pPr/>
              <a:t>-1.650</a:t>
            </a:fld>
            <a:endParaRPr lang="nl-NL" sz="1000" b="1" dirty="0">
              <a:solidFill>
                <a:schemeClr val="tx1"/>
              </a:solidFill>
              <a:latin typeface="+mn-lt"/>
              <a:sym typeface="+mn-lt"/>
            </a:endParaRPr>
          </a:p>
        </p:txBody>
      </p:sp>
      <p:cxnSp>
        <p:nvCxnSpPr>
          <p:cNvPr id="90" name="Straight Connector 89">
            <a:extLst>
              <a:ext uri="{FF2B5EF4-FFF2-40B4-BE49-F238E27FC236}">
                <a16:creationId xmlns:a16="http://schemas.microsoft.com/office/drawing/2014/main" id="{418FD0F7-2B33-4778-B495-70D15DAECB8C}"/>
              </a:ext>
            </a:extLst>
          </p:cNvPr>
          <p:cNvCxnSpPr/>
          <p:nvPr>
            <p:custDataLst>
              <p:tags r:id="rId30"/>
            </p:custDataLst>
          </p:nvPr>
        </p:nvCxnSpPr>
        <p:spPr bwMode="auto">
          <a:xfrm>
            <a:off x="9420225" y="5375275"/>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6FE5FFF2-57F6-4996-8FE1-B6B39D37A3B2}"/>
              </a:ext>
            </a:extLst>
          </p:cNvPr>
          <p:cNvCxnSpPr/>
          <p:nvPr>
            <p:custDataLst>
              <p:tags r:id="rId31"/>
            </p:custDataLst>
          </p:nvPr>
        </p:nvCxnSpPr>
        <p:spPr bwMode="auto">
          <a:xfrm>
            <a:off x="10075863" y="5413375"/>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523C2DED-5A71-4DDA-A33F-CE7C51218020}"/>
              </a:ext>
            </a:extLst>
          </p:cNvPr>
          <p:cNvCxnSpPr/>
          <p:nvPr>
            <p:custDataLst>
              <p:tags r:id="rId32"/>
            </p:custDataLst>
          </p:nvPr>
        </p:nvCxnSpPr>
        <p:spPr bwMode="auto">
          <a:xfrm>
            <a:off x="6797675" y="4567238"/>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B86EC16-A43D-4F86-8034-3EBBAC883679}"/>
              </a:ext>
            </a:extLst>
          </p:cNvPr>
          <p:cNvCxnSpPr/>
          <p:nvPr>
            <p:custDataLst>
              <p:tags r:id="rId33"/>
            </p:custDataLst>
          </p:nvPr>
        </p:nvCxnSpPr>
        <p:spPr bwMode="auto">
          <a:xfrm>
            <a:off x="7453313" y="5302250"/>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E807B550-6C82-4B05-AA2E-4D1E01480E36}"/>
              </a:ext>
            </a:extLst>
          </p:cNvPr>
          <p:cNvCxnSpPr/>
          <p:nvPr>
            <p:custDataLst>
              <p:tags r:id="rId34"/>
            </p:custDataLst>
          </p:nvPr>
        </p:nvCxnSpPr>
        <p:spPr bwMode="auto">
          <a:xfrm>
            <a:off x="8108950" y="5321300"/>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CD6F93CD-A5C1-4F96-AFD3-15F0805BFDA6}"/>
              </a:ext>
            </a:extLst>
          </p:cNvPr>
          <p:cNvCxnSpPr/>
          <p:nvPr>
            <p:custDataLst>
              <p:tags r:id="rId35"/>
            </p:custDataLst>
          </p:nvPr>
        </p:nvCxnSpPr>
        <p:spPr bwMode="auto">
          <a:xfrm>
            <a:off x="8764588" y="5338763"/>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07A5243B-8EBE-4EA3-8998-08E1D89011FC}"/>
              </a:ext>
            </a:extLst>
          </p:cNvPr>
          <p:cNvCxnSpPr/>
          <p:nvPr>
            <p:custDataLst>
              <p:tags r:id="rId36"/>
            </p:custDataLst>
          </p:nvPr>
        </p:nvCxnSpPr>
        <p:spPr bwMode="auto">
          <a:xfrm>
            <a:off x="10731500" y="5486400"/>
            <a:ext cx="29051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32" name="Chart 231">
            <a:extLst>
              <a:ext uri="{FF2B5EF4-FFF2-40B4-BE49-F238E27FC236}">
                <a16:creationId xmlns:a16="http://schemas.microsoft.com/office/drawing/2014/main" id="{150ABC5E-B510-4AA5-910F-615B1797388D}"/>
              </a:ext>
            </a:extLst>
          </p:cNvPr>
          <p:cNvGraphicFramePr/>
          <p:nvPr>
            <p:custDataLst>
              <p:tags r:id="rId37"/>
            </p:custDataLst>
            <p:extLst>
              <p:ext uri="{D42A27DB-BD31-4B8C-83A1-F6EECF244321}">
                <p14:modId xmlns:p14="http://schemas.microsoft.com/office/powerpoint/2010/main" val="374790363"/>
              </p:ext>
            </p:extLst>
          </p:nvPr>
        </p:nvGraphicFramePr>
        <p:xfrm>
          <a:off x="6205538" y="1865313"/>
          <a:ext cx="5410200" cy="3703637"/>
        </p:xfrm>
        <a:graphic>
          <a:graphicData uri="http://schemas.openxmlformats.org/drawingml/2006/chart">
            <c:chart xmlns:c="http://schemas.openxmlformats.org/drawingml/2006/chart" xmlns:r="http://schemas.openxmlformats.org/officeDocument/2006/relationships" r:id="rId64"/>
          </a:graphicData>
        </a:graphic>
      </p:graphicFrame>
      <p:sp useBgFill="1">
        <p:nvSpPr>
          <p:cNvPr id="33" name="Freeform: Shape 32">
            <a:extLst>
              <a:ext uri="{FF2B5EF4-FFF2-40B4-BE49-F238E27FC236}">
                <a16:creationId xmlns:a16="http://schemas.microsoft.com/office/drawing/2014/main" id="{F507AA16-C8E0-486A-983C-94A14964F913}"/>
              </a:ext>
            </a:extLst>
          </p:cNvPr>
          <p:cNvSpPr/>
          <p:nvPr>
            <p:custDataLst>
              <p:tags r:id="rId38"/>
            </p:custDataLst>
          </p:nvPr>
        </p:nvSpPr>
        <p:spPr bwMode="auto">
          <a:xfrm>
            <a:off x="10983913" y="2066925"/>
            <a:ext cx="441326" cy="176213"/>
          </a:xfrm>
          <a:custGeom>
            <a:avLst/>
            <a:gdLst/>
            <a:ahLst/>
            <a:cxnLst/>
            <a:rect l="0" t="0" r="0" b="0"/>
            <a:pathLst>
              <a:path w="441326" h="176213">
                <a:moveTo>
                  <a:pt x="0" y="119062"/>
                </a:moveTo>
                <a:lnTo>
                  <a:pt x="441325" y="0"/>
                </a:lnTo>
                <a:lnTo>
                  <a:pt x="441325" y="57150"/>
                </a:lnTo>
                <a:lnTo>
                  <a:pt x="0" y="176212"/>
                </a:lnTo>
                <a:close/>
              </a:path>
            </a:pathLst>
          </a:custGeom>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useBgFill="1">
        <p:nvSpPr>
          <p:cNvPr id="30" name="Freeform: Shape 29">
            <a:extLst>
              <a:ext uri="{FF2B5EF4-FFF2-40B4-BE49-F238E27FC236}">
                <a16:creationId xmlns:a16="http://schemas.microsoft.com/office/drawing/2014/main" id="{38733CB8-301B-4AF6-883C-77FF10C9A14B}"/>
              </a:ext>
            </a:extLst>
          </p:cNvPr>
          <p:cNvSpPr/>
          <p:nvPr>
            <p:custDataLst>
              <p:tags r:id="rId39"/>
            </p:custDataLst>
          </p:nvPr>
        </p:nvSpPr>
        <p:spPr bwMode="auto">
          <a:xfrm>
            <a:off x="6394450" y="2066925"/>
            <a:ext cx="441326" cy="176213"/>
          </a:xfrm>
          <a:custGeom>
            <a:avLst/>
            <a:gdLst/>
            <a:ahLst/>
            <a:cxnLst/>
            <a:rect l="0" t="0" r="0" b="0"/>
            <a:pathLst>
              <a:path w="441326" h="176213">
                <a:moveTo>
                  <a:pt x="0" y="119062"/>
                </a:moveTo>
                <a:lnTo>
                  <a:pt x="441325" y="0"/>
                </a:lnTo>
                <a:lnTo>
                  <a:pt x="441325" y="57150"/>
                </a:lnTo>
                <a:lnTo>
                  <a:pt x="0" y="176212"/>
                </a:lnTo>
                <a:close/>
              </a:path>
            </a:pathLst>
          </a:custGeom>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1" name="Freeform: Shape 30">
            <a:extLst>
              <a:ext uri="{FF2B5EF4-FFF2-40B4-BE49-F238E27FC236}">
                <a16:creationId xmlns:a16="http://schemas.microsoft.com/office/drawing/2014/main" id="{535B8084-2E5A-4B4E-BAAB-786A91256370}"/>
              </a:ext>
            </a:extLst>
          </p:cNvPr>
          <p:cNvSpPr/>
          <p:nvPr>
            <p:custDataLst>
              <p:tags r:id="rId40"/>
            </p:custDataLst>
          </p:nvPr>
        </p:nvSpPr>
        <p:spPr bwMode="auto">
          <a:xfrm>
            <a:off x="10983913" y="2066925"/>
            <a:ext cx="441326" cy="119063"/>
          </a:xfrm>
          <a:custGeom>
            <a:avLst/>
            <a:gdLst/>
            <a:ahLst/>
            <a:cxnLst/>
            <a:rect l="0" t="0" r="0" b="0"/>
            <a:pathLst>
              <a:path w="441326" h="119063">
                <a:moveTo>
                  <a:pt x="0" y="119062"/>
                </a:moveTo>
                <a:lnTo>
                  <a:pt x="441325"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28" name="Freeform: Shape 27">
            <a:extLst>
              <a:ext uri="{FF2B5EF4-FFF2-40B4-BE49-F238E27FC236}">
                <a16:creationId xmlns:a16="http://schemas.microsoft.com/office/drawing/2014/main" id="{D35C56F1-468D-4297-B76D-ED63C06B4DAF}"/>
              </a:ext>
            </a:extLst>
          </p:cNvPr>
          <p:cNvSpPr/>
          <p:nvPr>
            <p:custDataLst>
              <p:tags r:id="rId41"/>
            </p:custDataLst>
          </p:nvPr>
        </p:nvSpPr>
        <p:spPr bwMode="auto">
          <a:xfrm>
            <a:off x="6394450" y="2066925"/>
            <a:ext cx="441326" cy="119063"/>
          </a:xfrm>
          <a:custGeom>
            <a:avLst/>
            <a:gdLst/>
            <a:ahLst/>
            <a:cxnLst/>
            <a:rect l="0" t="0" r="0" b="0"/>
            <a:pathLst>
              <a:path w="441326" h="119063">
                <a:moveTo>
                  <a:pt x="0" y="119062"/>
                </a:moveTo>
                <a:lnTo>
                  <a:pt x="441325"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29" name="Freeform: Shape 28">
            <a:extLst>
              <a:ext uri="{FF2B5EF4-FFF2-40B4-BE49-F238E27FC236}">
                <a16:creationId xmlns:a16="http://schemas.microsoft.com/office/drawing/2014/main" id="{A905894F-9544-4CBD-AF66-5FD83FDDEA97}"/>
              </a:ext>
            </a:extLst>
          </p:cNvPr>
          <p:cNvSpPr/>
          <p:nvPr>
            <p:custDataLst>
              <p:tags r:id="rId42"/>
            </p:custDataLst>
          </p:nvPr>
        </p:nvSpPr>
        <p:spPr bwMode="auto">
          <a:xfrm>
            <a:off x="6394450" y="2124075"/>
            <a:ext cx="441326" cy="119063"/>
          </a:xfrm>
          <a:custGeom>
            <a:avLst/>
            <a:gdLst/>
            <a:ahLst/>
            <a:cxnLst/>
            <a:rect l="0" t="0" r="0" b="0"/>
            <a:pathLst>
              <a:path w="441326" h="119063">
                <a:moveTo>
                  <a:pt x="0" y="119062"/>
                </a:moveTo>
                <a:lnTo>
                  <a:pt x="441325"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32" name="Freeform: Shape 31">
            <a:extLst>
              <a:ext uri="{FF2B5EF4-FFF2-40B4-BE49-F238E27FC236}">
                <a16:creationId xmlns:a16="http://schemas.microsoft.com/office/drawing/2014/main" id="{A2901EF9-14E1-4B39-8A36-325373E5580B}"/>
              </a:ext>
            </a:extLst>
          </p:cNvPr>
          <p:cNvSpPr/>
          <p:nvPr>
            <p:custDataLst>
              <p:tags r:id="rId43"/>
            </p:custDataLst>
          </p:nvPr>
        </p:nvSpPr>
        <p:spPr bwMode="auto">
          <a:xfrm>
            <a:off x="10983913" y="2124075"/>
            <a:ext cx="441326" cy="119063"/>
          </a:xfrm>
          <a:custGeom>
            <a:avLst/>
            <a:gdLst/>
            <a:ahLst/>
            <a:cxnLst/>
            <a:rect l="0" t="0" r="0" b="0"/>
            <a:pathLst>
              <a:path w="441326" h="119063">
                <a:moveTo>
                  <a:pt x="0" y="119062"/>
                </a:moveTo>
                <a:lnTo>
                  <a:pt x="441325"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09" name="Text Placeholder 5">
            <a:extLst>
              <a:ext uri="{FF2B5EF4-FFF2-40B4-BE49-F238E27FC236}">
                <a16:creationId xmlns:a16="http://schemas.microsoft.com/office/drawing/2014/main" id="{1A7D6E96-211E-4C8D-B6A0-5FABD325537B}"/>
              </a:ext>
            </a:extLst>
          </p:cNvPr>
          <p:cNvSpPr>
            <a:spLocks noGrp="1"/>
          </p:cNvSpPr>
          <p:nvPr>
            <p:custDataLst>
              <p:tags r:id="rId44"/>
            </p:custDataLst>
          </p:nvPr>
        </p:nvSpPr>
        <p:spPr bwMode="gray">
          <a:xfrm>
            <a:off x="10466388" y="5381625"/>
            <a:ext cx="165100" cy="136525"/>
          </a:xfrm>
          <a:prstGeom prst="rect">
            <a:avLst/>
          </a:prstGeom>
          <a:solidFill>
            <a:schemeClr val="tx2"/>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C4B69E4-FAAF-4D14-8996-0FA617D09D69}" type="datetime'2''''''''''''''''''''''''''''''0'''''''''''">
              <a:rPr lang="nl-NL" altLang="en-US" sz="1000" smtClean="0">
                <a:solidFill>
                  <a:schemeClr val="bg1"/>
                </a:solidFill>
              </a:rPr>
              <a:pPr/>
              <a:t>20</a:t>
            </a:fld>
            <a:endParaRPr lang="en-US" sz="1000" dirty="0">
              <a:solidFill>
                <a:schemeClr val="bg1"/>
              </a:solidFill>
              <a:latin typeface="+mn-lt"/>
              <a:sym typeface="+mn-lt"/>
            </a:endParaRPr>
          </a:p>
        </p:txBody>
      </p:sp>
      <p:sp>
        <p:nvSpPr>
          <p:cNvPr id="162" name="Text Placeholder 5">
            <a:extLst>
              <a:ext uri="{FF2B5EF4-FFF2-40B4-BE49-F238E27FC236}">
                <a16:creationId xmlns:a16="http://schemas.microsoft.com/office/drawing/2014/main" id="{AA0E7FFF-E56E-4935-8424-97D240F7F017}"/>
              </a:ext>
            </a:extLst>
          </p:cNvPr>
          <p:cNvSpPr>
            <a:spLocks noGrp="1"/>
          </p:cNvSpPr>
          <p:nvPr>
            <p:custDataLst>
              <p:tags r:id="rId45"/>
            </p:custDataLst>
          </p:nvPr>
        </p:nvSpPr>
        <p:spPr bwMode="auto">
          <a:xfrm>
            <a:off x="6380163" y="5691188"/>
            <a:ext cx="471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S</a:t>
            </a:r>
            <a:r>
              <a:rPr lang="nl-NL" altLang="en-US" sz="1000">
                <a:solidFill>
                  <a:schemeClr val="tx1"/>
                </a:solidFill>
              </a:rPr>
              <a:t>c</a:t>
            </a:r>
            <a:r>
              <a:rPr lang="en-NL" altLang="en-US" sz="1000">
                <a:solidFill>
                  <a:schemeClr val="tx1"/>
                </a:solidFill>
              </a:rPr>
              <a:t>e</a:t>
            </a:r>
            <a:r>
              <a:rPr lang="nl-NL" altLang="en-US" sz="1000">
                <a:solidFill>
                  <a:schemeClr val="tx1"/>
                </a:solidFill>
              </a:rPr>
              <a:t>n</a:t>
            </a:r>
            <a:r>
              <a:rPr lang="en-NL" altLang="en-US" sz="1000">
                <a:solidFill>
                  <a:schemeClr val="tx1"/>
                </a:solidFill>
              </a:rPr>
              <a:t>a</a:t>
            </a:r>
            <a:r>
              <a:rPr lang="nl-NL" altLang="en-US" sz="1000">
                <a:solidFill>
                  <a:schemeClr val="tx1"/>
                </a:solidFill>
              </a:rPr>
              <a:t>r</a:t>
            </a:r>
            <a:r>
              <a:rPr lang="en-NL" altLang="en-US" sz="1000">
                <a:solidFill>
                  <a:schemeClr val="tx1"/>
                </a:solidFill>
              </a:rPr>
              <a:t>i</a:t>
            </a:r>
            <a:r>
              <a:rPr lang="nl-NL" altLang="en-US" sz="1000">
                <a:solidFill>
                  <a:schemeClr val="tx1"/>
                </a:solidFill>
              </a:rPr>
              <a:t>o</a:t>
            </a:r>
            <a:endParaRPr lang="en-US" sz="1000" dirty="0">
              <a:solidFill>
                <a:schemeClr val="tx1"/>
              </a:solidFill>
              <a:latin typeface="+mn-lt"/>
              <a:sym typeface="+mn-lt"/>
            </a:endParaRPr>
          </a:p>
        </p:txBody>
      </p:sp>
      <p:sp>
        <p:nvSpPr>
          <p:cNvPr id="128" name="Text Placeholder 5">
            <a:extLst>
              <a:ext uri="{FF2B5EF4-FFF2-40B4-BE49-F238E27FC236}">
                <a16:creationId xmlns:a16="http://schemas.microsoft.com/office/drawing/2014/main" id="{EE33F19D-AAE6-4DD2-91CD-428C66AC9E4C}"/>
              </a:ext>
            </a:extLst>
          </p:cNvPr>
          <p:cNvSpPr>
            <a:spLocks noGrp="1"/>
          </p:cNvSpPr>
          <p:nvPr>
            <p:custDataLst>
              <p:tags r:id="rId46"/>
            </p:custDataLst>
          </p:nvPr>
        </p:nvSpPr>
        <p:spPr bwMode="gray">
          <a:xfrm>
            <a:off x="8534400" y="5260975"/>
            <a:ext cx="95250" cy="136525"/>
          </a:xfrm>
          <a:prstGeom prst="rect">
            <a:avLst/>
          </a:prstGeom>
          <a:solidFill>
            <a:schemeClr val="tx2"/>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4C40077-8612-458A-8F81-C7FC211A7D5B}" type="datetime'''''''''''''''''''''''''''''''''''5'''''''''''''''''''">
              <a:rPr lang="nl-NL" altLang="en-US" sz="1000" smtClean="0">
                <a:solidFill>
                  <a:schemeClr val="bg1"/>
                </a:solidFill>
                <a:effectLst/>
              </a:rPr>
              <a:pPr/>
              <a:t>5</a:t>
            </a:fld>
            <a:endParaRPr lang="en-US" sz="1000" dirty="0">
              <a:solidFill>
                <a:schemeClr val="bg1"/>
              </a:solidFill>
              <a:latin typeface="+mn-lt"/>
              <a:sym typeface="+mn-lt"/>
            </a:endParaRPr>
          </a:p>
        </p:txBody>
      </p:sp>
      <p:sp>
        <p:nvSpPr>
          <p:cNvPr id="122" name="Text Placeholder 5">
            <a:extLst>
              <a:ext uri="{FF2B5EF4-FFF2-40B4-BE49-F238E27FC236}">
                <a16:creationId xmlns:a16="http://schemas.microsoft.com/office/drawing/2014/main" id="{80C06670-FACE-493C-8E9D-8775CC87EA53}"/>
              </a:ext>
            </a:extLst>
          </p:cNvPr>
          <p:cNvSpPr>
            <a:spLocks noGrp="1"/>
          </p:cNvSpPr>
          <p:nvPr>
            <p:custDataLst>
              <p:tags r:id="rId47"/>
            </p:custDataLst>
          </p:nvPr>
        </p:nvSpPr>
        <p:spPr bwMode="gray">
          <a:xfrm>
            <a:off x="6430963" y="4592638"/>
            <a:ext cx="3683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nl-NL" altLang="en-US" sz="1000" b="1" dirty="0">
                <a:solidFill>
                  <a:schemeClr val="tx1"/>
                </a:solidFill>
              </a:rPr>
              <a:t>-2.150</a:t>
            </a:r>
            <a:endParaRPr lang="en-US" sz="1000" b="1" dirty="0">
              <a:solidFill>
                <a:schemeClr val="tx1"/>
              </a:solidFill>
              <a:latin typeface="+mn-lt"/>
              <a:sym typeface="+mn-lt"/>
            </a:endParaRPr>
          </a:p>
        </p:txBody>
      </p:sp>
      <p:sp>
        <p:nvSpPr>
          <p:cNvPr id="144" name="Text Placeholder 5">
            <a:extLst>
              <a:ext uri="{FF2B5EF4-FFF2-40B4-BE49-F238E27FC236}">
                <a16:creationId xmlns:a16="http://schemas.microsoft.com/office/drawing/2014/main" id="{6EBA2880-660F-49D3-8DE5-104220B9324D}"/>
              </a:ext>
            </a:extLst>
          </p:cNvPr>
          <p:cNvSpPr>
            <a:spLocks noGrp="1"/>
          </p:cNvSpPr>
          <p:nvPr>
            <p:custDataLst>
              <p:tags r:id="rId48"/>
            </p:custDataLst>
          </p:nvPr>
        </p:nvSpPr>
        <p:spPr bwMode="gray">
          <a:xfrm>
            <a:off x="7156450" y="4865688"/>
            <a:ext cx="230188" cy="136525"/>
          </a:xfrm>
          <a:prstGeom prst="rect">
            <a:avLst/>
          </a:prstGeom>
          <a:noFill/>
          <a:ln>
            <a:noFill/>
          </a:ln>
          <a:extLst>
            <a:ext uri="{909E8E84-426E-40DD-AFC4-6F175D3DCCD1}">
              <a14:hiddenFill xmlns:a14="http://schemas.microsoft.com/office/drawing/2010/main">
                <a:solidFill>
                  <a:srgbClr val="FFCCCC"/>
                </a:solidFill>
              </a14:hiddenFill>
            </a:ext>
          </a:extLst>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E204F5D-461C-49D1-858C-94DBF5BBFA97}" type="datetime'''''2''''''''''''0''''''''''''''''''''''''0'''''''''">
              <a:rPr lang="nl-NL" altLang="en-US" sz="1000" smtClean="0">
                <a:solidFill>
                  <a:schemeClr val="bg1"/>
                </a:solidFill>
              </a:rPr>
              <a:pPr/>
              <a:t>200</a:t>
            </a:fld>
            <a:endParaRPr lang="en-US" sz="1000" dirty="0">
              <a:solidFill>
                <a:schemeClr val="bg1"/>
              </a:solidFill>
              <a:latin typeface="+mn-lt"/>
              <a:sym typeface="+mn-lt"/>
            </a:endParaRPr>
          </a:p>
        </p:txBody>
      </p:sp>
      <p:sp>
        <p:nvSpPr>
          <p:cNvPr id="125" name="Text Placeholder 5">
            <a:extLst>
              <a:ext uri="{FF2B5EF4-FFF2-40B4-BE49-F238E27FC236}">
                <a16:creationId xmlns:a16="http://schemas.microsoft.com/office/drawing/2014/main" id="{76C80EB6-C103-42DC-993A-ECD39660C11D}"/>
              </a:ext>
            </a:extLst>
          </p:cNvPr>
          <p:cNvSpPr>
            <a:spLocks noGrp="1"/>
          </p:cNvSpPr>
          <p:nvPr>
            <p:custDataLst>
              <p:tags r:id="rId49"/>
            </p:custDataLst>
          </p:nvPr>
        </p:nvSpPr>
        <p:spPr bwMode="auto">
          <a:xfrm>
            <a:off x="7080250" y="5691188"/>
            <a:ext cx="38258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CA7AD5B-BADD-4D4C-AAB8-0E583C8131E4}" type="datetime'''Aa''n''''l''''''eg k''ost''''''''''e''n'">
              <a:rPr lang="en-US" altLang="en-US" sz="1000" smtClean="0">
                <a:solidFill>
                  <a:schemeClr val="tx1"/>
                </a:solidFill>
              </a:rPr>
              <a:pPr/>
              <a:t>Aanleg kosten</a:t>
            </a:fld>
            <a:endParaRPr lang="en-US" sz="1000" dirty="0">
              <a:solidFill>
                <a:schemeClr val="tx1"/>
              </a:solidFill>
              <a:latin typeface="+mn-lt"/>
              <a:sym typeface="+mn-lt"/>
            </a:endParaRPr>
          </a:p>
        </p:txBody>
      </p:sp>
      <p:sp>
        <p:nvSpPr>
          <p:cNvPr id="123" name="Text Placeholder 5">
            <a:extLst>
              <a:ext uri="{FF2B5EF4-FFF2-40B4-BE49-F238E27FC236}">
                <a16:creationId xmlns:a16="http://schemas.microsoft.com/office/drawing/2014/main" id="{9D638CB8-2C0C-440B-B66B-D1D2B707BF0E}"/>
              </a:ext>
            </a:extLst>
          </p:cNvPr>
          <p:cNvSpPr>
            <a:spLocks noGrp="1"/>
          </p:cNvSpPr>
          <p:nvPr>
            <p:custDataLst>
              <p:tags r:id="rId50"/>
            </p:custDataLst>
          </p:nvPr>
        </p:nvSpPr>
        <p:spPr bwMode="auto">
          <a:xfrm>
            <a:off x="10348913" y="5691188"/>
            <a:ext cx="4016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R</a:t>
            </a:r>
            <a:r>
              <a:rPr lang="nl-NL" altLang="en-US" sz="1000">
                <a:solidFill>
                  <a:schemeClr val="tx1"/>
                </a:solidFill>
              </a:rPr>
              <a:t>e</a:t>
            </a:r>
            <a:r>
              <a:rPr lang="en-NL" altLang="en-US" sz="1000">
                <a:solidFill>
                  <a:schemeClr val="tx1"/>
                </a:solidFill>
              </a:rPr>
              <a:t>s</a:t>
            </a:r>
            <a:r>
              <a:rPr lang="nl-NL" altLang="en-US" sz="1000">
                <a:solidFill>
                  <a:schemeClr val="tx1"/>
                </a:solidFill>
              </a:rPr>
              <a:t>t</a:t>
            </a:r>
            <a:r>
              <a:rPr lang="en-NL" altLang="en-US" sz="1000">
                <a:solidFill>
                  <a:schemeClr val="tx1"/>
                </a:solidFill>
              </a:rPr>
              <a:t>-</a:t>
            </a:r>
            <a:r>
              <a:rPr lang="nl-NL" altLang="en-US" sz="1000">
                <a:solidFill>
                  <a:schemeClr val="tx1"/>
                </a:solidFill>
              </a:rPr>
              <a:t>w</a:t>
            </a:r>
            <a:r>
              <a:rPr lang="en-NL" altLang="en-US" sz="1000">
                <a:solidFill>
                  <a:schemeClr val="tx1"/>
                </a:solidFill>
              </a:rPr>
              <a:t>a</a:t>
            </a:r>
            <a:r>
              <a:rPr lang="nl-NL" altLang="en-US" sz="1000">
                <a:solidFill>
                  <a:schemeClr val="tx1"/>
                </a:solidFill>
              </a:rPr>
              <a:t>a</a:t>
            </a:r>
            <a:r>
              <a:rPr lang="en-NL" altLang="en-US" sz="1000">
                <a:solidFill>
                  <a:schemeClr val="tx1"/>
                </a:solidFill>
              </a:rPr>
              <a:t>r</a:t>
            </a:r>
            <a:r>
              <a:rPr lang="nl-NL" altLang="en-US" sz="1000">
                <a:solidFill>
                  <a:schemeClr val="tx1"/>
                </a:solidFill>
              </a:rPr>
              <a:t>d</a:t>
            </a:r>
            <a:r>
              <a:rPr lang="en-NL" altLang="en-US" sz="1000">
                <a:solidFill>
                  <a:schemeClr val="tx1"/>
                </a:solidFill>
              </a:rPr>
              <a:t>e</a:t>
            </a:r>
            <a:endParaRPr lang="en-US" sz="1000" dirty="0">
              <a:solidFill>
                <a:schemeClr val="tx1"/>
              </a:solidFill>
              <a:latin typeface="+mn-lt"/>
              <a:sym typeface="+mn-lt"/>
            </a:endParaRPr>
          </a:p>
        </p:txBody>
      </p:sp>
      <p:sp>
        <p:nvSpPr>
          <p:cNvPr id="111" name="Text Placeholder 5">
            <a:extLst>
              <a:ext uri="{FF2B5EF4-FFF2-40B4-BE49-F238E27FC236}">
                <a16:creationId xmlns:a16="http://schemas.microsoft.com/office/drawing/2014/main" id="{9ECE8C63-D404-447C-93EE-94C3E63AF064}"/>
              </a:ext>
            </a:extLst>
          </p:cNvPr>
          <p:cNvSpPr>
            <a:spLocks noGrp="1"/>
          </p:cNvSpPr>
          <p:nvPr>
            <p:custDataLst>
              <p:tags r:id="rId51"/>
            </p:custDataLst>
          </p:nvPr>
        </p:nvSpPr>
        <p:spPr bwMode="gray">
          <a:xfrm>
            <a:off x="7878763" y="5243513"/>
            <a:ext cx="95250" cy="136525"/>
          </a:xfrm>
          <a:prstGeom prst="rect">
            <a:avLst/>
          </a:prstGeom>
          <a:solidFill>
            <a:schemeClr val="tx2"/>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5998A8B-E411-42A7-AF6A-A643822DE352}" type="datetime'''''''''5'''''''''''''''''''''">
              <a:rPr lang="nl-NL" altLang="en-US" sz="1000" smtClean="0">
                <a:solidFill>
                  <a:schemeClr val="bg1"/>
                </a:solidFill>
                <a:effectLst/>
              </a:rPr>
              <a:pPr/>
              <a:t>5</a:t>
            </a:fld>
            <a:endParaRPr lang="en-US" sz="1000" dirty="0">
              <a:solidFill>
                <a:schemeClr val="bg1"/>
              </a:solidFill>
              <a:latin typeface="+mn-lt"/>
              <a:sym typeface="+mn-lt"/>
            </a:endParaRPr>
          </a:p>
        </p:txBody>
      </p:sp>
      <p:sp>
        <p:nvSpPr>
          <p:cNvPr id="126" name="Text Placeholder 5">
            <a:extLst>
              <a:ext uri="{FF2B5EF4-FFF2-40B4-BE49-F238E27FC236}">
                <a16:creationId xmlns:a16="http://schemas.microsoft.com/office/drawing/2014/main" id="{9F8A8E04-BCA0-451F-B680-84C2403D09FE}"/>
              </a:ext>
            </a:extLst>
          </p:cNvPr>
          <p:cNvSpPr>
            <a:spLocks noGrp="1"/>
          </p:cNvSpPr>
          <p:nvPr>
            <p:custDataLst>
              <p:tags r:id="rId52"/>
            </p:custDataLst>
          </p:nvPr>
        </p:nvSpPr>
        <p:spPr bwMode="auto">
          <a:xfrm>
            <a:off x="7637463" y="5691188"/>
            <a:ext cx="5794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5160CC9-CE73-4F29-8609-74739C37BC17}" type="datetime'E''x''''ploi''t''''''''a''tie ''''''   '' op''''''br''.'''">
              <a:rPr lang="en-US" altLang="en-US" sz="1000" smtClean="0">
                <a:solidFill>
                  <a:schemeClr val="tx1"/>
                </a:solidFill>
              </a:rPr>
              <a:pPr/>
              <a:t>Exploitatie     opbr.</a:t>
            </a:fld>
            <a:endParaRPr lang="en-US" sz="1000" dirty="0">
              <a:solidFill>
                <a:schemeClr val="tx1"/>
              </a:solidFill>
              <a:latin typeface="+mn-lt"/>
              <a:sym typeface="+mn-lt"/>
            </a:endParaRPr>
          </a:p>
        </p:txBody>
      </p:sp>
      <p:sp>
        <p:nvSpPr>
          <p:cNvPr id="127" name="Text Placeholder 5">
            <a:extLst>
              <a:ext uri="{FF2B5EF4-FFF2-40B4-BE49-F238E27FC236}">
                <a16:creationId xmlns:a16="http://schemas.microsoft.com/office/drawing/2014/main" id="{68769030-FC86-4452-AFB1-4AD2EE7C9AED}"/>
              </a:ext>
            </a:extLst>
          </p:cNvPr>
          <p:cNvSpPr>
            <a:spLocks noGrp="1"/>
          </p:cNvSpPr>
          <p:nvPr>
            <p:custDataLst>
              <p:tags r:id="rId53"/>
            </p:custDataLst>
          </p:nvPr>
        </p:nvSpPr>
        <p:spPr bwMode="auto">
          <a:xfrm>
            <a:off x="9636125" y="5691188"/>
            <a:ext cx="515938"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5E3578E-39AC-47E9-A0E7-C1FB233B9C1C}" type="datetime'Beh''''. ''''''''&amp;'''' o''''''''''n''''d. inf''''r''''a'">
              <a:rPr lang="en-US" altLang="en-US" sz="1000" smtClean="0">
                <a:solidFill>
                  <a:schemeClr val="tx1"/>
                </a:solidFill>
              </a:rPr>
              <a:pPr/>
              <a:t>Beh. &amp; ond. infra</a:t>
            </a:fld>
            <a:endParaRPr lang="en-US" sz="1000" dirty="0">
              <a:solidFill>
                <a:schemeClr val="tx1"/>
              </a:solidFill>
              <a:latin typeface="+mn-lt"/>
              <a:sym typeface="+mn-lt"/>
            </a:endParaRPr>
          </a:p>
        </p:txBody>
      </p:sp>
      <p:sp>
        <p:nvSpPr>
          <p:cNvPr id="105" name="Text Placeholder 5">
            <a:extLst>
              <a:ext uri="{FF2B5EF4-FFF2-40B4-BE49-F238E27FC236}">
                <a16:creationId xmlns:a16="http://schemas.microsoft.com/office/drawing/2014/main" id="{3ED4A624-F9E8-4355-ACAD-157BCEDE3778}"/>
              </a:ext>
            </a:extLst>
          </p:cNvPr>
          <p:cNvSpPr>
            <a:spLocks noGrp="1"/>
          </p:cNvSpPr>
          <p:nvPr>
            <p:custDataLst>
              <p:tags r:id="rId54"/>
            </p:custDataLst>
          </p:nvPr>
        </p:nvSpPr>
        <p:spPr bwMode="auto">
          <a:xfrm>
            <a:off x="8397875" y="5691188"/>
            <a:ext cx="368300"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88D6147-03B7-4670-AD80-2E2DF2114DC8}" type="datetime'''''''''E''''x''''pl''.'' '''''' ''''''k''''''''''o''sten'''">
              <a:rPr lang="en-US" altLang="en-US" sz="1000" smtClean="0">
                <a:solidFill>
                  <a:schemeClr val="tx1"/>
                </a:solidFill>
              </a:rPr>
              <a:pPr/>
              <a:t>Expl.  kosten</a:t>
            </a:fld>
            <a:endParaRPr lang="en-US" sz="1000" dirty="0">
              <a:solidFill>
                <a:schemeClr val="tx1"/>
              </a:solidFill>
              <a:latin typeface="+mn-lt"/>
              <a:sym typeface="+mn-lt"/>
            </a:endParaRPr>
          </a:p>
        </p:txBody>
      </p:sp>
      <p:sp>
        <p:nvSpPr>
          <p:cNvPr id="112" name="Text Placeholder 5">
            <a:extLst>
              <a:ext uri="{FF2B5EF4-FFF2-40B4-BE49-F238E27FC236}">
                <a16:creationId xmlns:a16="http://schemas.microsoft.com/office/drawing/2014/main" id="{2D3F1A4A-D52B-4439-A73A-5C0084B8644B}"/>
              </a:ext>
            </a:extLst>
          </p:cNvPr>
          <p:cNvSpPr>
            <a:spLocks noGrp="1"/>
          </p:cNvSpPr>
          <p:nvPr>
            <p:custDataLst>
              <p:tags r:id="rId55"/>
            </p:custDataLst>
          </p:nvPr>
        </p:nvSpPr>
        <p:spPr bwMode="gray">
          <a:xfrm>
            <a:off x="9159876" y="5287963"/>
            <a:ext cx="157163" cy="136525"/>
          </a:xfrm>
          <a:prstGeom prst="rect">
            <a:avLst/>
          </a:prstGeom>
          <a:solidFill>
            <a:schemeClr val="tx2"/>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0CC2DB7-8DD7-4A58-99D0-A2BE74D5748D}" type="datetime'''1''''''''0'''''''''''">
              <a:rPr lang="nl-NL" altLang="en-US" sz="1000" smtClean="0">
                <a:solidFill>
                  <a:schemeClr val="bg1"/>
                </a:solidFill>
                <a:effectLst/>
              </a:rPr>
              <a:pPr/>
              <a:t>10</a:t>
            </a:fld>
            <a:endParaRPr lang="en-US" sz="1000" dirty="0">
              <a:solidFill>
                <a:schemeClr val="bg1"/>
              </a:solidFill>
              <a:latin typeface="+mn-lt"/>
              <a:sym typeface="+mn-lt"/>
            </a:endParaRPr>
          </a:p>
        </p:txBody>
      </p:sp>
      <p:sp>
        <p:nvSpPr>
          <p:cNvPr id="107" name="Text Placeholder 5">
            <a:extLst>
              <a:ext uri="{FF2B5EF4-FFF2-40B4-BE49-F238E27FC236}">
                <a16:creationId xmlns:a16="http://schemas.microsoft.com/office/drawing/2014/main" id="{F80EEC02-C532-459F-8606-AC3B4173E579}"/>
              </a:ext>
            </a:extLst>
          </p:cNvPr>
          <p:cNvSpPr>
            <a:spLocks noGrp="1"/>
          </p:cNvSpPr>
          <p:nvPr>
            <p:custDataLst>
              <p:tags r:id="rId56"/>
            </p:custDataLst>
          </p:nvPr>
        </p:nvSpPr>
        <p:spPr bwMode="auto">
          <a:xfrm>
            <a:off x="9023350" y="5691188"/>
            <a:ext cx="430213" cy="2730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CEDBC35-3D82-4665-8C7C-2CE30BA14454}" type="datetime'A''an''sc''h.'''''' ''m''''''''etr''''''o''’''''s'">
              <a:rPr lang="en-US" altLang="en-US" sz="1000" smtClean="0">
                <a:solidFill>
                  <a:schemeClr val="tx1"/>
                </a:solidFill>
              </a:rPr>
              <a:pPr/>
              <a:t>Aansch. metro’s</a:t>
            </a:fld>
            <a:endParaRPr lang="en-US" sz="1000" dirty="0">
              <a:solidFill>
                <a:schemeClr val="tx1"/>
              </a:solidFill>
              <a:latin typeface="+mn-lt"/>
              <a:sym typeface="+mn-lt"/>
            </a:endParaRPr>
          </a:p>
        </p:txBody>
      </p:sp>
      <p:sp>
        <p:nvSpPr>
          <p:cNvPr id="108" name="Text Placeholder 5">
            <a:extLst>
              <a:ext uri="{FF2B5EF4-FFF2-40B4-BE49-F238E27FC236}">
                <a16:creationId xmlns:a16="http://schemas.microsoft.com/office/drawing/2014/main" id="{4A499138-0BEF-4C0F-9649-98767326CBFC}"/>
              </a:ext>
            </a:extLst>
          </p:cNvPr>
          <p:cNvSpPr>
            <a:spLocks noGrp="1"/>
          </p:cNvSpPr>
          <p:nvPr>
            <p:custDataLst>
              <p:tags r:id="rId57"/>
            </p:custDataLst>
          </p:nvPr>
        </p:nvSpPr>
        <p:spPr bwMode="gray">
          <a:xfrm>
            <a:off x="9815514" y="5326063"/>
            <a:ext cx="157163" cy="136525"/>
          </a:xfrm>
          <a:prstGeom prst="rect">
            <a:avLst/>
          </a:prstGeom>
          <a:solidFill>
            <a:schemeClr val="tx2"/>
          </a:solidFill>
          <a:ln>
            <a:noFill/>
          </a:ln>
        </p:spPr>
        <p:txBody>
          <a:bodyPr vert="horz" wrap="none" lIns="17463" tIns="0" rIns="17463"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3040E84-525F-4999-9231-5D9E22649873}" type="datetime'''''1''''''''''''''''''''''''''''''0'''''''">
              <a:rPr lang="nl-NL" altLang="en-US" sz="1000" smtClean="0">
                <a:solidFill>
                  <a:schemeClr val="bg1"/>
                </a:solidFill>
                <a:effectLst/>
              </a:rPr>
              <a:pPr/>
              <a:t>10</a:t>
            </a:fld>
            <a:endParaRPr lang="en-US" sz="1000" dirty="0">
              <a:solidFill>
                <a:schemeClr val="bg1"/>
              </a:solidFill>
              <a:latin typeface="+mn-lt"/>
              <a:sym typeface="+mn-lt"/>
            </a:endParaRPr>
          </a:p>
        </p:txBody>
      </p:sp>
      <p:sp>
        <p:nvSpPr>
          <p:cNvPr id="165" name="Text Placeholder 5">
            <a:extLst>
              <a:ext uri="{FF2B5EF4-FFF2-40B4-BE49-F238E27FC236}">
                <a16:creationId xmlns:a16="http://schemas.microsoft.com/office/drawing/2014/main" id="{18868D10-FE3C-4725-BA54-E645C07E2626}"/>
              </a:ext>
            </a:extLst>
          </p:cNvPr>
          <p:cNvSpPr>
            <a:spLocks noGrp="1"/>
          </p:cNvSpPr>
          <p:nvPr>
            <p:custDataLst>
              <p:tags r:id="rId58"/>
            </p:custDataLst>
          </p:nvPr>
        </p:nvSpPr>
        <p:spPr bwMode="auto">
          <a:xfrm>
            <a:off x="10969624" y="5691188"/>
            <a:ext cx="471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NL" altLang="en-US" sz="1000">
                <a:solidFill>
                  <a:schemeClr val="tx1"/>
                </a:solidFill>
              </a:rPr>
              <a:t>S</a:t>
            </a:r>
            <a:r>
              <a:rPr lang="nl-NL" altLang="en-US" sz="1000">
                <a:solidFill>
                  <a:schemeClr val="tx1"/>
                </a:solidFill>
              </a:rPr>
              <a:t>c</a:t>
            </a:r>
            <a:r>
              <a:rPr lang="en-NL" altLang="en-US" sz="1000">
                <a:solidFill>
                  <a:schemeClr val="tx1"/>
                </a:solidFill>
              </a:rPr>
              <a:t>e</a:t>
            </a:r>
            <a:r>
              <a:rPr lang="nl-NL" altLang="en-US" sz="1000">
                <a:solidFill>
                  <a:schemeClr val="tx1"/>
                </a:solidFill>
              </a:rPr>
              <a:t>n</a:t>
            </a:r>
            <a:r>
              <a:rPr lang="en-NL" altLang="en-US" sz="1000">
                <a:solidFill>
                  <a:schemeClr val="tx1"/>
                </a:solidFill>
              </a:rPr>
              <a:t>a</a:t>
            </a:r>
            <a:r>
              <a:rPr lang="nl-NL" altLang="en-US" sz="1000">
                <a:solidFill>
                  <a:schemeClr val="tx1"/>
                </a:solidFill>
              </a:rPr>
              <a:t>r</a:t>
            </a:r>
            <a:r>
              <a:rPr lang="en-NL" altLang="en-US" sz="1000">
                <a:solidFill>
                  <a:schemeClr val="tx1"/>
                </a:solidFill>
              </a:rPr>
              <a:t>i</a:t>
            </a:r>
            <a:r>
              <a:rPr lang="nl-NL" altLang="en-US" sz="1000">
                <a:solidFill>
                  <a:schemeClr val="tx1"/>
                </a:solidFill>
              </a:rPr>
              <a:t>o</a:t>
            </a:r>
            <a:endParaRPr lang="en-US" sz="1000" dirty="0">
              <a:solidFill>
                <a:schemeClr val="tx1"/>
              </a:solidFill>
              <a:latin typeface="+mn-lt"/>
              <a:sym typeface="+mn-lt"/>
            </a:endParaRPr>
          </a:p>
        </p:txBody>
      </p:sp>
      <p:sp>
        <p:nvSpPr>
          <p:cNvPr id="243" name="Text Placeholder 5">
            <a:extLst>
              <a:ext uri="{FF2B5EF4-FFF2-40B4-BE49-F238E27FC236}">
                <a16:creationId xmlns:a16="http://schemas.microsoft.com/office/drawing/2014/main" id="{4B9982FA-94CE-476E-98B9-AED20350F85D}"/>
              </a:ext>
            </a:extLst>
          </p:cNvPr>
          <p:cNvSpPr>
            <a:spLocks noGrp="1"/>
          </p:cNvSpPr>
          <p:nvPr>
            <p:custDataLst>
              <p:tags r:id="rId59"/>
            </p:custDataLst>
          </p:nvPr>
        </p:nvSpPr>
        <p:spPr bwMode="gray">
          <a:xfrm>
            <a:off x="11017249" y="5511800"/>
            <a:ext cx="374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556AA5C-6860-42C3-85CE-E42F34E6A376}" type="datetime'-''''''2''.''''''''''''''''''''''4''''''''''''''''0''''''''0'">
              <a:rPr lang="nl-NL" altLang="en-US" sz="1000" b="1" smtClean="0">
                <a:solidFill>
                  <a:schemeClr val="tx1"/>
                </a:solidFill>
              </a:rPr>
              <a:pPr/>
              <a:t>-2.400</a:t>
            </a:fld>
            <a:endParaRPr lang="nl-NL" sz="1000" b="1" dirty="0">
              <a:solidFill>
                <a:schemeClr val="tx1"/>
              </a:solidFill>
              <a:latin typeface="+mn-lt"/>
              <a:sym typeface="+mn-lt"/>
            </a:endParaRPr>
          </a:p>
        </p:txBody>
      </p:sp>
      <p:sp>
        <p:nvSpPr>
          <p:cNvPr id="5" name="Footer Placeholder 4">
            <a:extLst>
              <a:ext uri="{FF2B5EF4-FFF2-40B4-BE49-F238E27FC236}">
                <a16:creationId xmlns:a16="http://schemas.microsoft.com/office/drawing/2014/main" id="{6D09E2C0-15B4-4F15-A3FB-4A802256BFEA}"/>
              </a:ext>
            </a:extLst>
          </p:cNvPr>
          <p:cNvSpPr>
            <a:spLocks noGrp="1"/>
          </p:cNvSpPr>
          <p:nvPr>
            <p:ph type="ftr" sz="quarter" idx="11"/>
          </p:nvPr>
        </p:nvSpPr>
        <p:spPr/>
        <p:txBody>
          <a:bodyPr/>
          <a:lstStyle/>
          <a:p>
            <a:r>
              <a:rPr lang="nl-NL" dirty="0"/>
              <a:t>Bron: B</a:t>
            </a:r>
            <a:r>
              <a:rPr lang="en-NL" dirty="0" err="1"/>
              <a:t>uC</a:t>
            </a:r>
            <a:r>
              <a:rPr lang="nl-NL" dirty="0"/>
              <a:t>a</a:t>
            </a:r>
            <a:r>
              <a:rPr lang="en-NL" dirty="0"/>
              <a:t>-</a:t>
            </a:r>
            <a:r>
              <a:rPr lang="nl-NL" dirty="0"/>
              <a:t>m</a:t>
            </a:r>
            <a:r>
              <a:rPr lang="en-NL" dirty="0"/>
              <a:t>o</a:t>
            </a:r>
            <a:r>
              <a:rPr lang="nl-NL" dirty="0"/>
              <a:t>d</a:t>
            </a:r>
            <a:r>
              <a:rPr lang="en-NL" dirty="0"/>
              <a:t>e</a:t>
            </a:r>
            <a:r>
              <a:rPr lang="nl-NL" dirty="0"/>
              <a:t>l</a:t>
            </a:r>
            <a:r>
              <a:rPr lang="en-NL" dirty="0"/>
              <a:t>, </a:t>
            </a:r>
            <a:r>
              <a:rPr lang="nl-NL" dirty="0"/>
              <a:t>A</a:t>
            </a:r>
            <a:r>
              <a:rPr lang="en-NL" dirty="0"/>
              <a:t>n</a:t>
            </a:r>
            <a:r>
              <a:rPr lang="nl-NL" dirty="0"/>
              <a:t>a</a:t>
            </a:r>
            <a:r>
              <a:rPr lang="en-NL" dirty="0"/>
              <a:t>l</a:t>
            </a:r>
            <a:r>
              <a:rPr lang="nl-NL" dirty="0"/>
              <a:t>y</a:t>
            </a:r>
            <a:r>
              <a:rPr lang="en-NL" dirty="0"/>
              <a:t>s</a:t>
            </a:r>
            <a:r>
              <a:rPr lang="nl-NL" dirty="0"/>
              <a:t>e</a:t>
            </a:r>
            <a:r>
              <a:rPr lang="en-NL" dirty="0"/>
              <a:t> </a:t>
            </a:r>
            <a:r>
              <a:rPr lang="nl-NL" dirty="0"/>
              <a:t>i</a:t>
            </a:r>
            <a:r>
              <a:rPr lang="en-NL" dirty="0"/>
              <a:t>t’</a:t>
            </a:r>
            <a:r>
              <a:rPr lang="nl-NL" dirty="0"/>
              <a:t>s</a:t>
            </a:r>
            <a:r>
              <a:rPr lang="en-NL" dirty="0"/>
              <a:t> </a:t>
            </a:r>
            <a:r>
              <a:rPr lang="nl-NL" dirty="0"/>
              <a:t>p</a:t>
            </a:r>
            <a:r>
              <a:rPr lang="en-NL" dirty="0"/>
              <a:t>u</a:t>
            </a:r>
            <a:r>
              <a:rPr lang="nl-NL" dirty="0"/>
              <a:t>b</a:t>
            </a:r>
            <a:r>
              <a:rPr lang="en-NL" dirty="0"/>
              <a:t>l</a:t>
            </a:r>
            <a:r>
              <a:rPr lang="nl-NL" dirty="0"/>
              <a:t>i</a:t>
            </a:r>
            <a:r>
              <a:rPr lang="en-NL" dirty="0"/>
              <a:t>c</a:t>
            </a:r>
            <a:r>
              <a:rPr lang="nl-NL" dirty="0"/>
              <a:t> </a:t>
            </a:r>
          </a:p>
        </p:txBody>
      </p:sp>
      <p:sp>
        <p:nvSpPr>
          <p:cNvPr id="4" name="Slide Number Placeholder 3">
            <a:extLst>
              <a:ext uri="{FF2B5EF4-FFF2-40B4-BE49-F238E27FC236}">
                <a16:creationId xmlns:a16="http://schemas.microsoft.com/office/drawing/2014/main" id="{8847EEEA-A8A4-410A-8156-405E750DCA48}"/>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sp>
        <p:nvSpPr>
          <p:cNvPr id="7" name="Text Placeholder 6">
            <a:extLst>
              <a:ext uri="{FF2B5EF4-FFF2-40B4-BE49-F238E27FC236}">
                <a16:creationId xmlns:a16="http://schemas.microsoft.com/office/drawing/2014/main" id="{3FD43CE9-8136-439D-9D21-3D00AFF44829}"/>
              </a:ext>
            </a:extLst>
          </p:cNvPr>
          <p:cNvSpPr>
            <a:spLocks noGrp="1"/>
          </p:cNvSpPr>
          <p:nvPr>
            <p:ph type="body" sz="quarter" idx="16"/>
          </p:nvPr>
        </p:nvSpPr>
        <p:spPr/>
        <p:txBody>
          <a:bodyPr/>
          <a:lstStyle/>
          <a:p>
            <a:pPr marL="0" indent="0">
              <a:buNone/>
            </a:pPr>
            <a:r>
              <a:rPr lang="nl-NL" dirty="0"/>
              <a:t>V</a:t>
            </a:r>
            <a:r>
              <a:rPr lang="en-NL" dirty="0"/>
              <a:t>a</a:t>
            </a:r>
            <a:r>
              <a:rPr lang="nl-NL" dirty="0"/>
              <a:t>n</a:t>
            </a:r>
            <a:r>
              <a:rPr lang="en-NL" dirty="0"/>
              <a:t> S</a:t>
            </a:r>
            <a:r>
              <a:rPr lang="nl-NL" dirty="0" err="1"/>
              <a:t>cenario</a:t>
            </a:r>
            <a:r>
              <a:rPr lang="nl-NL" dirty="0"/>
              <a:t> 2 </a:t>
            </a:r>
            <a:r>
              <a:rPr lang="en-NL" dirty="0" err="1"/>
              <a:t>naar</a:t>
            </a:r>
            <a:r>
              <a:rPr lang="nl-NL" dirty="0"/>
              <a:t> 1</a:t>
            </a:r>
            <a:endParaRPr lang="en-NL" dirty="0"/>
          </a:p>
        </p:txBody>
      </p:sp>
      <p:sp>
        <p:nvSpPr>
          <p:cNvPr id="55" name="Text Placeholder 54">
            <a:extLst>
              <a:ext uri="{FF2B5EF4-FFF2-40B4-BE49-F238E27FC236}">
                <a16:creationId xmlns:a16="http://schemas.microsoft.com/office/drawing/2014/main" id="{8B535BE7-BD84-4668-A986-93C8F55C4425}"/>
              </a:ext>
            </a:extLst>
          </p:cNvPr>
          <p:cNvSpPr>
            <a:spLocks noGrp="1"/>
          </p:cNvSpPr>
          <p:nvPr>
            <p:ph type="body" sz="quarter" idx="19"/>
          </p:nvPr>
        </p:nvSpPr>
        <p:spPr/>
        <p:txBody>
          <a:bodyPr/>
          <a:lstStyle/>
          <a:p>
            <a:pPr marL="0" indent="0">
              <a:buNone/>
            </a:pPr>
            <a:r>
              <a:rPr lang="nl-NL" dirty="0"/>
              <a:t>V</a:t>
            </a:r>
            <a:r>
              <a:rPr lang="en-NL" dirty="0"/>
              <a:t>an S</a:t>
            </a:r>
            <a:r>
              <a:rPr lang="nl-NL" dirty="0"/>
              <a:t>c</a:t>
            </a:r>
            <a:r>
              <a:rPr lang="en-NL" dirty="0"/>
              <a:t>e</a:t>
            </a:r>
            <a:r>
              <a:rPr lang="nl-NL" dirty="0"/>
              <a:t>n</a:t>
            </a:r>
            <a:r>
              <a:rPr lang="en-NL" dirty="0"/>
              <a:t>a</a:t>
            </a:r>
            <a:r>
              <a:rPr lang="nl-NL" dirty="0"/>
              <a:t>r</a:t>
            </a:r>
            <a:r>
              <a:rPr lang="en-NL" dirty="0" err="1"/>
              <a:t>i</a:t>
            </a:r>
            <a:r>
              <a:rPr lang="nl-NL" dirty="0"/>
              <a:t>o</a:t>
            </a:r>
            <a:r>
              <a:rPr lang="en-NL" dirty="0"/>
              <a:t> </a:t>
            </a:r>
            <a:r>
              <a:rPr lang="nl-NL" dirty="0"/>
              <a:t>2</a:t>
            </a:r>
            <a:r>
              <a:rPr lang="en-NL" dirty="0"/>
              <a:t> </a:t>
            </a:r>
            <a:r>
              <a:rPr lang="nl-NL" dirty="0"/>
              <a:t>n</a:t>
            </a:r>
            <a:r>
              <a:rPr lang="en-NL" dirty="0"/>
              <a:t>a</a:t>
            </a:r>
            <a:r>
              <a:rPr lang="nl-NL" dirty="0"/>
              <a:t>a</a:t>
            </a:r>
            <a:r>
              <a:rPr lang="en-NL" dirty="0"/>
              <a:t>r </a:t>
            </a:r>
            <a:r>
              <a:rPr lang="nl-NL" dirty="0"/>
              <a:t>3</a:t>
            </a:r>
            <a:endParaRPr lang="en-NL" dirty="0"/>
          </a:p>
        </p:txBody>
      </p:sp>
      <p:sp>
        <p:nvSpPr>
          <p:cNvPr id="3" name="Title 2">
            <a:extLst>
              <a:ext uri="{FF2B5EF4-FFF2-40B4-BE49-F238E27FC236}">
                <a16:creationId xmlns:a16="http://schemas.microsoft.com/office/drawing/2014/main" id="{920AC4B0-A185-413B-9A98-C8C410CDB62D}"/>
              </a:ext>
            </a:extLst>
          </p:cNvPr>
          <p:cNvSpPr>
            <a:spLocks noGrp="1"/>
          </p:cNvSpPr>
          <p:nvPr>
            <p:ph type="title"/>
          </p:nvPr>
        </p:nvSpPr>
        <p:spPr/>
        <p:txBody>
          <a:bodyPr vert="horz"/>
          <a:lstStyle/>
          <a:p>
            <a:r>
              <a:rPr lang="en-NL"/>
              <a:t>Ter ondersteuning hiervan kunnen v</a:t>
            </a:r>
            <a:r>
              <a:rPr lang="nl-NL"/>
              <a:t>erschillen tussen scenario</a:t>
            </a:r>
            <a:r>
              <a:rPr lang="en-NL"/>
              <a:t>’s nader worden uitgelegd</a:t>
            </a:r>
            <a:endParaRPr lang="en-NL" dirty="0"/>
          </a:p>
        </p:txBody>
      </p:sp>
      <p:sp>
        <p:nvSpPr>
          <p:cNvPr id="402" name="Speech Bubble: Rectangle 401">
            <a:extLst>
              <a:ext uri="{FF2B5EF4-FFF2-40B4-BE49-F238E27FC236}">
                <a16:creationId xmlns:a16="http://schemas.microsoft.com/office/drawing/2014/main" id="{396D39D6-DAC4-4198-B4D2-5925FA3DAF1A}"/>
              </a:ext>
            </a:extLst>
          </p:cNvPr>
          <p:cNvSpPr/>
          <p:nvPr/>
        </p:nvSpPr>
        <p:spPr>
          <a:xfrm>
            <a:off x="1387490" y="4920345"/>
            <a:ext cx="1368410" cy="439738"/>
          </a:xfrm>
          <a:prstGeom prst="wedgeRectCallout">
            <a:avLst>
              <a:gd name="adj1" fmla="val -27562"/>
              <a:gd name="adj2" fmla="val -76546"/>
            </a:avLst>
          </a:prstGeom>
          <a:solidFill>
            <a:schemeClr val="bg1"/>
          </a:solidFill>
          <a:ln>
            <a:solidFill>
              <a:srgbClr val="22777B"/>
            </a:solidFill>
          </a:ln>
        </p:spPr>
        <p:txBody>
          <a:bodyPr lIns="72000" rIns="36000" rtlCol="0" anchor="ctr">
            <a:noAutofit/>
          </a:bodyPr>
          <a:lstStyle/>
          <a:p>
            <a:pPr marL="0" indent="0" defTabSz="685800" fontAlgn="auto">
              <a:lnSpc>
                <a:spcPct val="90000"/>
              </a:lnSpc>
              <a:spcBef>
                <a:spcPts val="750"/>
              </a:spcBef>
              <a:spcAft>
                <a:spcPts val="0"/>
              </a:spcAft>
              <a:buClr>
                <a:srgbClr val="FF0000"/>
              </a:buClr>
              <a:buNone/>
            </a:pPr>
            <a:r>
              <a:rPr lang="nl-NL" sz="900" dirty="0">
                <a:solidFill>
                  <a:schemeClr val="tx1">
                    <a:lumMod val="50000"/>
                  </a:schemeClr>
                </a:solidFill>
                <a:latin typeface="+mn-lt"/>
              </a:rPr>
              <a:t>Lager door geen tunnel te gebruiken en langer bovengronds tracé</a:t>
            </a:r>
          </a:p>
        </p:txBody>
      </p:sp>
      <p:sp>
        <p:nvSpPr>
          <p:cNvPr id="413" name="Speech Bubble: Rectangle 412">
            <a:extLst>
              <a:ext uri="{FF2B5EF4-FFF2-40B4-BE49-F238E27FC236}">
                <a16:creationId xmlns:a16="http://schemas.microsoft.com/office/drawing/2014/main" id="{BA1F3B9B-FFF9-4D5F-A772-BB6DCC7FECAF}"/>
              </a:ext>
            </a:extLst>
          </p:cNvPr>
          <p:cNvSpPr/>
          <p:nvPr/>
        </p:nvSpPr>
        <p:spPr>
          <a:xfrm>
            <a:off x="9692006" y="4088914"/>
            <a:ext cx="1227930" cy="912118"/>
          </a:xfrm>
          <a:prstGeom prst="wedgeRectCallout">
            <a:avLst>
              <a:gd name="adj1" fmla="val 21881"/>
              <a:gd name="adj2" fmla="val 64883"/>
            </a:avLst>
          </a:prstGeom>
          <a:solidFill>
            <a:schemeClr val="bg1"/>
          </a:solidFill>
          <a:ln>
            <a:solidFill>
              <a:srgbClr val="22777B"/>
            </a:solidFill>
          </a:ln>
        </p:spPr>
        <p:txBody>
          <a:bodyPr lIns="72000" rIns="36000" rtlCol="0" anchor="ctr">
            <a:noAutofit/>
          </a:bodyPr>
          <a:lstStyle/>
          <a:p>
            <a:pPr marL="0" indent="0" defTabSz="685800" fontAlgn="auto">
              <a:lnSpc>
                <a:spcPct val="90000"/>
              </a:lnSpc>
              <a:spcBef>
                <a:spcPts val="750"/>
              </a:spcBef>
              <a:spcAft>
                <a:spcPts val="0"/>
              </a:spcAft>
              <a:buClr>
                <a:srgbClr val="FF0000"/>
              </a:buClr>
              <a:buNone/>
            </a:pPr>
            <a:r>
              <a:rPr lang="nl-NL" sz="900" dirty="0">
                <a:solidFill>
                  <a:schemeClr val="tx1">
                    <a:lumMod val="50000"/>
                  </a:schemeClr>
                </a:solidFill>
                <a:latin typeface="+mn-lt"/>
              </a:rPr>
              <a:t>Hogere restwaarde door hogere verwachte opbrengsten</a:t>
            </a:r>
          </a:p>
        </p:txBody>
      </p:sp>
      <p:sp>
        <p:nvSpPr>
          <p:cNvPr id="327" name="Speech Bubble: Rectangle 326">
            <a:extLst>
              <a:ext uri="{FF2B5EF4-FFF2-40B4-BE49-F238E27FC236}">
                <a16:creationId xmlns:a16="http://schemas.microsoft.com/office/drawing/2014/main" id="{F5769B45-7577-45CE-873E-A7C24B39E24B}"/>
              </a:ext>
            </a:extLst>
          </p:cNvPr>
          <p:cNvSpPr/>
          <p:nvPr/>
        </p:nvSpPr>
        <p:spPr>
          <a:xfrm>
            <a:off x="6933376" y="3835401"/>
            <a:ext cx="885596" cy="430678"/>
          </a:xfrm>
          <a:prstGeom prst="wedgeRectCallout">
            <a:avLst>
              <a:gd name="adj1" fmla="val -14875"/>
              <a:gd name="adj2" fmla="val 108139"/>
            </a:avLst>
          </a:prstGeom>
          <a:solidFill>
            <a:schemeClr val="bg1"/>
          </a:solidFill>
          <a:ln>
            <a:solidFill>
              <a:srgbClr val="22777B"/>
            </a:solidFill>
          </a:ln>
        </p:spPr>
        <p:txBody>
          <a:bodyPr lIns="72000" rIns="36000" rtlCol="0" anchor="ctr">
            <a:noAutofit/>
          </a:bodyPr>
          <a:lstStyle/>
          <a:p>
            <a:pPr marL="0" indent="0" defTabSz="685800" fontAlgn="auto">
              <a:lnSpc>
                <a:spcPct val="90000"/>
              </a:lnSpc>
              <a:spcBef>
                <a:spcPts val="750"/>
              </a:spcBef>
              <a:spcAft>
                <a:spcPts val="0"/>
              </a:spcAft>
              <a:buClr>
                <a:srgbClr val="FF0000"/>
              </a:buClr>
              <a:buNone/>
            </a:pPr>
            <a:r>
              <a:rPr lang="nl-NL" sz="900" dirty="0">
                <a:solidFill>
                  <a:schemeClr val="tx1">
                    <a:lumMod val="50000"/>
                  </a:schemeClr>
                </a:solidFill>
                <a:latin typeface="+mn-lt"/>
              </a:rPr>
              <a:t>Langer stuk ondergronds</a:t>
            </a:r>
          </a:p>
        </p:txBody>
      </p:sp>
      <p:sp>
        <p:nvSpPr>
          <p:cNvPr id="460" name="Arrow: Right 459">
            <a:extLst>
              <a:ext uri="{FF2B5EF4-FFF2-40B4-BE49-F238E27FC236}">
                <a16:creationId xmlns:a16="http://schemas.microsoft.com/office/drawing/2014/main" id="{401B4067-3815-45D6-BC46-337DCE7D4DAC}"/>
              </a:ext>
            </a:extLst>
          </p:cNvPr>
          <p:cNvSpPr/>
          <p:nvPr/>
        </p:nvSpPr>
        <p:spPr>
          <a:xfrm rot="2700000">
            <a:off x="1522811"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484" name="Speech Bubble: Rectangle 483">
            <a:extLst>
              <a:ext uri="{FF2B5EF4-FFF2-40B4-BE49-F238E27FC236}">
                <a16:creationId xmlns:a16="http://schemas.microsoft.com/office/drawing/2014/main" id="{4FB22EB1-5C0D-469C-8039-159310FF009B}"/>
              </a:ext>
            </a:extLst>
          </p:cNvPr>
          <p:cNvSpPr/>
          <p:nvPr/>
        </p:nvSpPr>
        <p:spPr>
          <a:xfrm>
            <a:off x="1922218" y="3044746"/>
            <a:ext cx="1368916" cy="741442"/>
          </a:xfrm>
          <a:prstGeom prst="wedgeRectCallout">
            <a:avLst>
              <a:gd name="adj1" fmla="val -23394"/>
              <a:gd name="adj2" fmla="val -79074"/>
            </a:avLst>
          </a:prstGeom>
          <a:solidFill>
            <a:schemeClr val="bg1"/>
          </a:solidFill>
          <a:ln>
            <a:solidFill>
              <a:srgbClr val="22777B"/>
            </a:solidFill>
          </a:ln>
        </p:spPr>
        <p:txBody>
          <a:bodyPr lIns="72000" rIns="36000" rtlCol="0" anchor="ctr">
            <a:noAutofit/>
          </a:bodyPr>
          <a:lstStyle/>
          <a:p>
            <a:pPr marL="0" indent="0" defTabSz="685800" fontAlgn="auto">
              <a:lnSpc>
                <a:spcPct val="90000"/>
              </a:lnSpc>
              <a:spcBef>
                <a:spcPts val="750"/>
              </a:spcBef>
              <a:spcAft>
                <a:spcPts val="0"/>
              </a:spcAft>
              <a:buClr>
                <a:srgbClr val="FF0000"/>
              </a:buClr>
              <a:buNone/>
            </a:pPr>
            <a:r>
              <a:rPr lang="nl-NL" sz="900" dirty="0">
                <a:solidFill>
                  <a:schemeClr val="tx1">
                    <a:lumMod val="50000"/>
                  </a:schemeClr>
                </a:solidFill>
                <a:latin typeface="+mn-lt"/>
              </a:rPr>
              <a:t>Hoger door hogere energie- en metro onderhoudskosten veroorzaakt door langer tracé</a:t>
            </a:r>
          </a:p>
        </p:txBody>
      </p:sp>
      <p:sp>
        <p:nvSpPr>
          <p:cNvPr id="86" name="Text Placeholder 11">
            <a:extLst>
              <a:ext uri="{FF2B5EF4-FFF2-40B4-BE49-F238E27FC236}">
                <a16:creationId xmlns:a16="http://schemas.microsoft.com/office/drawing/2014/main" id="{A33FC7BD-82B4-4DDE-BC75-D559A5CBF1DB}"/>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r>
              <a:rPr lang="en-NL" b="1"/>
              <a:t>O</a:t>
            </a:r>
            <a:r>
              <a:rPr lang="nl-NL" b="1"/>
              <a:t>v</a:t>
            </a:r>
            <a:r>
              <a:rPr lang="en-NL" b="1"/>
              <a:t>e</a:t>
            </a:r>
            <a:r>
              <a:rPr lang="nl-NL" b="1"/>
              <a:t>r</a:t>
            </a:r>
            <a:r>
              <a:rPr lang="en-NL" b="1"/>
              <a:t>z</a:t>
            </a:r>
            <a:r>
              <a:rPr lang="nl-NL" b="1"/>
              <a:t>i</a:t>
            </a:r>
            <a:r>
              <a:rPr lang="en-NL" b="1"/>
              <a:t>c</a:t>
            </a:r>
            <a:r>
              <a:rPr lang="nl-NL" b="1"/>
              <a:t>h</a:t>
            </a:r>
            <a:r>
              <a:rPr lang="en-NL" b="1"/>
              <a:t>t </a:t>
            </a:r>
            <a:r>
              <a:rPr lang="nl-NL" b="1"/>
              <a:t>o</a:t>
            </a:r>
            <a:r>
              <a:rPr lang="en-NL" b="1"/>
              <a:t>o</a:t>
            </a:r>
            <a:r>
              <a:rPr lang="nl-NL" b="1"/>
              <a:t>r</a:t>
            </a:r>
            <a:r>
              <a:rPr lang="en-NL" b="1"/>
              <a:t>z</a:t>
            </a:r>
            <a:r>
              <a:rPr lang="nl-NL" b="1"/>
              <a:t>a</a:t>
            </a:r>
            <a:r>
              <a:rPr lang="en-NL" b="1"/>
              <a:t>k</a:t>
            </a:r>
            <a:r>
              <a:rPr lang="nl-NL" b="1"/>
              <a:t>e</a:t>
            </a:r>
            <a:r>
              <a:rPr lang="en-NL" b="1"/>
              <a:t>n </a:t>
            </a:r>
            <a:r>
              <a:rPr lang="nl-NL" b="1"/>
              <a:t>v</a:t>
            </a:r>
            <a:r>
              <a:rPr lang="en-NL" b="1"/>
              <a:t>a</a:t>
            </a:r>
            <a:r>
              <a:rPr lang="nl-NL" b="1"/>
              <a:t>n</a:t>
            </a:r>
            <a:r>
              <a:rPr lang="en-NL" b="1"/>
              <a:t> </a:t>
            </a:r>
            <a:r>
              <a:rPr lang="nl-NL" b="1"/>
              <a:t>v</a:t>
            </a:r>
            <a:r>
              <a:rPr lang="en-NL" b="1"/>
              <a:t>e</a:t>
            </a:r>
            <a:r>
              <a:rPr lang="nl-NL" b="1"/>
              <a:t>r</a:t>
            </a:r>
            <a:r>
              <a:rPr lang="en-NL" b="1"/>
              <a:t>s</a:t>
            </a:r>
            <a:r>
              <a:rPr lang="nl-NL" b="1"/>
              <a:t>c</a:t>
            </a:r>
            <a:r>
              <a:rPr lang="en-NL" b="1"/>
              <a:t>h</a:t>
            </a:r>
            <a:r>
              <a:rPr lang="nl-NL" b="1"/>
              <a:t>i</a:t>
            </a:r>
            <a:r>
              <a:rPr lang="en-NL" b="1"/>
              <a:t>l</a:t>
            </a:r>
            <a:r>
              <a:rPr lang="nl-NL" b="1"/>
              <a:t> </a:t>
            </a:r>
            <a:r>
              <a:rPr lang="en-NL" b="1"/>
              <a:t>i</a:t>
            </a:r>
            <a:r>
              <a:rPr lang="nl-NL" b="1"/>
              <a:t>n</a:t>
            </a:r>
            <a:r>
              <a:rPr lang="en-NL" b="1"/>
              <a:t> </a:t>
            </a:r>
            <a:r>
              <a:rPr lang="nl-NL" b="1"/>
              <a:t>uitkomsten scenario’s, € mln NCW</a:t>
            </a:r>
            <a:endParaRPr lang="en-NL" b="1" dirty="0"/>
          </a:p>
        </p:txBody>
      </p:sp>
      <p:sp>
        <p:nvSpPr>
          <p:cNvPr id="94" name="Arrow: Right 93">
            <a:extLst>
              <a:ext uri="{FF2B5EF4-FFF2-40B4-BE49-F238E27FC236}">
                <a16:creationId xmlns:a16="http://schemas.microsoft.com/office/drawing/2014/main" id="{4E5ADA4F-A980-4C45-A22F-99BA14C6007E}"/>
              </a:ext>
            </a:extLst>
          </p:cNvPr>
          <p:cNvSpPr/>
          <p:nvPr/>
        </p:nvSpPr>
        <p:spPr>
          <a:xfrm rot="18900000">
            <a:off x="2189163"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5" name="Arrow: Right 94">
            <a:extLst>
              <a:ext uri="{FF2B5EF4-FFF2-40B4-BE49-F238E27FC236}">
                <a16:creationId xmlns:a16="http://schemas.microsoft.com/office/drawing/2014/main" id="{CBEBE123-A891-42AC-9C7A-C4955843177C}"/>
              </a:ext>
            </a:extLst>
          </p:cNvPr>
          <p:cNvSpPr/>
          <p:nvPr/>
        </p:nvSpPr>
        <p:spPr>
          <a:xfrm rot="18900000">
            <a:off x="2846844"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6" name="Arrow: Right 95">
            <a:extLst>
              <a:ext uri="{FF2B5EF4-FFF2-40B4-BE49-F238E27FC236}">
                <a16:creationId xmlns:a16="http://schemas.microsoft.com/office/drawing/2014/main" id="{C68B934E-FA82-43A9-8AB7-421A0AC49368}"/>
              </a:ext>
            </a:extLst>
          </p:cNvPr>
          <p:cNvSpPr/>
          <p:nvPr/>
        </p:nvSpPr>
        <p:spPr>
          <a:xfrm rot="18900000">
            <a:off x="3494615"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97" name="Arrow: Right 96">
            <a:extLst>
              <a:ext uri="{FF2B5EF4-FFF2-40B4-BE49-F238E27FC236}">
                <a16:creationId xmlns:a16="http://schemas.microsoft.com/office/drawing/2014/main" id="{19B82A56-9D91-4504-94B4-C343B6AB2178}"/>
              </a:ext>
            </a:extLst>
          </p:cNvPr>
          <p:cNvSpPr/>
          <p:nvPr/>
        </p:nvSpPr>
        <p:spPr>
          <a:xfrm rot="18900000">
            <a:off x="4188739"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4" name="Arrow: Right 113">
            <a:extLst>
              <a:ext uri="{FF2B5EF4-FFF2-40B4-BE49-F238E27FC236}">
                <a16:creationId xmlns:a16="http://schemas.microsoft.com/office/drawing/2014/main" id="{BC5035FD-3CE3-43C2-BF33-531DF935CC1E}"/>
              </a:ext>
            </a:extLst>
          </p:cNvPr>
          <p:cNvSpPr/>
          <p:nvPr/>
        </p:nvSpPr>
        <p:spPr>
          <a:xfrm rot="18900000">
            <a:off x="7151668"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5" name="Arrow: Right 114">
            <a:extLst>
              <a:ext uri="{FF2B5EF4-FFF2-40B4-BE49-F238E27FC236}">
                <a16:creationId xmlns:a16="http://schemas.microsoft.com/office/drawing/2014/main" id="{11E63C7F-1B52-4EB1-ADF5-835A0BD4AB90}"/>
              </a:ext>
            </a:extLst>
          </p:cNvPr>
          <p:cNvSpPr/>
          <p:nvPr/>
        </p:nvSpPr>
        <p:spPr>
          <a:xfrm rot="2700000">
            <a:off x="7779606"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6" name="Arrow: Right 115">
            <a:extLst>
              <a:ext uri="{FF2B5EF4-FFF2-40B4-BE49-F238E27FC236}">
                <a16:creationId xmlns:a16="http://schemas.microsoft.com/office/drawing/2014/main" id="{E7B1A5AB-092C-4FB4-8288-6D5192EAABCF}"/>
              </a:ext>
            </a:extLst>
          </p:cNvPr>
          <p:cNvSpPr/>
          <p:nvPr/>
        </p:nvSpPr>
        <p:spPr>
          <a:xfrm rot="18900000">
            <a:off x="8398554" y="6054327"/>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7" name="Arrow: Right 116">
            <a:extLst>
              <a:ext uri="{FF2B5EF4-FFF2-40B4-BE49-F238E27FC236}">
                <a16:creationId xmlns:a16="http://schemas.microsoft.com/office/drawing/2014/main" id="{7A58532B-C2B8-4190-B29A-8EA0516AD868}"/>
              </a:ext>
            </a:extLst>
          </p:cNvPr>
          <p:cNvSpPr/>
          <p:nvPr/>
        </p:nvSpPr>
        <p:spPr>
          <a:xfrm rot="2700000">
            <a:off x="10407582" y="6054327"/>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8" name="Arrow: Right 117">
            <a:extLst>
              <a:ext uri="{FF2B5EF4-FFF2-40B4-BE49-F238E27FC236}">
                <a16:creationId xmlns:a16="http://schemas.microsoft.com/office/drawing/2014/main" id="{2382DBDE-60ED-4ACE-AAF0-9DEDD4DEC9CD}"/>
              </a:ext>
            </a:extLst>
          </p:cNvPr>
          <p:cNvSpPr/>
          <p:nvPr/>
        </p:nvSpPr>
        <p:spPr>
          <a:xfrm rot="18900000">
            <a:off x="9105065"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19" name="Arrow: Right 118">
            <a:extLst>
              <a:ext uri="{FF2B5EF4-FFF2-40B4-BE49-F238E27FC236}">
                <a16:creationId xmlns:a16="http://schemas.microsoft.com/office/drawing/2014/main" id="{F3A2E80D-BB18-49F1-A34B-BFD82E339F78}"/>
              </a:ext>
            </a:extLst>
          </p:cNvPr>
          <p:cNvSpPr/>
          <p:nvPr/>
        </p:nvSpPr>
        <p:spPr>
          <a:xfrm rot="18900000">
            <a:off x="9770658" y="6054326"/>
            <a:ext cx="258759" cy="180181"/>
          </a:xfrm>
          <a:prstGeom prst="rightArrow">
            <a:avLst>
              <a:gd name="adj1" fmla="val 32331"/>
              <a:gd name="adj2" fmla="val 50000"/>
            </a:avLst>
          </a:prstGeom>
          <a:solidFill>
            <a:srgbClr val="22777B"/>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143" name="Oval 142">
            <a:extLst>
              <a:ext uri="{FF2B5EF4-FFF2-40B4-BE49-F238E27FC236}">
                <a16:creationId xmlns:a16="http://schemas.microsoft.com/office/drawing/2014/main" id="{ED7CA572-4048-4930-8697-403B6A622651}"/>
              </a:ext>
            </a:extLst>
          </p:cNvPr>
          <p:cNvSpPr>
            <a:spLocks noChangeAspect="1" noChangeArrowheads="1"/>
          </p:cNvSpPr>
          <p:nvPr/>
        </p:nvSpPr>
        <p:spPr bwMode="gray">
          <a:xfrm>
            <a:off x="890939" y="5894177"/>
            <a:ext cx="213872" cy="212935"/>
          </a:xfrm>
          <a:prstGeom prst="ellipse">
            <a:avLst/>
          </a:prstGeom>
          <a:solidFill>
            <a:schemeClr val="bg1">
              <a:lumMod val="50000"/>
            </a:schemeClr>
          </a:solidFill>
          <a:ln w="12700">
            <a:noFill/>
            <a:round/>
            <a:headEnd/>
            <a:tailEnd/>
          </a:ln>
        </p:spPr>
        <p:txBody>
          <a:bodyPr wrap="none" lIns="0" tIns="0" rIns="0" bIns="180000" anchor="t" anchorCtr="0"/>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200" b="1" kern="0" dirty="0">
                <a:solidFill>
                  <a:srgbClr val="FFFFFF"/>
                </a:solidFill>
                <a:latin typeface="Corbel"/>
                <a:cs typeface="Arial" charset="0"/>
              </a:rPr>
              <a:t>2</a:t>
            </a:r>
            <a:endParaRPr kumimoji="0" lang="nl-NL" sz="1200" b="1" i="0" u="none" strike="noStrike" kern="0" cap="none" spc="0" normalizeH="0" baseline="0" noProof="0" dirty="0">
              <a:ln>
                <a:noFill/>
              </a:ln>
              <a:solidFill>
                <a:srgbClr val="FFFFFF"/>
              </a:solidFill>
              <a:effectLst/>
              <a:uLnTx/>
              <a:uFillTx/>
              <a:latin typeface="Corbel"/>
              <a:ea typeface="+mn-ea"/>
              <a:cs typeface="Arial" charset="0"/>
            </a:endParaRPr>
          </a:p>
        </p:txBody>
      </p:sp>
      <p:sp>
        <p:nvSpPr>
          <p:cNvPr id="154" name="Oval 153">
            <a:extLst>
              <a:ext uri="{FF2B5EF4-FFF2-40B4-BE49-F238E27FC236}">
                <a16:creationId xmlns:a16="http://schemas.microsoft.com/office/drawing/2014/main" id="{CED9E1E8-C1E9-47C5-B73F-04DAB4CF99F2}"/>
              </a:ext>
            </a:extLst>
          </p:cNvPr>
          <p:cNvSpPr>
            <a:spLocks noChangeAspect="1" noChangeArrowheads="1"/>
          </p:cNvSpPr>
          <p:nvPr/>
        </p:nvSpPr>
        <p:spPr bwMode="gray">
          <a:xfrm>
            <a:off x="4840990" y="5894177"/>
            <a:ext cx="213872" cy="212935"/>
          </a:xfrm>
          <a:prstGeom prst="ellipse">
            <a:avLst/>
          </a:prstGeom>
          <a:solidFill>
            <a:schemeClr val="bg1">
              <a:lumMod val="50000"/>
            </a:schemeClr>
          </a:solidFill>
          <a:ln w="12700">
            <a:noFill/>
            <a:round/>
            <a:headEnd/>
            <a:tailEnd/>
          </a:ln>
        </p:spPr>
        <p:txBody>
          <a:bodyPr wrap="none" lIns="0" tIns="0" rIns="0" bIns="180000" anchor="t" anchorCtr="0"/>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200" b="1" kern="0" dirty="0">
                <a:solidFill>
                  <a:srgbClr val="FFFFFF"/>
                </a:solidFill>
                <a:latin typeface="Corbel"/>
                <a:cs typeface="Arial" charset="0"/>
              </a:rPr>
              <a:t>1</a:t>
            </a:r>
            <a:endParaRPr kumimoji="0" lang="nl-NL" sz="1200" b="1" i="0" u="none" strike="noStrike" kern="0" cap="none" spc="0" normalizeH="0" baseline="0" noProof="0" dirty="0">
              <a:ln>
                <a:noFill/>
              </a:ln>
              <a:solidFill>
                <a:srgbClr val="FFFFFF"/>
              </a:solidFill>
              <a:effectLst/>
              <a:uLnTx/>
              <a:uFillTx/>
              <a:latin typeface="Corbel"/>
              <a:ea typeface="+mn-ea"/>
              <a:cs typeface="Arial" charset="0"/>
            </a:endParaRPr>
          </a:p>
        </p:txBody>
      </p:sp>
      <p:sp>
        <p:nvSpPr>
          <p:cNvPr id="155" name="Oval 154">
            <a:extLst>
              <a:ext uri="{FF2B5EF4-FFF2-40B4-BE49-F238E27FC236}">
                <a16:creationId xmlns:a16="http://schemas.microsoft.com/office/drawing/2014/main" id="{32A7B258-644A-4190-B642-602BCCC10BA3}"/>
              </a:ext>
            </a:extLst>
          </p:cNvPr>
          <p:cNvSpPr>
            <a:spLocks noChangeAspect="1" noChangeArrowheads="1"/>
          </p:cNvSpPr>
          <p:nvPr/>
        </p:nvSpPr>
        <p:spPr bwMode="gray">
          <a:xfrm>
            <a:off x="6508177" y="5894177"/>
            <a:ext cx="213872" cy="212935"/>
          </a:xfrm>
          <a:prstGeom prst="ellipse">
            <a:avLst/>
          </a:prstGeom>
          <a:solidFill>
            <a:schemeClr val="bg1">
              <a:lumMod val="50000"/>
            </a:schemeClr>
          </a:solidFill>
          <a:ln w="12700">
            <a:noFill/>
            <a:round/>
            <a:headEnd/>
            <a:tailEnd/>
          </a:ln>
        </p:spPr>
        <p:txBody>
          <a:bodyPr wrap="none" lIns="0" tIns="0" rIns="0" bIns="180000" anchor="t" anchorCtr="0"/>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200" b="1" kern="0" dirty="0">
                <a:solidFill>
                  <a:srgbClr val="FFFFFF"/>
                </a:solidFill>
                <a:latin typeface="Corbel"/>
                <a:cs typeface="Arial" charset="0"/>
              </a:rPr>
              <a:t>2</a:t>
            </a:r>
            <a:endParaRPr kumimoji="0" lang="nl-NL" sz="1200" b="1" i="0" u="none" strike="noStrike" kern="0" cap="none" spc="0" normalizeH="0" baseline="0" noProof="0" dirty="0">
              <a:ln>
                <a:noFill/>
              </a:ln>
              <a:solidFill>
                <a:srgbClr val="FFFFFF"/>
              </a:solidFill>
              <a:effectLst/>
              <a:uLnTx/>
              <a:uFillTx/>
              <a:latin typeface="Corbel"/>
              <a:ea typeface="+mn-ea"/>
              <a:cs typeface="Arial" charset="0"/>
            </a:endParaRPr>
          </a:p>
        </p:txBody>
      </p:sp>
      <p:sp>
        <p:nvSpPr>
          <p:cNvPr id="156" name="Oval 155">
            <a:extLst>
              <a:ext uri="{FF2B5EF4-FFF2-40B4-BE49-F238E27FC236}">
                <a16:creationId xmlns:a16="http://schemas.microsoft.com/office/drawing/2014/main" id="{DC40EB4B-9657-4F4E-BC84-62BD6CF23C3A}"/>
              </a:ext>
            </a:extLst>
          </p:cNvPr>
          <p:cNvSpPr>
            <a:spLocks noChangeAspect="1" noChangeArrowheads="1"/>
          </p:cNvSpPr>
          <p:nvPr/>
        </p:nvSpPr>
        <p:spPr bwMode="gray">
          <a:xfrm>
            <a:off x="11098839" y="5894177"/>
            <a:ext cx="213872" cy="212935"/>
          </a:xfrm>
          <a:prstGeom prst="ellipse">
            <a:avLst/>
          </a:prstGeom>
          <a:solidFill>
            <a:schemeClr val="bg1">
              <a:lumMod val="50000"/>
            </a:schemeClr>
          </a:solidFill>
          <a:ln w="12700">
            <a:noFill/>
            <a:round/>
            <a:headEnd/>
            <a:tailEnd/>
          </a:ln>
        </p:spPr>
        <p:txBody>
          <a:bodyPr wrap="none" lIns="0" tIns="0" rIns="0" bIns="180000" anchor="t" anchorCtr="0"/>
          <a:ls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1" i="0" u="none" strike="noStrike" kern="0" cap="none" spc="0" normalizeH="0" baseline="0" noProof="0" dirty="0">
                <a:ln>
                  <a:noFill/>
                </a:ln>
                <a:solidFill>
                  <a:srgbClr val="FFFFFF"/>
                </a:solidFill>
                <a:effectLst/>
                <a:uLnTx/>
                <a:uFillTx/>
                <a:latin typeface="Corbel"/>
                <a:ea typeface="+mn-ea"/>
                <a:cs typeface="Arial" charset="0"/>
              </a:rPr>
              <a:t>3</a:t>
            </a:r>
          </a:p>
        </p:txBody>
      </p:sp>
      <p:cxnSp>
        <p:nvCxnSpPr>
          <p:cNvPr id="27" name="Straight Connector 26">
            <a:extLst>
              <a:ext uri="{FF2B5EF4-FFF2-40B4-BE49-F238E27FC236}">
                <a16:creationId xmlns:a16="http://schemas.microsoft.com/office/drawing/2014/main" id="{1C37982A-58B1-40C6-96EA-143F4B3C7F28}"/>
              </a:ext>
            </a:extLst>
          </p:cNvPr>
          <p:cNvCxnSpPr/>
          <p:nvPr/>
        </p:nvCxnSpPr>
        <p:spPr>
          <a:xfrm>
            <a:off x="1343100" y="5676900"/>
            <a:ext cx="0" cy="622706"/>
          </a:xfrm>
          <a:prstGeom prst="line">
            <a:avLst/>
          </a:prstGeom>
          <a:ln>
            <a:solidFill>
              <a:srgbClr val="C0C0C0"/>
            </a:solidFill>
            <a:prstDash val="dash"/>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0A31C7E8-9682-4BF1-B592-1B0BB9C08A2C}"/>
              </a:ext>
            </a:extLst>
          </p:cNvPr>
          <p:cNvCxnSpPr/>
          <p:nvPr/>
        </p:nvCxnSpPr>
        <p:spPr>
          <a:xfrm>
            <a:off x="4608647" y="5676900"/>
            <a:ext cx="0" cy="622706"/>
          </a:xfrm>
          <a:prstGeom prst="line">
            <a:avLst/>
          </a:prstGeom>
          <a:ln>
            <a:solidFill>
              <a:srgbClr val="C0C0C0"/>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7641EFB5-B411-4D66-B8E2-1DFB62571BA6}"/>
              </a:ext>
            </a:extLst>
          </p:cNvPr>
          <p:cNvCxnSpPr/>
          <p:nvPr/>
        </p:nvCxnSpPr>
        <p:spPr>
          <a:xfrm>
            <a:off x="6970107" y="5676900"/>
            <a:ext cx="0" cy="622706"/>
          </a:xfrm>
          <a:prstGeom prst="line">
            <a:avLst/>
          </a:prstGeom>
          <a:ln>
            <a:solidFill>
              <a:srgbClr val="C0C0C0"/>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F6834CC-B4A8-4461-87B4-A295BD9702B8}"/>
              </a:ext>
            </a:extLst>
          </p:cNvPr>
          <p:cNvCxnSpPr/>
          <p:nvPr/>
        </p:nvCxnSpPr>
        <p:spPr>
          <a:xfrm>
            <a:off x="10867878" y="5676900"/>
            <a:ext cx="0" cy="622706"/>
          </a:xfrm>
          <a:prstGeom prst="line">
            <a:avLst/>
          </a:prstGeom>
          <a:ln>
            <a:solidFill>
              <a:srgbClr val="C0C0C0"/>
            </a:solidFill>
            <a:prstDash val="dash"/>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ECE539BE-57D1-4D9C-AB6E-3FA77517E85E}"/>
              </a:ext>
            </a:extLst>
          </p:cNvPr>
          <p:cNvSpPr/>
          <p:nvPr/>
        </p:nvSpPr>
        <p:spPr>
          <a:xfrm rot="256469">
            <a:off x="8956225" y="1106680"/>
            <a:ext cx="2732986" cy="284233"/>
          </a:xfrm>
          <a:prstGeom prst="rect">
            <a:avLst/>
          </a:prstGeom>
          <a:solidFill>
            <a:srgbClr val="FFC00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Dummygetallen</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36" name="Speech Bubble: Rectangle 235">
            <a:extLst>
              <a:ext uri="{FF2B5EF4-FFF2-40B4-BE49-F238E27FC236}">
                <a16:creationId xmlns:a16="http://schemas.microsoft.com/office/drawing/2014/main" id="{64B5D769-E5B1-4BE3-B4D0-85ED6B58442C}"/>
              </a:ext>
            </a:extLst>
          </p:cNvPr>
          <p:cNvSpPr/>
          <p:nvPr/>
        </p:nvSpPr>
        <p:spPr>
          <a:xfrm>
            <a:off x="3854848" y="3138622"/>
            <a:ext cx="1227930" cy="912118"/>
          </a:xfrm>
          <a:prstGeom prst="wedgeRectCallout">
            <a:avLst>
              <a:gd name="adj1" fmla="val -17835"/>
              <a:gd name="adj2" fmla="val -63055"/>
            </a:avLst>
          </a:prstGeom>
          <a:solidFill>
            <a:schemeClr val="bg1"/>
          </a:solidFill>
          <a:ln>
            <a:solidFill>
              <a:srgbClr val="22777B"/>
            </a:solidFill>
          </a:ln>
        </p:spPr>
        <p:txBody>
          <a:bodyPr lIns="72000" rIns="36000" rtlCol="0" anchor="ctr">
            <a:noAutofit/>
          </a:bodyPr>
          <a:lstStyle/>
          <a:p>
            <a:pPr marL="0" indent="0" defTabSz="685800" fontAlgn="auto">
              <a:lnSpc>
                <a:spcPct val="90000"/>
              </a:lnSpc>
              <a:spcBef>
                <a:spcPts val="750"/>
              </a:spcBef>
              <a:spcAft>
                <a:spcPts val="0"/>
              </a:spcAft>
              <a:buClr>
                <a:srgbClr val="FF0000"/>
              </a:buClr>
              <a:buNone/>
            </a:pPr>
            <a:r>
              <a:rPr lang="nl-NL" sz="900" dirty="0">
                <a:solidFill>
                  <a:schemeClr val="tx1">
                    <a:lumMod val="50000"/>
                  </a:schemeClr>
                </a:solidFill>
                <a:latin typeface="+mn-lt"/>
              </a:rPr>
              <a:t>Hogere restwaarde door hogere verwachte opbrengsten</a:t>
            </a:r>
          </a:p>
        </p:txBody>
      </p:sp>
    </p:spTree>
    <p:extLst>
      <p:ext uri="{BB962C8B-B14F-4D97-AF65-F5344CB8AC3E}">
        <p14:creationId xmlns:p14="http://schemas.microsoft.com/office/powerpoint/2010/main" val="13971564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1B5B552-EACF-40FB-A68B-445D75067797}"/>
              </a:ext>
            </a:extLst>
          </p:cNvPr>
          <p:cNvGraphicFramePr>
            <a:graphicFrameLocks noChangeAspect="1"/>
          </p:cNvGraphicFramePr>
          <p:nvPr>
            <p:custDataLst>
              <p:tags r:id="rId1"/>
            </p:custDataLst>
            <p:extLst>
              <p:ext uri="{D42A27DB-BD31-4B8C-83A1-F6EECF244321}">
                <p14:modId xmlns:p14="http://schemas.microsoft.com/office/powerpoint/2010/main" val="797959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1" name="Object 10" hidden="1">
                        <a:extLst>
                          <a:ext uri="{FF2B5EF4-FFF2-40B4-BE49-F238E27FC236}">
                            <a16:creationId xmlns:a16="http://schemas.microsoft.com/office/drawing/2014/main" id="{A1B5B552-EACF-40FB-A68B-445D750677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E9EF68C-66E9-447A-8149-2F223BA3CC7C}"/>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en-US"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7" name="Footer Placeholder 6">
            <a:extLst>
              <a:ext uri="{FF2B5EF4-FFF2-40B4-BE49-F238E27FC236}">
                <a16:creationId xmlns:a16="http://schemas.microsoft.com/office/drawing/2014/main" id="{641A8502-9731-40C5-9C08-5BD52239E336}"/>
              </a:ext>
            </a:extLst>
          </p:cNvPr>
          <p:cNvSpPr>
            <a:spLocks noGrp="1"/>
          </p:cNvSpPr>
          <p:nvPr>
            <p:ph type="ftr" sz="quarter" idx="11"/>
          </p:nvPr>
        </p:nvSpPr>
        <p:spPr>
          <a:xfrm>
            <a:off x="658813" y="6513344"/>
            <a:ext cx="9675812" cy="163512"/>
          </a:xfrm>
        </p:spPr>
        <p:txBody>
          <a:bodyPr/>
          <a:lstStyle/>
          <a:p>
            <a:r>
              <a:rPr lang="en-GB" dirty="0" err="1"/>
              <a:t>Bron</a:t>
            </a:r>
            <a:r>
              <a:rPr lang="en-GB" dirty="0"/>
              <a:t>: </a:t>
            </a:r>
            <a:r>
              <a:rPr lang="nl-NL" dirty="0"/>
              <a:t>a</a:t>
            </a:r>
            <a:r>
              <a:rPr lang="en-NL" dirty="0"/>
              <a:t>n</a:t>
            </a:r>
            <a:r>
              <a:rPr lang="nl-NL" dirty="0"/>
              <a:t>a</a:t>
            </a:r>
            <a:r>
              <a:rPr lang="en-NL" dirty="0"/>
              <a:t>l</a:t>
            </a:r>
            <a:r>
              <a:rPr lang="nl-NL" dirty="0"/>
              <a:t>y</a:t>
            </a:r>
            <a:r>
              <a:rPr lang="en-NL" dirty="0"/>
              <a:t>s</a:t>
            </a:r>
            <a:r>
              <a:rPr lang="nl-NL" dirty="0"/>
              <a:t>e</a:t>
            </a:r>
            <a:r>
              <a:rPr lang="en-NL" dirty="0"/>
              <a:t> </a:t>
            </a:r>
            <a:r>
              <a:rPr lang="nl-NL" dirty="0"/>
              <a:t>i</a:t>
            </a:r>
            <a:r>
              <a:rPr lang="en-NL" dirty="0"/>
              <a:t>t’</a:t>
            </a:r>
            <a:r>
              <a:rPr lang="nl-NL" dirty="0"/>
              <a:t>s</a:t>
            </a:r>
            <a:r>
              <a:rPr lang="en-NL" dirty="0"/>
              <a:t> </a:t>
            </a:r>
            <a:r>
              <a:rPr lang="nl-NL" dirty="0"/>
              <a:t>p</a:t>
            </a:r>
            <a:r>
              <a:rPr lang="en-NL" dirty="0"/>
              <a:t>u</a:t>
            </a:r>
            <a:r>
              <a:rPr lang="nl-NL" dirty="0"/>
              <a:t>b</a:t>
            </a:r>
            <a:r>
              <a:rPr lang="en-NL" dirty="0"/>
              <a:t>l</a:t>
            </a:r>
            <a:r>
              <a:rPr lang="nl-NL" dirty="0"/>
              <a:t>i</a:t>
            </a:r>
            <a:r>
              <a:rPr lang="en-NL" dirty="0"/>
              <a:t>c</a:t>
            </a:r>
            <a:endParaRPr lang="en-GB" dirty="0"/>
          </a:p>
        </p:txBody>
      </p:sp>
      <p:sp>
        <p:nvSpPr>
          <p:cNvPr id="6" name="Slide Number Placeholder 5">
            <a:extLst>
              <a:ext uri="{FF2B5EF4-FFF2-40B4-BE49-F238E27FC236}">
                <a16:creationId xmlns:a16="http://schemas.microsoft.com/office/drawing/2014/main" id="{94C31E03-FCCF-4F6B-8018-0144DF2DDC37}"/>
              </a:ext>
            </a:extLst>
          </p:cNvPr>
          <p:cNvSpPr>
            <a:spLocks noGrp="1"/>
          </p:cNvSpPr>
          <p:nvPr>
            <p:ph type="sldNum" sz="quarter" idx="12"/>
          </p:nvPr>
        </p:nvSpPr>
        <p:spPr/>
        <p:txBody>
          <a:bodyPr/>
          <a:lstStyle/>
          <a:p>
            <a:fld id="{992CD0B2-8AB2-4C6C-8876-E15753662C9B}" type="slidenum">
              <a:rPr lang="nl-NL" noProof="0" smtClean="0"/>
              <a:pPr/>
              <a:t>14</a:t>
            </a:fld>
            <a:endParaRPr lang="nl-NL" noProof="0" dirty="0"/>
          </a:p>
        </p:txBody>
      </p:sp>
      <p:sp>
        <p:nvSpPr>
          <p:cNvPr id="12" name="Text Placeholder 11">
            <a:extLst>
              <a:ext uri="{FF2B5EF4-FFF2-40B4-BE49-F238E27FC236}">
                <a16:creationId xmlns:a16="http://schemas.microsoft.com/office/drawing/2014/main" id="{F8257308-BCE5-44CB-8CE6-2D8B756FA374}"/>
              </a:ext>
            </a:extLst>
          </p:cNvPr>
          <p:cNvSpPr>
            <a:spLocks noGrp="1"/>
          </p:cNvSpPr>
          <p:nvPr>
            <p:ph type="body" sz="quarter" idx="14"/>
          </p:nvPr>
        </p:nvSpPr>
        <p:spPr/>
        <p:txBody>
          <a:bodyPr/>
          <a:lstStyle/>
          <a:p>
            <a:pPr marL="0" indent="0">
              <a:buNone/>
            </a:pPr>
            <a:r>
              <a:rPr lang="nl-NL" b="1" dirty="0"/>
              <a:t>Impact op NCW van veranderingen in </a:t>
            </a:r>
            <a:r>
              <a:rPr lang="en-NL" b="1" dirty="0"/>
              <a:t>v</a:t>
            </a:r>
            <a:r>
              <a:rPr lang="nl-NL" b="1" dirty="0"/>
              <a:t>o</a:t>
            </a:r>
            <a:r>
              <a:rPr lang="en-NL" b="1" dirty="0"/>
              <a:t>o</a:t>
            </a:r>
            <a:r>
              <a:rPr lang="nl-NL" b="1" dirty="0"/>
              <a:t>r</a:t>
            </a:r>
            <a:r>
              <a:rPr lang="en-NL" b="1" dirty="0"/>
              <a:t>n</a:t>
            </a:r>
            <a:r>
              <a:rPr lang="nl-NL" b="1" dirty="0"/>
              <a:t>a</a:t>
            </a:r>
            <a:r>
              <a:rPr lang="en-NL" b="1" dirty="0"/>
              <a:t>a</a:t>
            </a:r>
            <a:r>
              <a:rPr lang="nl-NL" b="1" dirty="0"/>
              <a:t>m</a:t>
            </a:r>
            <a:r>
              <a:rPr lang="en-NL" b="1" dirty="0"/>
              <a:t>s</a:t>
            </a:r>
            <a:r>
              <a:rPr lang="nl-NL" b="1" dirty="0"/>
              <a:t>t</a:t>
            </a:r>
            <a:r>
              <a:rPr lang="en-NL" b="1" dirty="0"/>
              <a:t>e </a:t>
            </a:r>
            <a:r>
              <a:rPr lang="nl-NL" b="1" dirty="0"/>
              <a:t>r</a:t>
            </a:r>
            <a:r>
              <a:rPr lang="en-NL" b="1" dirty="0" err="1"/>
              <a:t>i</a:t>
            </a:r>
            <a:r>
              <a:rPr lang="nl-NL" b="1" dirty="0"/>
              <a:t>s</a:t>
            </a:r>
            <a:r>
              <a:rPr lang="en-NL" b="1" dirty="0" err="1"/>
              <a:t>i</a:t>
            </a:r>
            <a:r>
              <a:rPr lang="nl-NL" b="1" dirty="0"/>
              <a:t>c</a:t>
            </a:r>
            <a:r>
              <a:rPr lang="en-NL" b="1" dirty="0"/>
              <a:t>o’</a:t>
            </a:r>
            <a:r>
              <a:rPr lang="nl-NL" b="1" dirty="0"/>
              <a:t>s</a:t>
            </a:r>
            <a:r>
              <a:rPr lang="en-NL" b="1" dirty="0"/>
              <a:t> </a:t>
            </a:r>
            <a:r>
              <a:rPr lang="nl-NL" b="1" dirty="0"/>
              <a:t>i</a:t>
            </a:r>
            <a:r>
              <a:rPr lang="en-NL" b="1" dirty="0" err="1"/>
              <a:t>nputs</a:t>
            </a:r>
            <a:r>
              <a:rPr lang="en-NL" b="1" dirty="0"/>
              <a:t>: v</a:t>
            </a:r>
            <a:r>
              <a:rPr lang="nl-NL" b="1" dirty="0"/>
              <a:t>e</a:t>
            </a:r>
            <a:r>
              <a:rPr lang="en-NL" b="1" dirty="0"/>
              <a:t>r</a:t>
            </a:r>
            <a:r>
              <a:rPr lang="nl-NL" b="1" dirty="0"/>
              <a:t>v</a:t>
            </a:r>
            <a:r>
              <a:rPr lang="en-NL" b="1" dirty="0"/>
              <a:t>o</a:t>
            </a:r>
            <a:r>
              <a:rPr lang="nl-NL" b="1" dirty="0"/>
              <a:t>e</a:t>
            </a:r>
            <a:r>
              <a:rPr lang="en-NL" b="1" dirty="0"/>
              <a:t>r</a:t>
            </a:r>
            <a:r>
              <a:rPr lang="nl-NL" b="1" dirty="0"/>
              <a:t>w</a:t>
            </a:r>
            <a:r>
              <a:rPr lang="en-NL" b="1" dirty="0"/>
              <a:t>a</a:t>
            </a:r>
            <a:r>
              <a:rPr lang="nl-NL" b="1" dirty="0"/>
              <a:t>a</a:t>
            </a:r>
            <a:r>
              <a:rPr lang="en-NL" b="1" dirty="0"/>
              <a:t>r</a:t>
            </a:r>
            <a:r>
              <a:rPr lang="nl-NL" b="1" dirty="0"/>
              <a:t>d</a:t>
            </a:r>
            <a:r>
              <a:rPr lang="en-NL" b="1" dirty="0"/>
              <a:t>e (</a:t>
            </a:r>
            <a:r>
              <a:rPr lang="en-NL" b="1" dirty="0" err="1"/>
              <a:t>reizigerskilometers</a:t>
            </a:r>
            <a:r>
              <a:rPr lang="en-NL" b="1" dirty="0"/>
              <a:t>)</a:t>
            </a:r>
            <a:r>
              <a:rPr lang="nl-NL" b="1" dirty="0"/>
              <a:t> en aanlegkosten ontwikkeling, € ml</a:t>
            </a:r>
            <a:r>
              <a:rPr lang="en-NL" b="1" dirty="0"/>
              <a:t>n</a:t>
            </a:r>
            <a:endParaRPr lang="nl-NL" b="1" dirty="0"/>
          </a:p>
        </p:txBody>
      </p:sp>
      <p:sp>
        <p:nvSpPr>
          <p:cNvPr id="5" name="Title 4">
            <a:extLst>
              <a:ext uri="{FF2B5EF4-FFF2-40B4-BE49-F238E27FC236}">
                <a16:creationId xmlns:a16="http://schemas.microsoft.com/office/drawing/2014/main" id="{6EF65B5F-CB0E-4B69-9784-882937C0CFC9}"/>
              </a:ext>
            </a:extLst>
          </p:cNvPr>
          <p:cNvSpPr>
            <a:spLocks noGrp="1"/>
          </p:cNvSpPr>
          <p:nvPr>
            <p:ph type="title"/>
          </p:nvPr>
        </p:nvSpPr>
        <p:spPr/>
        <p:txBody>
          <a:bodyPr vert="horz"/>
          <a:lstStyle/>
          <a:p>
            <a:r>
              <a:rPr lang="en-NL" dirty="0" err="1"/>
              <a:t>Een</a:t>
            </a:r>
            <a:r>
              <a:rPr lang="en-NL" dirty="0"/>
              <a:t> </a:t>
            </a:r>
            <a:r>
              <a:rPr lang="en-NL" dirty="0" err="1"/>
              <a:t>goede</a:t>
            </a:r>
            <a:r>
              <a:rPr lang="en-NL" dirty="0"/>
              <a:t> business case </a:t>
            </a:r>
            <a:r>
              <a:rPr lang="en-NL" dirty="0" err="1"/>
              <a:t>bevat</a:t>
            </a:r>
            <a:r>
              <a:rPr lang="en-NL" dirty="0"/>
              <a:t> </a:t>
            </a:r>
            <a:r>
              <a:rPr lang="en-NL" dirty="0" err="1"/>
              <a:t>altijd</a:t>
            </a:r>
            <a:r>
              <a:rPr lang="en-NL" dirty="0"/>
              <a:t> </a:t>
            </a:r>
            <a:r>
              <a:rPr lang="en-NL" dirty="0" err="1"/>
              <a:t>een</a:t>
            </a:r>
            <a:r>
              <a:rPr lang="en-NL" dirty="0"/>
              <a:t> </a:t>
            </a:r>
            <a:r>
              <a:rPr lang="en-NL" dirty="0" err="1"/>
              <a:t>gevoeligheidsanalyse</a:t>
            </a:r>
            <a:r>
              <a:rPr lang="en-NL" dirty="0"/>
              <a:t> om de </a:t>
            </a:r>
            <a:r>
              <a:rPr lang="en-NL" dirty="0" err="1"/>
              <a:t>afhankelijkheid</a:t>
            </a:r>
            <a:r>
              <a:rPr lang="en-NL" dirty="0"/>
              <a:t> van de </a:t>
            </a:r>
            <a:r>
              <a:rPr lang="en-NL" dirty="0" err="1"/>
              <a:t>belangrijkste</a:t>
            </a:r>
            <a:r>
              <a:rPr lang="en-NL" dirty="0"/>
              <a:t> inputs </a:t>
            </a:r>
            <a:r>
              <a:rPr lang="en-NL" dirty="0" err="1"/>
              <a:t>te</a:t>
            </a:r>
            <a:r>
              <a:rPr lang="en-NL" dirty="0"/>
              <a:t> </a:t>
            </a:r>
            <a:r>
              <a:rPr lang="en-NL" dirty="0" err="1"/>
              <a:t>evalueren</a:t>
            </a:r>
            <a:endParaRPr lang="nl-NL" dirty="0"/>
          </a:p>
        </p:txBody>
      </p:sp>
      <p:sp>
        <p:nvSpPr>
          <p:cNvPr id="14" name="Rectangle 13">
            <a:extLst>
              <a:ext uri="{FF2B5EF4-FFF2-40B4-BE49-F238E27FC236}">
                <a16:creationId xmlns:a16="http://schemas.microsoft.com/office/drawing/2014/main" id="{8C72FD2B-BB6E-4F49-B618-60FD37A70173}"/>
              </a:ext>
            </a:extLst>
          </p:cNvPr>
          <p:cNvSpPr/>
          <p:nvPr/>
        </p:nvSpPr>
        <p:spPr>
          <a:xfrm>
            <a:off x="674683" y="1592263"/>
            <a:ext cx="10858505" cy="4715061"/>
          </a:xfrm>
          <a:prstGeom prst="rect">
            <a:avLst/>
          </a:prstGeom>
          <a:solidFill>
            <a:schemeClr val="bg1">
              <a:lumMod val="95000"/>
            </a:schemeClr>
          </a:solidFill>
        </p:spPr>
        <p:txBody>
          <a:bodyPr lIns="0" rIns="72000" rtlCol="0" anchor="t"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aphicFrame>
        <p:nvGraphicFramePr>
          <p:cNvPr id="22" name="Table 22">
            <a:extLst>
              <a:ext uri="{FF2B5EF4-FFF2-40B4-BE49-F238E27FC236}">
                <a16:creationId xmlns:a16="http://schemas.microsoft.com/office/drawing/2014/main" id="{FCA64037-DCE7-4281-B7FF-E93E443FB5D1}"/>
              </a:ext>
            </a:extLst>
          </p:cNvPr>
          <p:cNvGraphicFramePr>
            <a:graphicFrameLocks noGrp="1"/>
          </p:cNvGraphicFramePr>
          <p:nvPr>
            <p:extLst>
              <p:ext uri="{D42A27DB-BD31-4B8C-83A1-F6EECF244321}">
                <p14:modId xmlns:p14="http://schemas.microsoft.com/office/powerpoint/2010/main" val="1219651310"/>
              </p:ext>
            </p:extLst>
          </p:nvPr>
        </p:nvGraphicFramePr>
        <p:xfrm>
          <a:off x="957943" y="1881188"/>
          <a:ext cx="10406730" cy="4426138"/>
        </p:xfrm>
        <a:graphic>
          <a:graphicData uri="http://schemas.openxmlformats.org/drawingml/2006/table">
            <a:tbl>
              <a:tblPr firstRow="1" bandRow="1">
                <a:tableStyleId>{5C22544A-7EE6-4342-B048-85BDC9FD1C3A}</a:tableStyleId>
              </a:tblPr>
              <a:tblGrid>
                <a:gridCol w="604157">
                  <a:extLst>
                    <a:ext uri="{9D8B030D-6E8A-4147-A177-3AD203B41FA5}">
                      <a16:colId xmlns:a16="http://schemas.microsoft.com/office/drawing/2014/main" val="256738278"/>
                    </a:ext>
                  </a:extLst>
                </a:gridCol>
                <a:gridCol w="891143">
                  <a:extLst>
                    <a:ext uri="{9D8B030D-6E8A-4147-A177-3AD203B41FA5}">
                      <a16:colId xmlns:a16="http://schemas.microsoft.com/office/drawing/2014/main" val="3074557287"/>
                    </a:ext>
                  </a:extLst>
                </a:gridCol>
                <a:gridCol w="891143">
                  <a:extLst>
                    <a:ext uri="{9D8B030D-6E8A-4147-A177-3AD203B41FA5}">
                      <a16:colId xmlns:a16="http://schemas.microsoft.com/office/drawing/2014/main" val="3594752909"/>
                    </a:ext>
                  </a:extLst>
                </a:gridCol>
                <a:gridCol w="891143">
                  <a:extLst>
                    <a:ext uri="{9D8B030D-6E8A-4147-A177-3AD203B41FA5}">
                      <a16:colId xmlns:a16="http://schemas.microsoft.com/office/drawing/2014/main" val="401215255"/>
                    </a:ext>
                  </a:extLst>
                </a:gridCol>
                <a:gridCol w="891143">
                  <a:extLst>
                    <a:ext uri="{9D8B030D-6E8A-4147-A177-3AD203B41FA5}">
                      <a16:colId xmlns:a16="http://schemas.microsoft.com/office/drawing/2014/main" val="1807030688"/>
                    </a:ext>
                  </a:extLst>
                </a:gridCol>
                <a:gridCol w="891143">
                  <a:extLst>
                    <a:ext uri="{9D8B030D-6E8A-4147-A177-3AD203B41FA5}">
                      <a16:colId xmlns:a16="http://schemas.microsoft.com/office/drawing/2014/main" val="4224955883"/>
                    </a:ext>
                  </a:extLst>
                </a:gridCol>
                <a:gridCol w="891143">
                  <a:extLst>
                    <a:ext uri="{9D8B030D-6E8A-4147-A177-3AD203B41FA5}">
                      <a16:colId xmlns:a16="http://schemas.microsoft.com/office/drawing/2014/main" val="3134472881"/>
                    </a:ext>
                  </a:extLst>
                </a:gridCol>
                <a:gridCol w="891143">
                  <a:extLst>
                    <a:ext uri="{9D8B030D-6E8A-4147-A177-3AD203B41FA5}">
                      <a16:colId xmlns:a16="http://schemas.microsoft.com/office/drawing/2014/main" val="2299124703"/>
                    </a:ext>
                  </a:extLst>
                </a:gridCol>
                <a:gridCol w="891143">
                  <a:extLst>
                    <a:ext uri="{9D8B030D-6E8A-4147-A177-3AD203B41FA5}">
                      <a16:colId xmlns:a16="http://schemas.microsoft.com/office/drawing/2014/main" val="3034201337"/>
                    </a:ext>
                  </a:extLst>
                </a:gridCol>
                <a:gridCol w="891143">
                  <a:extLst>
                    <a:ext uri="{9D8B030D-6E8A-4147-A177-3AD203B41FA5}">
                      <a16:colId xmlns:a16="http://schemas.microsoft.com/office/drawing/2014/main" val="2706901042"/>
                    </a:ext>
                  </a:extLst>
                </a:gridCol>
                <a:gridCol w="891143">
                  <a:extLst>
                    <a:ext uri="{9D8B030D-6E8A-4147-A177-3AD203B41FA5}">
                      <a16:colId xmlns:a16="http://schemas.microsoft.com/office/drawing/2014/main" val="1087078018"/>
                    </a:ext>
                  </a:extLst>
                </a:gridCol>
                <a:gridCol w="891143">
                  <a:extLst>
                    <a:ext uri="{9D8B030D-6E8A-4147-A177-3AD203B41FA5}">
                      <a16:colId xmlns:a16="http://schemas.microsoft.com/office/drawing/2014/main" val="1902839829"/>
                    </a:ext>
                  </a:extLst>
                </a:gridCol>
              </a:tblGrid>
              <a:tr h="310634">
                <a:tc>
                  <a:txBody>
                    <a:bodyPr/>
                    <a:lstStyle/>
                    <a:p>
                      <a:pPr algn="ctr"/>
                      <a:endParaRPr lang="nl-NL" sz="1200" b="1" dirty="0">
                        <a:solidFill>
                          <a:srgbClr val="000000"/>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2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2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1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1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1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1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20%</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200" b="1" dirty="0">
                          <a:solidFill>
                            <a:srgbClr val="000000"/>
                          </a:solidFill>
                        </a:rPr>
                        <a:t>+25%</a:t>
                      </a:r>
                    </a:p>
                  </a:txBody>
                  <a:tcPr anchor="ctr">
                    <a:lnL w="12700" cmpd="sng">
                      <a:noFill/>
                    </a:lnL>
                    <a:lnR w="12700" cmpd="sng">
                      <a:noFill/>
                    </a:lnR>
                    <a:lnT w="12700" cmpd="sng">
                      <a:noFill/>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15896606"/>
                  </a:ext>
                </a:extLst>
              </a:tr>
              <a:tr h="514438">
                <a:tc>
                  <a:txBody>
                    <a:bodyPr/>
                    <a:lstStyle/>
                    <a:p>
                      <a:pPr algn="l"/>
                      <a:r>
                        <a:rPr lang="nl-NL" sz="1200" b="1" dirty="0">
                          <a:solidFill>
                            <a:srgbClr val="000000"/>
                          </a:solidFill>
                        </a:rPr>
                        <a:t>-2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13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0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6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2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9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45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51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57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64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70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76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extLst>
                  <a:ext uri="{0D108BD9-81ED-4DB2-BD59-A6C34878D82A}">
                    <a16:rowId xmlns:a16="http://schemas.microsoft.com/office/drawing/2014/main" val="1590340254"/>
                  </a:ext>
                </a:extLst>
              </a:tr>
              <a:tr h="514438">
                <a:tc>
                  <a:txBody>
                    <a:bodyPr/>
                    <a:lstStyle/>
                    <a:p>
                      <a:pPr algn="l"/>
                      <a:r>
                        <a:rPr lang="nl-NL" sz="1200" b="1" dirty="0">
                          <a:solidFill>
                            <a:srgbClr val="000000"/>
                          </a:solidFill>
                        </a:rPr>
                        <a:t>-1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8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10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16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28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3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41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47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tc>
                  <a:txBody>
                    <a:bodyPr/>
                    <a:lstStyle/>
                    <a:p>
                      <a:pPr algn="ctr" fontAlgn="b"/>
                      <a:r>
                        <a:rPr lang="en-NL" sz="1100" b="1" i="0" u="none" strike="noStrike">
                          <a:solidFill>
                            <a:srgbClr val="000000"/>
                          </a:solidFill>
                          <a:effectLst/>
                          <a:latin typeface="+mn-lt"/>
                        </a:rPr>
                        <a:t>54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CEEAB0"/>
                    </a:solidFill>
                  </a:tcPr>
                </a:tc>
                <a:extLst>
                  <a:ext uri="{0D108BD9-81ED-4DB2-BD59-A6C34878D82A}">
                    <a16:rowId xmlns:a16="http://schemas.microsoft.com/office/drawing/2014/main" val="3652783468"/>
                  </a:ext>
                </a:extLst>
              </a:tr>
              <a:tr h="514438">
                <a:tc>
                  <a:txBody>
                    <a:bodyPr/>
                    <a:lstStyle/>
                    <a:p>
                      <a:pPr algn="l"/>
                      <a:r>
                        <a:rPr lang="nl-NL" sz="1200" b="1" dirty="0">
                          <a:solidFill>
                            <a:srgbClr val="000000"/>
                          </a:solidFill>
                        </a:rPr>
                        <a:t>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31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25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8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6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6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8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25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31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667016277"/>
                  </a:ext>
                </a:extLst>
              </a:tr>
              <a:tr h="514438">
                <a:tc>
                  <a:txBody>
                    <a:bodyPr/>
                    <a:lstStyle/>
                    <a:p>
                      <a:pPr algn="l"/>
                      <a:r>
                        <a:rPr lang="nl-NL" sz="1200" b="1" dirty="0">
                          <a:solidFill>
                            <a:srgbClr val="000000"/>
                          </a:solidFill>
                        </a:rPr>
                        <a:t>+1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54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47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41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35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28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22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6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10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8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3677157491"/>
                  </a:ext>
                </a:extLst>
              </a:tr>
              <a:tr h="514438">
                <a:tc>
                  <a:txBody>
                    <a:bodyPr/>
                    <a:lstStyle/>
                    <a:p>
                      <a:pPr algn="l"/>
                      <a:r>
                        <a:rPr lang="nl-NL" sz="1200" b="1" dirty="0">
                          <a:solidFill>
                            <a:srgbClr val="000000"/>
                          </a:solidFill>
                        </a:rPr>
                        <a:t>+2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76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70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64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57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51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45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39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2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6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20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13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526492036"/>
                  </a:ext>
                </a:extLst>
              </a:tr>
              <a:tr h="514438">
                <a:tc>
                  <a:txBody>
                    <a:bodyPr/>
                    <a:lstStyle/>
                    <a:p>
                      <a:pPr algn="l"/>
                      <a:r>
                        <a:rPr lang="nl-NL" sz="1200" b="1" dirty="0">
                          <a:solidFill>
                            <a:srgbClr val="000000"/>
                          </a:solidFill>
                        </a:rPr>
                        <a:t>+3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99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93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86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80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74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67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61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55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49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42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36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1309514539"/>
                  </a:ext>
                </a:extLst>
              </a:tr>
              <a:tr h="514438">
                <a:tc>
                  <a:txBody>
                    <a:bodyPr/>
                    <a:lstStyle/>
                    <a:p>
                      <a:pPr algn="l"/>
                      <a:r>
                        <a:rPr lang="nl-NL" sz="1200" b="1" dirty="0">
                          <a:solidFill>
                            <a:srgbClr val="000000"/>
                          </a:solidFill>
                        </a:rPr>
                        <a:t>+4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1.22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15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09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03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96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90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84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78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71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65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59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3547349026"/>
                  </a:ext>
                </a:extLst>
              </a:tr>
              <a:tr h="514438">
                <a:tc>
                  <a:txBody>
                    <a:bodyPr/>
                    <a:lstStyle/>
                    <a:p>
                      <a:pPr algn="l"/>
                      <a:r>
                        <a:rPr lang="nl-NL" sz="1200" b="1" dirty="0">
                          <a:solidFill>
                            <a:srgbClr val="000000"/>
                          </a:solidFill>
                        </a:rPr>
                        <a:t>+50%</a:t>
                      </a:r>
                    </a:p>
                  </a:txBody>
                  <a:tcPr marR="36000" anchor="ctr">
                    <a:lnL w="12700" cmpd="sng">
                      <a:noFill/>
                    </a:lnL>
                    <a:lnR w="12700" cap="flat" cmpd="sng" algn="ctr">
                      <a:solidFill>
                        <a:schemeClr val="bg1">
                          <a:lumMod val="9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fontAlgn="b"/>
                      <a:r>
                        <a:rPr lang="en-NL" sz="1100" b="1" i="0" u="none" strike="noStrike">
                          <a:solidFill>
                            <a:srgbClr val="000000"/>
                          </a:solidFill>
                          <a:effectLst/>
                          <a:latin typeface="+mn-lt"/>
                        </a:rPr>
                        <a:t>-1.446</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383</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32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258</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195</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CCCC"/>
                    </a:solidFill>
                  </a:tcPr>
                </a:tc>
                <a:tc>
                  <a:txBody>
                    <a:bodyPr/>
                    <a:lstStyle/>
                    <a:p>
                      <a:pPr algn="ctr" fontAlgn="b"/>
                      <a:r>
                        <a:rPr lang="en-NL" sz="1100" b="1" i="0" u="none" strike="noStrike">
                          <a:solidFill>
                            <a:srgbClr val="000000"/>
                          </a:solidFill>
                          <a:effectLst/>
                          <a:latin typeface="+mn-lt"/>
                        </a:rPr>
                        <a:t>-1.132</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fontAlgn="b"/>
                      <a:r>
                        <a:rPr lang="en-NL" sz="1100" b="1" i="0" u="none" strike="noStrike">
                          <a:solidFill>
                            <a:srgbClr val="000000"/>
                          </a:solidFill>
                          <a:effectLst/>
                          <a:latin typeface="+mn-lt"/>
                        </a:rPr>
                        <a:t>-1.070</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1.007</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9050" cap="flat" cmpd="sng" algn="ctr">
                      <a:solidFill>
                        <a:srgbClr val="F2F2F2"/>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944</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a:solidFill>
                            <a:srgbClr val="000000"/>
                          </a:solidFill>
                          <a:effectLst/>
                          <a:latin typeface="+mn-lt"/>
                        </a:rPr>
                        <a:t>-881</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tc>
                  <a:txBody>
                    <a:bodyPr/>
                    <a:lstStyle/>
                    <a:p>
                      <a:pPr algn="ctr" fontAlgn="b"/>
                      <a:r>
                        <a:rPr lang="en-NL" sz="1100" b="1" i="0" u="none" strike="noStrike" dirty="0">
                          <a:solidFill>
                            <a:srgbClr val="000000"/>
                          </a:solidFill>
                          <a:effectLst/>
                          <a:latin typeface="+mn-lt"/>
                        </a:rPr>
                        <a:t>-819</a:t>
                      </a:r>
                    </a:p>
                  </a:txBody>
                  <a:tcPr marL="7620" marR="7620" marT="7620" marB="0" anchor="ctr">
                    <a:lnL w="12700" cap="flat" cmpd="sng" algn="ctr">
                      <a:solidFill>
                        <a:schemeClr val="bg1">
                          <a:lumMod val="95000"/>
                        </a:schemeClr>
                      </a:solidFill>
                      <a:prstDash val="solid"/>
                      <a:round/>
                      <a:headEnd type="none" w="med" len="med"/>
                      <a:tailEnd type="none" w="med" len="med"/>
                    </a:lnL>
                    <a:lnR w="12700" cap="flat" cmpd="sng" algn="ctr">
                      <a:solidFill>
                        <a:schemeClr val="bg1">
                          <a:lumMod val="95000"/>
                        </a:schemeClr>
                      </a:solid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EAA7"/>
                    </a:solidFill>
                  </a:tcPr>
                </a:tc>
                <a:extLst>
                  <a:ext uri="{0D108BD9-81ED-4DB2-BD59-A6C34878D82A}">
                    <a16:rowId xmlns:a16="http://schemas.microsoft.com/office/drawing/2014/main" val="3440869966"/>
                  </a:ext>
                </a:extLst>
              </a:tr>
            </a:tbl>
          </a:graphicData>
        </a:graphic>
      </p:graphicFrame>
      <p:sp>
        <p:nvSpPr>
          <p:cNvPr id="154" name="TextBox 153">
            <a:extLst>
              <a:ext uri="{FF2B5EF4-FFF2-40B4-BE49-F238E27FC236}">
                <a16:creationId xmlns:a16="http://schemas.microsoft.com/office/drawing/2014/main" id="{CD9F6A4F-F8E5-439C-A8FA-013B3DD90A7A}"/>
              </a:ext>
            </a:extLst>
          </p:cNvPr>
          <p:cNvSpPr txBox="1"/>
          <p:nvPr/>
        </p:nvSpPr>
        <p:spPr>
          <a:xfrm>
            <a:off x="5481493" y="1578107"/>
            <a:ext cx="2262332" cy="187193"/>
          </a:xfrm>
          <a:prstGeom prst="rect">
            <a:avLst/>
          </a:prstGeom>
        </p:spPr>
        <p:txBody>
          <a:bodyPr vert="horz" wrap="square" lIns="0" tIns="45720" rIns="0" bIns="45720" rtlCol="0">
            <a:noAutofit/>
          </a:bodyPr>
          <a:lstStyle/>
          <a:p>
            <a:pPr marL="0" indent="0" algn="l">
              <a:buNone/>
            </a:pPr>
            <a:r>
              <a:rPr lang="nl-NL" sz="1200" b="1" noProof="0" dirty="0">
                <a:solidFill>
                  <a:srgbClr val="000000"/>
                </a:solidFill>
                <a:latin typeface="+mj-lt"/>
              </a:rPr>
              <a:t>Aantal reizigers</a:t>
            </a:r>
            <a:r>
              <a:rPr lang="en-NL" sz="1200" b="1" noProof="0" dirty="0">
                <a:solidFill>
                  <a:srgbClr val="000000"/>
                </a:solidFill>
                <a:latin typeface="+mj-lt"/>
              </a:rPr>
              <a:t>k</a:t>
            </a:r>
            <a:r>
              <a:rPr lang="nl-NL" sz="1200" b="1" noProof="0" dirty="0">
                <a:solidFill>
                  <a:srgbClr val="000000"/>
                </a:solidFill>
                <a:latin typeface="+mj-lt"/>
              </a:rPr>
              <a:t>m</a:t>
            </a:r>
            <a:r>
              <a:rPr lang="en-NL" sz="1200" b="1" noProof="0" dirty="0">
                <a:solidFill>
                  <a:srgbClr val="000000"/>
                </a:solidFill>
                <a:latin typeface="+mj-lt"/>
              </a:rPr>
              <a:t> (2030-’59)*</a:t>
            </a:r>
            <a:endParaRPr lang="nl-NL" sz="1200" b="1" noProof="0" dirty="0">
              <a:solidFill>
                <a:srgbClr val="000000"/>
              </a:solidFill>
              <a:latin typeface="+mj-lt"/>
            </a:endParaRPr>
          </a:p>
        </p:txBody>
      </p:sp>
      <p:sp>
        <p:nvSpPr>
          <p:cNvPr id="159" name="TextBox 158">
            <a:extLst>
              <a:ext uri="{FF2B5EF4-FFF2-40B4-BE49-F238E27FC236}">
                <a16:creationId xmlns:a16="http://schemas.microsoft.com/office/drawing/2014/main" id="{027F614F-5474-4C69-9D8B-43D9D349104A}"/>
              </a:ext>
            </a:extLst>
          </p:cNvPr>
          <p:cNvSpPr txBox="1"/>
          <p:nvPr/>
        </p:nvSpPr>
        <p:spPr>
          <a:xfrm rot="16200000">
            <a:off x="273239" y="4075565"/>
            <a:ext cx="1107440" cy="251941"/>
          </a:xfrm>
          <a:prstGeom prst="rect">
            <a:avLst/>
          </a:prstGeom>
        </p:spPr>
        <p:txBody>
          <a:bodyPr vert="horz" wrap="square" lIns="0" tIns="45720" rIns="0" bIns="45720" rtlCol="0">
            <a:noAutofit/>
          </a:bodyPr>
          <a:lstStyle/>
          <a:p>
            <a:pPr marL="0" indent="0" algn="l">
              <a:buNone/>
            </a:pPr>
            <a:r>
              <a:rPr lang="nl-NL" sz="1200" b="1" noProof="0" dirty="0">
                <a:solidFill>
                  <a:srgbClr val="000000"/>
                </a:solidFill>
                <a:latin typeface="+mj-lt"/>
              </a:rPr>
              <a:t>Aanlegkosten</a:t>
            </a:r>
          </a:p>
        </p:txBody>
      </p:sp>
      <p:sp>
        <p:nvSpPr>
          <p:cNvPr id="15" name="Speech Bubble: Rectangle 14">
            <a:extLst>
              <a:ext uri="{FF2B5EF4-FFF2-40B4-BE49-F238E27FC236}">
                <a16:creationId xmlns:a16="http://schemas.microsoft.com/office/drawing/2014/main" id="{E12D0DA4-14E4-48E1-B4D5-906224A588CC}"/>
              </a:ext>
            </a:extLst>
          </p:cNvPr>
          <p:cNvSpPr/>
          <p:nvPr/>
        </p:nvSpPr>
        <p:spPr>
          <a:xfrm>
            <a:off x="6303569" y="3586117"/>
            <a:ext cx="932688" cy="269966"/>
          </a:xfrm>
          <a:prstGeom prst="wedgeRectCallout">
            <a:avLst>
              <a:gd name="adj1" fmla="val 2148"/>
              <a:gd name="adj2" fmla="val -84791"/>
            </a:avLst>
          </a:prstGeom>
          <a:solidFill>
            <a:schemeClr val="accent2">
              <a:lumMod val="60000"/>
              <a:lumOff val="40000"/>
            </a:schemeClr>
          </a:solidFill>
          <a:ln>
            <a:solidFill>
              <a:schemeClr val="bg1"/>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a:t>
            </a:r>
            <a:r>
              <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W = </a:t>
            </a:r>
            <a:r>
              <a:rPr kumimoji="0" lang="en-GB"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en-GB" sz="1000" b="1" dirty="0">
                <a:solidFill>
                  <a:srgbClr val="000000"/>
                </a:solidFill>
                <a:latin typeface="Corbel" panose="020B0503020204020204" pitchFamily="34" charset="0"/>
                <a:cs typeface="+mn-cs"/>
              </a:rPr>
              <a:t>1.650</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6" name="Speech Bubble: Rectangle 15">
            <a:extLst>
              <a:ext uri="{FF2B5EF4-FFF2-40B4-BE49-F238E27FC236}">
                <a16:creationId xmlns:a16="http://schemas.microsoft.com/office/drawing/2014/main" id="{DBF02FDD-DEB3-4389-829B-987C20FE041D}"/>
              </a:ext>
            </a:extLst>
          </p:cNvPr>
          <p:cNvSpPr/>
          <p:nvPr/>
        </p:nvSpPr>
        <p:spPr>
          <a:xfrm>
            <a:off x="4996870" y="5016699"/>
            <a:ext cx="2964049" cy="901149"/>
          </a:xfrm>
          <a:prstGeom prst="wedgeRectCallout">
            <a:avLst>
              <a:gd name="adj1" fmla="val -58754"/>
              <a:gd name="adj2" fmla="val -36648"/>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eeswijzer</a:t>
            </a:r>
            <a:b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 -10% reizigers en +</a:t>
            </a:r>
            <a:r>
              <a:rPr lang="nl-NL" sz="1200" dirty="0">
                <a:solidFill>
                  <a:srgbClr val="000000"/>
                </a:solidFill>
                <a:latin typeface="Corbel" panose="020B0503020204020204" pitchFamily="34" charset="0"/>
                <a:cs typeface="+mn-cs"/>
              </a:rPr>
              <a:t>30</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dditionele aanlegkosten gaat de NCW </a:t>
            </a:r>
            <a:r>
              <a:rPr kumimoji="0" lang="en-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a:t>
            </a:r>
            <a:r>
              <a:rPr kumimoji="0" lang="en-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a:t>
            </a:r>
            <a:r>
              <a:rPr kumimoji="0" lang="en-GB"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805</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omlaag ten opzichte van de </a:t>
            </a:r>
            <a:r>
              <a:rPr lang="en-NL" sz="1200" dirty="0" err="1">
                <a:solidFill>
                  <a:srgbClr val="000000"/>
                </a:solidFill>
                <a:latin typeface="Corbel" panose="020B0503020204020204" pitchFamily="34" charset="0"/>
                <a:cs typeface="+mn-cs"/>
              </a:rPr>
              <a:t>huidige</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NCW</a:t>
            </a:r>
            <a:r>
              <a:rPr kumimoji="0" lang="en-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r>
              <a:rPr lang="nl-NL" sz="1200" dirty="0">
                <a:solidFill>
                  <a:srgbClr val="000000"/>
                </a:solidFill>
                <a:latin typeface="Corbel" panose="020B0503020204020204" pitchFamily="34" charset="0"/>
                <a:cs typeface="+mn-cs"/>
              </a:rPr>
              <a:t>1.650)</a:t>
            </a: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e totale NCW wordt dus: -2.455</a:t>
            </a:r>
          </a:p>
        </p:txBody>
      </p:sp>
      <p:sp>
        <p:nvSpPr>
          <p:cNvPr id="17" name="Rectangle 16">
            <a:extLst>
              <a:ext uri="{FF2B5EF4-FFF2-40B4-BE49-F238E27FC236}">
                <a16:creationId xmlns:a16="http://schemas.microsoft.com/office/drawing/2014/main" id="{8DAD9D05-18C6-4FAF-A208-37CBAA3268BD}"/>
              </a:ext>
            </a:extLst>
          </p:cNvPr>
          <p:cNvSpPr/>
          <p:nvPr/>
        </p:nvSpPr>
        <p:spPr>
          <a:xfrm rot="256469">
            <a:off x="8908156" y="1594608"/>
            <a:ext cx="2732986" cy="284233"/>
          </a:xfrm>
          <a:prstGeom prst="rect">
            <a:avLst/>
          </a:prstGeom>
          <a:solidFill>
            <a:srgbClr val="FFC00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Dummygetallen</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270092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CDEC004-6B00-4CFA-8DC7-3DA9B3FBB30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CDEC004-6B00-4CFA-8DC7-3DA9B3FBB3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90A2C3DE-CA27-4A95-9B2D-056D546F70DD}"/>
              </a:ext>
            </a:extLst>
          </p:cNvPr>
          <p:cNvSpPr>
            <a:spLocks noGrp="1"/>
          </p:cNvSpPr>
          <p:nvPr>
            <p:ph type="sldNum" sz="quarter" idx="10"/>
          </p:nvPr>
        </p:nvSpPr>
        <p:spPr/>
        <p:txBody>
          <a:bodyPr/>
          <a:lstStyle/>
          <a:p>
            <a:fld id="{992CD0B2-8AB2-4C6C-8876-E15753662C9B}" type="slidenum">
              <a:rPr lang="nl-NL" noProof="0" smtClean="0"/>
              <a:pPr/>
              <a:t>15</a:t>
            </a:fld>
            <a:endParaRPr lang="nl-NL" noProof="0" dirty="0"/>
          </a:p>
        </p:txBody>
      </p:sp>
      <p:sp>
        <p:nvSpPr>
          <p:cNvPr id="3" name="Text Placeholder 2">
            <a:extLst>
              <a:ext uri="{FF2B5EF4-FFF2-40B4-BE49-F238E27FC236}">
                <a16:creationId xmlns:a16="http://schemas.microsoft.com/office/drawing/2014/main" id="{7EFE448F-41DC-406D-9E47-77FF6A073C9B}"/>
              </a:ext>
            </a:extLst>
          </p:cNvPr>
          <p:cNvSpPr>
            <a:spLocks noGrp="1"/>
          </p:cNvSpPr>
          <p:nvPr>
            <p:ph type="body" sz="quarter" idx="24"/>
          </p:nvPr>
        </p:nvSpPr>
        <p:spPr/>
        <p:txBody>
          <a:bodyPr/>
          <a:lstStyle/>
          <a:p>
            <a:endParaRPr lang="nl-NL" dirty="0"/>
          </a:p>
        </p:txBody>
      </p:sp>
      <p:sp>
        <p:nvSpPr>
          <p:cNvPr id="4" name="Text Placeholder 3">
            <a:extLst>
              <a:ext uri="{FF2B5EF4-FFF2-40B4-BE49-F238E27FC236}">
                <a16:creationId xmlns:a16="http://schemas.microsoft.com/office/drawing/2014/main" id="{6C4F5A4B-AE13-49B0-8139-EB4D8E8B98F3}"/>
              </a:ext>
            </a:extLst>
          </p:cNvPr>
          <p:cNvSpPr>
            <a:spLocks noGrp="1"/>
          </p:cNvSpPr>
          <p:nvPr>
            <p:ph type="body" sz="quarter" idx="23"/>
          </p:nvPr>
        </p:nvSpPr>
        <p:spPr/>
        <p:txBody>
          <a:bodyPr/>
          <a:lstStyle/>
          <a:p>
            <a:r>
              <a:rPr lang="nl-NL" dirty="0">
                <a:solidFill>
                  <a:srgbClr val="FFFFFF"/>
                </a:solidFill>
              </a:rPr>
              <a:t>Steven Jonker (</a:t>
            </a:r>
            <a:r>
              <a:rPr lang="nl-NL" dirty="0">
                <a:solidFill>
                  <a:srgbClr val="FFFFFF"/>
                </a:solidFill>
                <a:hlinkClick r:id="rId6">
                  <a:extLst>
                    <a:ext uri="{A12FA001-AC4F-418D-AE19-62706E023703}">
                      <ahyp:hlinkClr xmlns:ahyp="http://schemas.microsoft.com/office/drawing/2018/hyperlinkcolor" val="tx"/>
                    </a:ext>
                  </a:extLst>
                </a:hlinkClick>
              </a:rPr>
              <a:t>steven.jonker@itspublic.nl</a:t>
            </a:r>
            <a:r>
              <a:rPr lang="nl-NL" dirty="0">
                <a:solidFill>
                  <a:srgbClr val="FFFFFF"/>
                </a:solidFill>
              </a:rPr>
              <a:t>) </a:t>
            </a:r>
          </a:p>
          <a:p>
            <a:r>
              <a:rPr lang="nl-NL" dirty="0">
                <a:solidFill>
                  <a:srgbClr val="FFFFFF"/>
                </a:solidFill>
              </a:rPr>
              <a:t>Jan </a:t>
            </a:r>
            <a:r>
              <a:rPr lang="nl-NL">
                <a:solidFill>
                  <a:srgbClr val="FFFFFF"/>
                </a:solidFill>
              </a:rPr>
              <a:t>Willem Moesker (</a:t>
            </a:r>
            <a:r>
              <a:rPr lang="nl-NL">
                <a:solidFill>
                  <a:srgbClr val="FFFFFF"/>
                </a:solidFill>
                <a:hlinkClick r:id="rId7">
                  <a:extLst>
                    <a:ext uri="{A12FA001-AC4F-418D-AE19-62706E023703}">
                      <ahyp:hlinkClr xmlns:ahyp="http://schemas.microsoft.com/office/drawing/2018/hyperlinkcolor" val="tx"/>
                    </a:ext>
                  </a:extLst>
                </a:hlinkClick>
              </a:rPr>
              <a:t>janwillem.moesker@itspublic.nl</a:t>
            </a:r>
            <a:r>
              <a:rPr lang="nl-NL">
                <a:solidFill>
                  <a:srgbClr val="FFFFFF"/>
                </a:solidFill>
              </a:rPr>
              <a:t>)</a:t>
            </a:r>
            <a:endParaRPr lang="nl-NL" dirty="0">
              <a:solidFill>
                <a:srgbClr val="FFFFFF"/>
              </a:solidFill>
            </a:endParaRPr>
          </a:p>
        </p:txBody>
      </p:sp>
    </p:spTree>
    <p:extLst>
      <p:ext uri="{BB962C8B-B14F-4D97-AF65-F5344CB8AC3E}">
        <p14:creationId xmlns:p14="http://schemas.microsoft.com/office/powerpoint/2010/main" val="9057340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4AC5E7B-D498-49DE-8C40-04255664352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9" name="Object 8" hidden="1">
                        <a:extLst>
                          <a:ext uri="{FF2B5EF4-FFF2-40B4-BE49-F238E27FC236}">
                            <a16:creationId xmlns:a16="http://schemas.microsoft.com/office/drawing/2014/main" id="{34AC5E7B-D498-49DE-8C40-042556643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92B10F05-E8ED-49E1-9917-3CC78A61D449}"/>
              </a:ext>
            </a:extLst>
          </p:cNvPr>
          <p:cNvSpPr>
            <a:spLocks noGrp="1"/>
          </p:cNvSpPr>
          <p:nvPr>
            <p:ph sz="quarter" idx="18"/>
          </p:nvPr>
        </p:nvSpPr>
        <p:spPr/>
        <p:txBody>
          <a:bodyPr/>
          <a:lstStyle/>
          <a:p>
            <a:pPr marL="0" indent="0">
              <a:buNone/>
            </a:pPr>
            <a:r>
              <a:rPr lang="nl-NL" sz="1600" b="1" dirty="0"/>
              <a:t>Met een </a:t>
            </a:r>
            <a:r>
              <a:rPr lang="nl-NL" sz="1600" b="1"/>
              <a:t>publieke business</a:t>
            </a:r>
            <a:r>
              <a:rPr lang="en-NL" sz="1600" b="1"/>
              <a:t> </a:t>
            </a:r>
            <a:r>
              <a:rPr lang="nl-NL" sz="1600" b="1"/>
              <a:t>case </a:t>
            </a:r>
            <a:r>
              <a:rPr lang="nl-NL" sz="1600" b="1" dirty="0"/>
              <a:t>worden de financiële gevolgen van projecten voor overheden inzichtelijk gemaakt. </a:t>
            </a:r>
            <a:endParaRPr lang="nl-NL" sz="1600" dirty="0"/>
          </a:p>
          <a:p>
            <a:r>
              <a:rPr lang="nl-NL" sz="1600" dirty="0"/>
              <a:t>De financiële gevolgen bestaan uit de verwachte kosten, baten en risico’s van een project</a:t>
            </a:r>
          </a:p>
          <a:p>
            <a:r>
              <a:rPr lang="nl-NL" sz="1600" dirty="0"/>
              <a:t>De publieke businesscase biedt houvast bij de besluitvorming over het starten, voortzetten of beëindigen van een project. Daarnaast kan een publieke businesscase ook helpen bij de monitoring en sturing </a:t>
            </a:r>
          </a:p>
          <a:p>
            <a:r>
              <a:rPr lang="nl-NL" sz="1600" dirty="0"/>
              <a:t>Een publieke businesscase ondersteunt de besluitvorming over het starten, voortzetten of beëindigen van een project. Een publieke businesscase kunt u ook gebruiken bij het beheersen van een project (monitoren en sturen)</a:t>
            </a:r>
          </a:p>
          <a:p>
            <a:endParaRPr lang="nl-NL" sz="1600" dirty="0"/>
          </a:p>
          <a:p>
            <a:pPr marL="0" indent="0">
              <a:buNone/>
            </a:pPr>
            <a:r>
              <a:rPr lang="nl-NL" sz="1600" b="1" dirty="0"/>
              <a:t>De structuur en onderdelen van een publieke businesscase zijn niet wezenlijk anders dan die van een businesscase in de private sector. Wel kan gekozen worden om ook indirecte en maatschappelijke baten en lasten mee te nemen</a:t>
            </a:r>
          </a:p>
          <a:p>
            <a:r>
              <a:rPr lang="nl-NL" sz="1600" dirty="0"/>
              <a:t>Veel projecten in de publieke sector zijn niet rendabel wanneer enkel naar de financiën wordt gekeken. Vaak worden de projecten vanwege andere redenen (maatschappelijk en/of politiek) uitgevoerd. Een businesscase helpt dan bij de politiek/maatschappelijke afweging</a:t>
            </a:r>
          </a:p>
          <a:p>
            <a:r>
              <a:rPr lang="nl-NL" sz="1600" dirty="0"/>
              <a:t>Om de gevolgen voor de gehele keten inzichtelijk te maken kan ook worden gekozen om indirecte kosten en baten mee te nemen, die bijvoorbeeld op een andere plek in de keten worden gerealiseerd</a:t>
            </a:r>
          </a:p>
          <a:p>
            <a:r>
              <a:rPr lang="nl-NL" sz="1600" dirty="0"/>
              <a:t>Daarnaast kunnen ook maatschappelijke kosten en baten worden meegenomen door ze te </a:t>
            </a:r>
            <a:r>
              <a:rPr lang="nl-NL" sz="1600" dirty="0" err="1"/>
              <a:t>monetariseren</a:t>
            </a:r>
            <a:endParaRPr lang="nl-NL" sz="1600" dirty="0"/>
          </a:p>
        </p:txBody>
      </p:sp>
      <p:sp>
        <p:nvSpPr>
          <p:cNvPr id="3" name="Title 2">
            <a:extLst>
              <a:ext uri="{FF2B5EF4-FFF2-40B4-BE49-F238E27FC236}">
                <a16:creationId xmlns:a16="http://schemas.microsoft.com/office/drawing/2014/main" id="{7C9D9059-C8F2-403C-B477-7BAA4BE62AD1}"/>
              </a:ext>
            </a:extLst>
          </p:cNvPr>
          <p:cNvSpPr>
            <a:spLocks noGrp="1"/>
          </p:cNvSpPr>
          <p:nvPr>
            <p:ph type="title"/>
          </p:nvPr>
        </p:nvSpPr>
        <p:spPr/>
        <p:txBody>
          <a:bodyPr vert="horz"/>
          <a:lstStyle/>
          <a:p>
            <a:r>
              <a:rPr lang="nl-NL" dirty="0"/>
              <a:t>Een publieke business case </a:t>
            </a:r>
          </a:p>
        </p:txBody>
      </p:sp>
      <p:sp>
        <p:nvSpPr>
          <p:cNvPr id="4" name="Slide Number Placeholder 3">
            <a:extLst>
              <a:ext uri="{FF2B5EF4-FFF2-40B4-BE49-F238E27FC236}">
                <a16:creationId xmlns:a16="http://schemas.microsoft.com/office/drawing/2014/main" id="{816DD116-AA15-44DB-9C86-3EB3664A1399}"/>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5" name="Footer Placeholder 4">
            <a:extLst>
              <a:ext uri="{FF2B5EF4-FFF2-40B4-BE49-F238E27FC236}">
                <a16:creationId xmlns:a16="http://schemas.microsoft.com/office/drawing/2014/main" id="{5A49BDC8-2E90-447D-834A-48EC61F25D76}"/>
              </a:ext>
            </a:extLst>
          </p:cNvPr>
          <p:cNvSpPr>
            <a:spLocks noGrp="1"/>
          </p:cNvSpPr>
          <p:nvPr>
            <p:ph type="ftr" sz="quarter" idx="3"/>
          </p:nvPr>
        </p:nvSpPr>
        <p:spPr/>
        <p:txBody>
          <a:bodyPr/>
          <a:lstStyle/>
          <a:p>
            <a:r>
              <a:rPr lang="nl-NL" dirty="0"/>
              <a:t>Bron: Handleiding publieke businesscase, Ministerie van Financiën (jan 2020)</a:t>
            </a:r>
          </a:p>
        </p:txBody>
      </p:sp>
      <p:sp>
        <p:nvSpPr>
          <p:cNvPr id="6" name="Text Placeholder 5">
            <a:extLst>
              <a:ext uri="{FF2B5EF4-FFF2-40B4-BE49-F238E27FC236}">
                <a16:creationId xmlns:a16="http://schemas.microsoft.com/office/drawing/2014/main" id="{1BC51DB4-A6C7-4974-B9E7-EC82E38672EC}"/>
              </a:ext>
            </a:extLst>
          </p:cNvPr>
          <p:cNvSpPr>
            <a:spLocks noGrp="1"/>
          </p:cNvSpPr>
          <p:nvPr>
            <p:ph type="body" sz="quarter" idx="20"/>
          </p:nvPr>
        </p:nvSpPr>
        <p:spPr/>
        <p:txBody>
          <a:bodyPr/>
          <a:lstStyle/>
          <a:p>
            <a:pPr marL="0" indent="0">
              <a:buNone/>
            </a:pPr>
            <a:endParaRPr lang="nl-NL" dirty="0"/>
          </a:p>
        </p:txBody>
      </p:sp>
      <p:sp>
        <p:nvSpPr>
          <p:cNvPr id="7" name="Text Placeholder 6">
            <a:extLst>
              <a:ext uri="{FF2B5EF4-FFF2-40B4-BE49-F238E27FC236}">
                <a16:creationId xmlns:a16="http://schemas.microsoft.com/office/drawing/2014/main" id="{B02F0797-120D-4C68-B5FC-349D0463E1CF}"/>
              </a:ext>
            </a:extLst>
          </p:cNvPr>
          <p:cNvSpPr>
            <a:spLocks noGrp="1"/>
          </p:cNvSpPr>
          <p:nvPr>
            <p:ph type="body" sz="quarter" idx="14"/>
          </p:nvPr>
        </p:nvSpPr>
        <p:spPr/>
        <p:txBody>
          <a:bodyPr/>
          <a:lstStyle/>
          <a:p>
            <a:endParaRPr lang="nl-NL"/>
          </a:p>
        </p:txBody>
      </p:sp>
    </p:spTree>
    <p:extLst>
      <p:ext uri="{BB962C8B-B14F-4D97-AF65-F5344CB8AC3E}">
        <p14:creationId xmlns:p14="http://schemas.microsoft.com/office/powerpoint/2010/main" val="1021644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42C93B-719D-4E70-B85C-6F089EA5EE8D}"/>
              </a:ext>
            </a:extLst>
          </p:cNvPr>
          <p:cNvGraphicFramePr>
            <a:graphicFrameLocks noChangeAspect="1"/>
          </p:cNvGraphicFramePr>
          <p:nvPr>
            <p:custDataLst>
              <p:tags r:id="rId1"/>
            </p:custDataLst>
            <p:extLst>
              <p:ext uri="{D42A27DB-BD31-4B8C-83A1-F6EECF244321}">
                <p14:modId xmlns:p14="http://schemas.microsoft.com/office/powerpoint/2010/main" val="456553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47" imgH="348" progId="TCLayout.ActiveDocument.1">
                  <p:embed/>
                </p:oleObj>
              </mc:Choice>
              <mc:Fallback>
                <p:oleObj name="think-cell Slide" r:id="rId57" imgW="347" imgH="348" progId="TCLayout.ActiveDocument.1">
                  <p:embed/>
                  <p:pic>
                    <p:nvPicPr>
                      <p:cNvPr id="6" name="Object 5" hidden="1">
                        <a:extLst>
                          <a:ext uri="{FF2B5EF4-FFF2-40B4-BE49-F238E27FC236}">
                            <a16:creationId xmlns:a16="http://schemas.microsoft.com/office/drawing/2014/main" id="{EE42C93B-719D-4E70-B85C-6F089EA5EE8D}"/>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9B818B16-DB90-4956-AF02-FC4EFBB8869E}"/>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en-US"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8" name="Rectangle 127">
            <a:extLst>
              <a:ext uri="{FF2B5EF4-FFF2-40B4-BE49-F238E27FC236}">
                <a16:creationId xmlns:a16="http://schemas.microsoft.com/office/drawing/2014/main" id="{8222BA59-3883-4851-A892-0F3992714801}"/>
              </a:ext>
            </a:extLst>
          </p:cNvPr>
          <p:cNvSpPr/>
          <p:nvPr/>
        </p:nvSpPr>
        <p:spPr>
          <a:xfrm>
            <a:off x="665261" y="1870075"/>
            <a:ext cx="1020416" cy="900113"/>
          </a:xfrm>
          <a:prstGeom prst="rect">
            <a:avLst/>
          </a:prstGeom>
          <a:solidFill>
            <a:schemeClr val="bg1">
              <a:lumMod val="85000"/>
            </a:schemeClr>
          </a:solidFill>
        </p:spPr>
        <p:txBody>
          <a:bodyPr lIns="0" rIns="0" rtlCol="0" anchor="ctr" anchorCtr="0">
            <a:noAutofit/>
          </a:bodyPr>
          <a:lstStyle/>
          <a:p>
            <a:pPr marL="0" indent="0" algn="ctr" defTabSz="685800" fontAlgn="auto">
              <a:lnSpc>
                <a:spcPct val="90000"/>
              </a:lnSpc>
              <a:spcBef>
                <a:spcPts val="750"/>
              </a:spcBef>
              <a:spcAft>
                <a:spcPts val="0"/>
              </a:spcAft>
              <a:buClr>
                <a:srgbClr val="FF0000"/>
              </a:buClr>
              <a:buNone/>
            </a:pPr>
            <a:r>
              <a:rPr lang="nl-NL" sz="1000" b="1" dirty="0">
                <a:solidFill>
                  <a:srgbClr val="000000"/>
                </a:solidFill>
                <a:latin typeface="Corbel" panose="020B0503020204020204" pitchFamily="34" charset="0"/>
                <a:cs typeface="+mn-cs"/>
              </a:rPr>
              <a:t>Opbrengsten</a:t>
            </a:r>
            <a:r>
              <a:rPr lang="nl-NL" sz="1000" b="1" baseline="30000" dirty="0">
                <a:solidFill>
                  <a:srgbClr val="000000"/>
                </a:solidFill>
                <a:latin typeface="Corbel" panose="020B0503020204020204" pitchFamily="34" charset="0"/>
              </a:rPr>
              <a:t>1</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6" name="Rectangle 125">
            <a:extLst>
              <a:ext uri="{FF2B5EF4-FFF2-40B4-BE49-F238E27FC236}">
                <a16:creationId xmlns:a16="http://schemas.microsoft.com/office/drawing/2014/main" id="{3C356B10-1C8A-44BC-BB56-B653CC2B1AE3}"/>
              </a:ext>
            </a:extLst>
          </p:cNvPr>
          <p:cNvSpPr/>
          <p:nvPr/>
        </p:nvSpPr>
        <p:spPr>
          <a:xfrm>
            <a:off x="665261" y="2814638"/>
            <a:ext cx="1020416" cy="900113"/>
          </a:xfrm>
          <a:prstGeom prst="rect">
            <a:avLst/>
          </a:prstGeom>
          <a:solidFill>
            <a:schemeClr val="bg1">
              <a:lumMod val="85000"/>
            </a:schemeClr>
          </a:solidFill>
        </p:spPr>
        <p:txBody>
          <a:bodyPr lIns="0" rIns="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rgbClr val="000000"/>
                </a:solidFill>
                <a:latin typeface="Corbel" panose="020B0503020204020204" pitchFamily="34" charset="0"/>
                <a:cs typeface="+mn-cs"/>
              </a:rPr>
              <a:t>Kosten</a:t>
            </a:r>
            <a:r>
              <a:rPr lang="nl-NL" sz="1000" b="1" baseline="30000" dirty="0">
                <a:solidFill>
                  <a:srgbClr val="000000"/>
                </a:solidFill>
                <a:latin typeface="Corbel" panose="020B0503020204020204" pitchFamily="34" charset="0"/>
                <a:cs typeface="+mn-cs"/>
              </a:rPr>
              <a:t>1,2</a:t>
            </a:r>
            <a:r>
              <a:rPr lang="nl-NL" sz="1000" b="1" dirty="0">
                <a:solidFill>
                  <a:srgbClr val="000000"/>
                </a:solidFill>
                <a:latin typeface="Corbel" panose="020B0503020204020204" pitchFamily="34" charset="0"/>
                <a:cs typeface="+mn-cs"/>
              </a:rPr>
              <a:t> </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5" name="Rectangle 144">
            <a:extLst>
              <a:ext uri="{FF2B5EF4-FFF2-40B4-BE49-F238E27FC236}">
                <a16:creationId xmlns:a16="http://schemas.microsoft.com/office/drawing/2014/main" id="{BD6AB33A-01BD-4C9C-97FA-05534D6EAFFF}"/>
              </a:ext>
            </a:extLst>
          </p:cNvPr>
          <p:cNvSpPr/>
          <p:nvPr/>
        </p:nvSpPr>
        <p:spPr>
          <a:xfrm>
            <a:off x="1806575" y="4908550"/>
            <a:ext cx="7056236"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graphicFrame>
        <p:nvGraphicFramePr>
          <p:cNvPr id="350" name="Chart 349">
            <a:extLst>
              <a:ext uri="{FF2B5EF4-FFF2-40B4-BE49-F238E27FC236}">
                <a16:creationId xmlns:a16="http://schemas.microsoft.com/office/drawing/2014/main" id="{316074D7-9EC0-462F-97D1-780449A18418}"/>
              </a:ext>
            </a:extLst>
          </p:cNvPr>
          <p:cNvGraphicFramePr/>
          <p:nvPr>
            <p:custDataLst>
              <p:tags r:id="rId3"/>
            </p:custDataLst>
          </p:nvPr>
        </p:nvGraphicFramePr>
        <p:xfrm>
          <a:off x="1785938" y="4916488"/>
          <a:ext cx="7694612" cy="901700"/>
        </p:xfrm>
        <a:graphic>
          <a:graphicData uri="http://schemas.openxmlformats.org/drawingml/2006/chart">
            <c:chart xmlns:c="http://schemas.openxmlformats.org/drawingml/2006/chart" xmlns:r="http://schemas.openxmlformats.org/officeDocument/2006/relationships" r:id="rId59"/>
          </a:graphicData>
        </a:graphic>
      </p:graphicFrame>
      <p:sp>
        <p:nvSpPr>
          <p:cNvPr id="263" name="Rectangle 262">
            <a:extLst>
              <a:ext uri="{FF2B5EF4-FFF2-40B4-BE49-F238E27FC236}">
                <a16:creationId xmlns:a16="http://schemas.microsoft.com/office/drawing/2014/main" id="{3AEFE0AE-0265-4DFC-ADAE-43AE191C64FC}"/>
              </a:ext>
            </a:extLst>
          </p:cNvPr>
          <p:cNvSpPr/>
          <p:nvPr/>
        </p:nvSpPr>
        <p:spPr>
          <a:xfrm>
            <a:off x="8905875" y="4913313"/>
            <a:ext cx="1273175"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graphicFrame>
        <p:nvGraphicFramePr>
          <p:cNvPr id="206" name="Chart 205">
            <a:extLst>
              <a:ext uri="{FF2B5EF4-FFF2-40B4-BE49-F238E27FC236}">
                <a16:creationId xmlns:a16="http://schemas.microsoft.com/office/drawing/2014/main" id="{79EA90FD-913F-4CC8-82DF-27AD58606296}"/>
              </a:ext>
            </a:extLst>
          </p:cNvPr>
          <p:cNvGraphicFramePr/>
          <p:nvPr>
            <p:custDataLst>
              <p:tags r:id="rId4"/>
            </p:custDataLst>
          </p:nvPr>
        </p:nvGraphicFramePr>
        <p:xfrm>
          <a:off x="9315450" y="4916488"/>
          <a:ext cx="376238" cy="901700"/>
        </p:xfrm>
        <a:graphic>
          <a:graphicData uri="http://schemas.openxmlformats.org/drawingml/2006/chart">
            <c:chart xmlns:c="http://schemas.openxmlformats.org/drawingml/2006/chart" xmlns:r="http://schemas.openxmlformats.org/officeDocument/2006/relationships" r:id="rId60"/>
          </a:graphicData>
        </a:graphic>
      </p:graphicFrame>
      <p:sp>
        <p:nvSpPr>
          <p:cNvPr id="262" name="Rectangle 261">
            <a:extLst>
              <a:ext uri="{FF2B5EF4-FFF2-40B4-BE49-F238E27FC236}">
                <a16:creationId xmlns:a16="http://schemas.microsoft.com/office/drawing/2014/main" id="{3BFF6FAB-FA4C-402A-A3C1-9DFB80BC2CF2}"/>
              </a:ext>
            </a:extLst>
          </p:cNvPr>
          <p:cNvSpPr/>
          <p:nvPr/>
        </p:nvSpPr>
        <p:spPr>
          <a:xfrm>
            <a:off x="8901113" y="3768725"/>
            <a:ext cx="1273175"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sp>
        <p:nvSpPr>
          <p:cNvPr id="261" name="Rectangle 260">
            <a:extLst>
              <a:ext uri="{FF2B5EF4-FFF2-40B4-BE49-F238E27FC236}">
                <a16:creationId xmlns:a16="http://schemas.microsoft.com/office/drawing/2014/main" id="{F7098A73-B987-4280-9907-9EF9EE7E166D}"/>
              </a:ext>
            </a:extLst>
          </p:cNvPr>
          <p:cNvSpPr/>
          <p:nvPr/>
        </p:nvSpPr>
        <p:spPr>
          <a:xfrm>
            <a:off x="8901113" y="2814638"/>
            <a:ext cx="1273175"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sp>
        <p:nvSpPr>
          <p:cNvPr id="94" name="Rectangle 93">
            <a:extLst>
              <a:ext uri="{FF2B5EF4-FFF2-40B4-BE49-F238E27FC236}">
                <a16:creationId xmlns:a16="http://schemas.microsoft.com/office/drawing/2014/main" id="{67AAED70-6A29-4CAD-AA94-115E01AA6227}"/>
              </a:ext>
            </a:extLst>
          </p:cNvPr>
          <p:cNvSpPr/>
          <p:nvPr/>
        </p:nvSpPr>
        <p:spPr>
          <a:xfrm>
            <a:off x="8901113" y="1870075"/>
            <a:ext cx="1273175"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graphicFrame>
        <p:nvGraphicFramePr>
          <p:cNvPr id="212" name="Chart 211">
            <a:extLst>
              <a:ext uri="{FF2B5EF4-FFF2-40B4-BE49-F238E27FC236}">
                <a16:creationId xmlns:a16="http://schemas.microsoft.com/office/drawing/2014/main" id="{957DC685-09AC-4561-9265-D601744B46E7}"/>
              </a:ext>
            </a:extLst>
          </p:cNvPr>
          <p:cNvGraphicFramePr/>
          <p:nvPr>
            <p:custDataLst>
              <p:tags r:id="rId5"/>
            </p:custDataLst>
          </p:nvPr>
        </p:nvGraphicFramePr>
        <p:xfrm>
          <a:off x="8901113" y="2009775"/>
          <a:ext cx="1008062" cy="846138"/>
        </p:xfrm>
        <a:graphic>
          <a:graphicData uri="http://schemas.openxmlformats.org/drawingml/2006/chart">
            <c:chart xmlns:c="http://schemas.openxmlformats.org/drawingml/2006/chart" xmlns:r="http://schemas.openxmlformats.org/officeDocument/2006/relationships" r:id="rId61"/>
          </a:graphicData>
        </a:graphic>
      </p:graphicFrame>
      <p:sp>
        <p:nvSpPr>
          <p:cNvPr id="144" name="Rectangle 143">
            <a:extLst>
              <a:ext uri="{FF2B5EF4-FFF2-40B4-BE49-F238E27FC236}">
                <a16:creationId xmlns:a16="http://schemas.microsoft.com/office/drawing/2014/main" id="{CA120EDF-F769-45F5-8F7C-AA5F2782828E}"/>
              </a:ext>
            </a:extLst>
          </p:cNvPr>
          <p:cNvSpPr/>
          <p:nvPr/>
        </p:nvSpPr>
        <p:spPr>
          <a:xfrm>
            <a:off x="1806575" y="3768725"/>
            <a:ext cx="7056236"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sp>
        <p:nvSpPr>
          <p:cNvPr id="143" name="Rectangle 142">
            <a:extLst>
              <a:ext uri="{FF2B5EF4-FFF2-40B4-BE49-F238E27FC236}">
                <a16:creationId xmlns:a16="http://schemas.microsoft.com/office/drawing/2014/main" id="{FA7D6075-7F9C-4B54-865C-277424307497}"/>
              </a:ext>
            </a:extLst>
          </p:cNvPr>
          <p:cNvSpPr/>
          <p:nvPr/>
        </p:nvSpPr>
        <p:spPr>
          <a:xfrm>
            <a:off x="1806575" y="2816225"/>
            <a:ext cx="7056236"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sp>
        <p:nvSpPr>
          <p:cNvPr id="85" name="Rectangle 84">
            <a:extLst>
              <a:ext uri="{FF2B5EF4-FFF2-40B4-BE49-F238E27FC236}">
                <a16:creationId xmlns:a16="http://schemas.microsoft.com/office/drawing/2014/main" id="{860FC691-19B1-4BD3-8605-24FC7C680402}"/>
              </a:ext>
            </a:extLst>
          </p:cNvPr>
          <p:cNvSpPr/>
          <p:nvPr/>
        </p:nvSpPr>
        <p:spPr>
          <a:xfrm>
            <a:off x="1808364" y="1873250"/>
            <a:ext cx="7056236" cy="900113"/>
          </a:xfrm>
          <a:prstGeom prst="rect">
            <a:avLst/>
          </a:prstGeom>
          <a:solidFill>
            <a:schemeClr val="bg1">
              <a:lumMod val="95000"/>
            </a:schemeClr>
          </a:solidFill>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b="1" dirty="0">
              <a:solidFill>
                <a:srgbClr val="000000"/>
              </a:solidFill>
              <a:latin typeface="Corbel" panose="020B0503020204020204" pitchFamily="34" charset="0"/>
              <a:cs typeface="+mn-cs"/>
            </a:endParaRPr>
          </a:p>
        </p:txBody>
      </p:sp>
      <p:graphicFrame>
        <p:nvGraphicFramePr>
          <p:cNvPr id="353" name="Chart 352">
            <a:extLst>
              <a:ext uri="{FF2B5EF4-FFF2-40B4-BE49-F238E27FC236}">
                <a16:creationId xmlns:a16="http://schemas.microsoft.com/office/drawing/2014/main" id="{AF7165AF-022A-43DA-8BF8-91D7A7D56AFE}"/>
              </a:ext>
            </a:extLst>
          </p:cNvPr>
          <p:cNvGraphicFramePr/>
          <p:nvPr>
            <p:custDataLst>
              <p:tags r:id="rId6"/>
            </p:custDataLst>
          </p:nvPr>
        </p:nvGraphicFramePr>
        <p:xfrm>
          <a:off x="1806575" y="2890838"/>
          <a:ext cx="7070725" cy="893762"/>
        </p:xfrm>
        <a:graphic>
          <a:graphicData uri="http://schemas.openxmlformats.org/drawingml/2006/chart">
            <c:chart xmlns:c="http://schemas.openxmlformats.org/drawingml/2006/chart" xmlns:r="http://schemas.openxmlformats.org/officeDocument/2006/relationships" r:id="rId62"/>
          </a:graphicData>
        </a:graphic>
      </p:graphicFrame>
      <p:graphicFrame>
        <p:nvGraphicFramePr>
          <p:cNvPr id="354" name="Chart 353">
            <a:extLst>
              <a:ext uri="{FF2B5EF4-FFF2-40B4-BE49-F238E27FC236}">
                <a16:creationId xmlns:a16="http://schemas.microsoft.com/office/drawing/2014/main" id="{54848B0B-27FA-4548-92FB-C77369367D53}"/>
              </a:ext>
            </a:extLst>
          </p:cNvPr>
          <p:cNvGraphicFramePr/>
          <p:nvPr>
            <p:custDataLst>
              <p:tags r:id="rId7"/>
            </p:custDataLst>
          </p:nvPr>
        </p:nvGraphicFramePr>
        <p:xfrm>
          <a:off x="1806575" y="2009775"/>
          <a:ext cx="7070725" cy="830263"/>
        </p:xfrm>
        <a:graphic>
          <a:graphicData uri="http://schemas.openxmlformats.org/drawingml/2006/chart">
            <c:chart xmlns:c="http://schemas.openxmlformats.org/drawingml/2006/chart" xmlns:r="http://schemas.openxmlformats.org/officeDocument/2006/relationships" r:id="rId63"/>
          </a:graphicData>
        </a:graphic>
      </p:graphicFrame>
      <p:graphicFrame>
        <p:nvGraphicFramePr>
          <p:cNvPr id="215" name="Chart 214">
            <a:extLst>
              <a:ext uri="{FF2B5EF4-FFF2-40B4-BE49-F238E27FC236}">
                <a16:creationId xmlns:a16="http://schemas.microsoft.com/office/drawing/2014/main" id="{4687C29B-D92D-4240-B3D9-829375F20590}"/>
              </a:ext>
            </a:extLst>
          </p:cNvPr>
          <p:cNvGraphicFramePr/>
          <p:nvPr>
            <p:custDataLst>
              <p:tags r:id="rId8"/>
            </p:custDataLst>
          </p:nvPr>
        </p:nvGraphicFramePr>
        <p:xfrm>
          <a:off x="8901113" y="3698875"/>
          <a:ext cx="1008062" cy="841375"/>
        </p:xfrm>
        <a:graphic>
          <a:graphicData uri="http://schemas.openxmlformats.org/drawingml/2006/chart">
            <c:chart xmlns:c="http://schemas.openxmlformats.org/drawingml/2006/chart" xmlns:r="http://schemas.openxmlformats.org/officeDocument/2006/relationships" r:id="rId64"/>
          </a:graphicData>
        </a:graphic>
      </p:graphicFrame>
      <p:sp>
        <p:nvSpPr>
          <p:cNvPr id="218" name="Text Placeholder 5">
            <a:extLst>
              <a:ext uri="{FF2B5EF4-FFF2-40B4-BE49-F238E27FC236}">
                <a16:creationId xmlns:a16="http://schemas.microsoft.com/office/drawing/2014/main" id="{4B9982FA-94CE-476E-98B9-AED20350F85D}"/>
              </a:ext>
            </a:extLst>
          </p:cNvPr>
          <p:cNvSpPr>
            <a:spLocks noGrp="1"/>
          </p:cNvSpPr>
          <p:nvPr>
            <p:custDataLst>
              <p:tags r:id="rId9"/>
            </p:custDataLst>
          </p:nvPr>
        </p:nvSpPr>
        <p:spPr bwMode="auto">
          <a:xfrm>
            <a:off x="9028113" y="4491038"/>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66A0878-C4A0-4F65-9BD5-4E0E2C9AD2A4}" type="datetime'''''''''''''''''6''''''''''''''''''''''''''''''''0'''">
              <a:rPr lang="en-US" altLang="en-US" sz="800" b="1" smtClean="0">
                <a:latin typeface="+mn-lt"/>
                <a:sym typeface="+mn-lt"/>
              </a:rPr>
              <a:pPr algn="ctr">
                <a:spcBef>
                  <a:spcPct val="0"/>
                </a:spcBef>
              </a:pPr>
              <a:t>60</a:t>
            </a:fld>
            <a:endParaRPr lang="en-US" sz="800" b="1" dirty="0">
              <a:latin typeface="+mn-lt"/>
              <a:sym typeface="+mn-lt"/>
            </a:endParaRPr>
          </a:p>
        </p:txBody>
      </p:sp>
      <p:sp>
        <p:nvSpPr>
          <p:cNvPr id="219" name="Text Placeholder 5">
            <a:extLst>
              <a:ext uri="{FF2B5EF4-FFF2-40B4-BE49-F238E27FC236}">
                <a16:creationId xmlns:a16="http://schemas.microsoft.com/office/drawing/2014/main" id="{4B9982FA-94CE-476E-98B9-AED20350F85D}"/>
              </a:ext>
            </a:extLst>
          </p:cNvPr>
          <p:cNvSpPr>
            <a:spLocks noGrp="1"/>
          </p:cNvSpPr>
          <p:nvPr>
            <p:custDataLst>
              <p:tags r:id="rId10"/>
            </p:custDataLst>
          </p:nvPr>
        </p:nvSpPr>
        <p:spPr bwMode="auto">
          <a:xfrm>
            <a:off x="9240838"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173B5E2-5053-4B39-A431-15B84E1E7EB9}" type="datetime'''''''''''''''6''''''''''''''''1'''''">
              <a:rPr lang="en-US" altLang="en-US" sz="800" b="1" smtClean="0">
                <a:latin typeface="+mn-lt"/>
                <a:sym typeface="+mn-lt"/>
              </a:rPr>
              <a:pPr algn="ctr">
                <a:spcBef>
                  <a:spcPct val="0"/>
                </a:spcBef>
              </a:pPr>
              <a:t>61</a:t>
            </a:fld>
            <a:endParaRPr lang="en-US" sz="800" b="1" dirty="0">
              <a:latin typeface="+mn-lt"/>
              <a:sym typeface="+mn-lt"/>
            </a:endParaRPr>
          </a:p>
        </p:txBody>
      </p:sp>
      <p:sp>
        <p:nvSpPr>
          <p:cNvPr id="221" name="Text Placeholder 5">
            <a:extLst>
              <a:ext uri="{FF2B5EF4-FFF2-40B4-BE49-F238E27FC236}">
                <a16:creationId xmlns:a16="http://schemas.microsoft.com/office/drawing/2014/main" id="{4B9982FA-94CE-476E-98B9-AED20350F85D}"/>
              </a:ext>
            </a:extLst>
          </p:cNvPr>
          <p:cNvSpPr>
            <a:spLocks noGrp="1"/>
          </p:cNvSpPr>
          <p:nvPr>
            <p:custDataLst>
              <p:tags r:id="rId11"/>
            </p:custDataLst>
          </p:nvPr>
        </p:nvSpPr>
        <p:spPr bwMode="auto">
          <a:xfrm>
            <a:off x="9669463" y="4491038"/>
            <a:ext cx="1031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8BB9588-48A1-4667-A487-DB61AE449DFE}" type="datetime'''''''''''''''...'''''''''''''''''''''''''''''''''''''''''">
              <a:rPr lang="en-US" altLang="en-US" sz="800" b="1" smtClean="0"/>
              <a:pPr/>
              <a:t>...</a:t>
            </a:fld>
            <a:endParaRPr lang="en-US" sz="800" b="1" dirty="0">
              <a:latin typeface="+mn-lt"/>
              <a:sym typeface="+mn-lt"/>
            </a:endParaRPr>
          </a:p>
        </p:txBody>
      </p:sp>
      <p:sp>
        <p:nvSpPr>
          <p:cNvPr id="220" name="Text Placeholder 5">
            <a:extLst>
              <a:ext uri="{FF2B5EF4-FFF2-40B4-BE49-F238E27FC236}">
                <a16:creationId xmlns:a16="http://schemas.microsoft.com/office/drawing/2014/main" id="{4B9982FA-94CE-476E-98B9-AED20350F85D}"/>
              </a:ext>
            </a:extLst>
          </p:cNvPr>
          <p:cNvSpPr>
            <a:spLocks noGrp="1"/>
          </p:cNvSpPr>
          <p:nvPr>
            <p:custDataLst>
              <p:tags r:id="rId12"/>
            </p:custDataLst>
          </p:nvPr>
        </p:nvSpPr>
        <p:spPr bwMode="auto">
          <a:xfrm>
            <a:off x="9399588" y="4491038"/>
            <a:ext cx="2222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7839373-6172-402A-A907-D01CFB5EBD04}" type="datetime'''''''''2''''''062'''''''''''''''''''''''''">
              <a:rPr lang="en-US" altLang="en-US" sz="800" b="1" smtClean="0"/>
              <a:pPr/>
              <a:t>2062</a:t>
            </a:fld>
            <a:endParaRPr lang="en-US" sz="800" b="1" dirty="0">
              <a:latin typeface="+mn-lt"/>
              <a:sym typeface="+mn-lt"/>
            </a:endParaRPr>
          </a:p>
        </p:txBody>
      </p:sp>
      <p:graphicFrame>
        <p:nvGraphicFramePr>
          <p:cNvPr id="352" name="Chart 351">
            <a:extLst>
              <a:ext uri="{FF2B5EF4-FFF2-40B4-BE49-F238E27FC236}">
                <a16:creationId xmlns:a16="http://schemas.microsoft.com/office/drawing/2014/main" id="{B2FC9DAD-FEE6-4FCE-9CB4-2DB500F9C0FF}"/>
              </a:ext>
            </a:extLst>
          </p:cNvPr>
          <p:cNvGraphicFramePr/>
          <p:nvPr>
            <p:custDataLst>
              <p:tags r:id="rId13"/>
            </p:custDataLst>
          </p:nvPr>
        </p:nvGraphicFramePr>
        <p:xfrm>
          <a:off x="1806575" y="3698875"/>
          <a:ext cx="7070725" cy="841375"/>
        </p:xfrm>
        <a:graphic>
          <a:graphicData uri="http://schemas.openxmlformats.org/drawingml/2006/chart">
            <c:chart xmlns:c="http://schemas.openxmlformats.org/drawingml/2006/chart" xmlns:r="http://schemas.openxmlformats.org/officeDocument/2006/relationships" r:id="rId65"/>
          </a:graphicData>
        </a:graphic>
      </p:graphicFrame>
      <p:sp>
        <p:nvSpPr>
          <p:cNvPr id="319" name="Text Placeholder 5">
            <a:extLst>
              <a:ext uri="{FF2B5EF4-FFF2-40B4-BE49-F238E27FC236}">
                <a16:creationId xmlns:a16="http://schemas.microsoft.com/office/drawing/2014/main" id="{2838D3BF-63BF-45F7-9963-0318D6CA5024}"/>
              </a:ext>
            </a:extLst>
          </p:cNvPr>
          <p:cNvSpPr>
            <a:spLocks noGrp="1"/>
          </p:cNvSpPr>
          <p:nvPr>
            <p:custDataLst>
              <p:tags r:id="rId14"/>
            </p:custDataLst>
          </p:nvPr>
        </p:nvSpPr>
        <p:spPr bwMode="auto">
          <a:xfrm>
            <a:off x="2090738" y="4491038"/>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D0D24CA-B7F3-4385-976D-71C09E138B2D}" type="datetime'''''''''''''''2''''''''''''''''''''''''''''''''''''''1'">
              <a:rPr lang="en-US" altLang="en-US" sz="800" b="1" smtClean="0"/>
              <a:pPr/>
              <a:t>21</a:t>
            </a:fld>
            <a:endParaRPr lang="en-US" altLang="en-US" sz="800" b="1" dirty="0">
              <a:latin typeface="+mn-lt"/>
              <a:sym typeface="+mn-lt"/>
            </a:endParaRPr>
          </a:p>
        </p:txBody>
      </p:sp>
      <p:sp>
        <p:nvSpPr>
          <p:cNvPr id="249" name="Text Placeholder 5">
            <a:extLst>
              <a:ext uri="{FF2B5EF4-FFF2-40B4-BE49-F238E27FC236}">
                <a16:creationId xmlns:a16="http://schemas.microsoft.com/office/drawing/2014/main" id="{4B9982FA-94CE-476E-98B9-AED20350F85D}"/>
              </a:ext>
            </a:extLst>
          </p:cNvPr>
          <p:cNvSpPr>
            <a:spLocks noGrp="1"/>
          </p:cNvSpPr>
          <p:nvPr>
            <p:custDataLst>
              <p:tags r:id="rId15"/>
            </p:custDataLst>
          </p:nvPr>
        </p:nvSpPr>
        <p:spPr bwMode="auto">
          <a:xfrm>
            <a:off x="6578600" y="4491038"/>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9D5B5C3-A4DC-4FA7-B9B0-36D650FED39C}" type="datetime'''''''''''47'''''''''''''''''''''''''''''''''''">
              <a:rPr lang="en-US" altLang="en-US" sz="800" b="1" smtClean="0">
                <a:latin typeface="+mn-lt"/>
                <a:sym typeface="+mn-lt"/>
              </a:rPr>
              <a:pPr algn="ctr">
                <a:spcBef>
                  <a:spcPct val="0"/>
                </a:spcBef>
              </a:pPr>
              <a:t>47</a:t>
            </a:fld>
            <a:endParaRPr lang="en-US" sz="800" b="1" dirty="0">
              <a:latin typeface="+mn-lt"/>
              <a:sym typeface="+mn-lt"/>
            </a:endParaRPr>
          </a:p>
        </p:txBody>
      </p:sp>
      <p:sp>
        <p:nvSpPr>
          <p:cNvPr id="320" name="Text Placeholder 5">
            <a:extLst>
              <a:ext uri="{FF2B5EF4-FFF2-40B4-BE49-F238E27FC236}">
                <a16:creationId xmlns:a16="http://schemas.microsoft.com/office/drawing/2014/main" id="{992E4852-718A-4609-818A-E527A7C9CBB5}"/>
              </a:ext>
            </a:extLst>
          </p:cNvPr>
          <p:cNvSpPr>
            <a:spLocks noGrp="1"/>
          </p:cNvSpPr>
          <p:nvPr>
            <p:custDataLst>
              <p:tags r:id="rId16"/>
            </p:custDataLst>
          </p:nvPr>
        </p:nvSpPr>
        <p:spPr bwMode="auto">
          <a:xfrm>
            <a:off x="2263775" y="4491038"/>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478E912-0DAC-41BC-81F0-0F7B6D74D3DE}" type="datetime'22'''''''''''''''''''''''''''''''''''''''''">
              <a:rPr lang="en-US" altLang="en-US" sz="800" b="1" smtClean="0"/>
              <a:pPr/>
              <a:t>22</a:t>
            </a:fld>
            <a:endParaRPr lang="en-US" altLang="en-US" sz="800" b="1" dirty="0">
              <a:latin typeface="+mn-lt"/>
              <a:sym typeface="+mn-lt"/>
            </a:endParaRPr>
          </a:p>
        </p:txBody>
      </p:sp>
      <p:sp>
        <p:nvSpPr>
          <p:cNvPr id="226" name="Text Placeholder 5">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2782888" y="4491038"/>
            <a:ext cx="112713"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E83AC93-0950-45CD-87AC-BAF8B128E93A}" type="datetime'''''''2''''''''5'''''''''''''''''''''''''''''">
              <a:rPr lang="en-US" altLang="en-US" sz="800" b="1" smtClean="0"/>
              <a:pPr/>
              <a:t>25</a:t>
            </a:fld>
            <a:br>
              <a:rPr lang="en-US" altLang="en-US" sz="800" b="1" dirty="0">
                <a:latin typeface="+mn-lt"/>
                <a:sym typeface="+mn-lt"/>
              </a:rPr>
            </a:br>
            <a:endParaRPr lang="en-US" altLang="en-US" sz="800" b="1" dirty="0">
              <a:latin typeface="+mn-lt"/>
              <a:sym typeface="+mn-lt"/>
            </a:endParaRPr>
          </a:p>
        </p:txBody>
      </p:sp>
      <p:sp>
        <p:nvSpPr>
          <p:cNvPr id="233" name="Text Placeholder 5">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3990975"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DB651DE-13BF-42A2-8E4C-EE9C94B99DC0}" type="datetime'''''''''''''''''''''''''''''''''''''''''''''''''3''''''''2'''">
              <a:rPr lang="en-US" altLang="en-US" sz="800" b="1" smtClean="0">
                <a:latin typeface="+mn-lt"/>
                <a:sym typeface="+mn-lt"/>
              </a:rPr>
              <a:pPr algn="ctr">
                <a:spcBef>
                  <a:spcPct val="0"/>
                </a:spcBef>
              </a:pPr>
              <a:t>32</a:t>
            </a:fld>
            <a:endParaRPr lang="en-US" sz="800" b="1" dirty="0">
              <a:latin typeface="+mn-lt"/>
              <a:sym typeface="+mn-lt"/>
            </a:endParaRPr>
          </a:p>
        </p:txBody>
      </p:sp>
      <p:sp>
        <p:nvSpPr>
          <p:cNvPr id="322" name="Text Placeholder 5">
            <a:extLst>
              <a:ext uri="{FF2B5EF4-FFF2-40B4-BE49-F238E27FC236}">
                <a16:creationId xmlns:a16="http://schemas.microsoft.com/office/drawing/2014/main" id="{F998503C-8E74-4ECC-B1C3-3AD27589AB17}"/>
              </a:ext>
            </a:extLst>
          </p:cNvPr>
          <p:cNvSpPr>
            <a:spLocks noGrp="1"/>
          </p:cNvSpPr>
          <p:nvPr>
            <p:custDataLst>
              <p:tags r:id="rId19"/>
            </p:custDataLst>
          </p:nvPr>
        </p:nvSpPr>
        <p:spPr bwMode="auto">
          <a:xfrm>
            <a:off x="2606675"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2CCB502-4045-4348-80BD-BEE4796D5119}" type="datetime'24'''''''''''''''''''''''''''''''''''''''''''''''">
              <a:rPr lang="en-US" altLang="en-US" sz="800" b="1" smtClean="0"/>
              <a:pPr/>
              <a:t>24</a:t>
            </a:fld>
            <a:endParaRPr lang="en-US" altLang="en-US" sz="800" b="1" dirty="0">
              <a:latin typeface="+mn-lt"/>
              <a:sym typeface="+mn-lt"/>
            </a:endParaRPr>
          </a:p>
        </p:txBody>
      </p:sp>
      <p:sp>
        <p:nvSpPr>
          <p:cNvPr id="321" name="Text Placeholder 5">
            <a:extLst>
              <a:ext uri="{FF2B5EF4-FFF2-40B4-BE49-F238E27FC236}">
                <a16:creationId xmlns:a16="http://schemas.microsoft.com/office/drawing/2014/main" id="{660A303C-1209-4F07-A7B9-EC5844EA0C9B}"/>
              </a:ext>
            </a:extLst>
          </p:cNvPr>
          <p:cNvSpPr>
            <a:spLocks noGrp="1"/>
          </p:cNvSpPr>
          <p:nvPr>
            <p:custDataLst>
              <p:tags r:id="rId20"/>
            </p:custDataLst>
          </p:nvPr>
        </p:nvSpPr>
        <p:spPr bwMode="auto">
          <a:xfrm>
            <a:off x="2436813"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8F7A8BC-7C83-4E02-A484-C266B5FC528B}" type="datetime'''''''23'''''''''''''''''''''''''''''''''''''''''''''">
              <a:rPr lang="en-US" altLang="en-US" sz="800" b="1" smtClean="0"/>
              <a:pPr/>
              <a:t>23</a:t>
            </a:fld>
            <a:endParaRPr lang="en-US" altLang="en-US" sz="800" b="1" dirty="0">
              <a:latin typeface="+mn-lt"/>
              <a:sym typeface="+mn-lt"/>
            </a:endParaRPr>
          </a:p>
        </p:txBody>
      </p:sp>
      <p:sp>
        <p:nvSpPr>
          <p:cNvPr id="227" name="Text Placeholder 5">
            <a:extLst>
              <a:ext uri="{FF2B5EF4-FFF2-40B4-BE49-F238E27FC236}">
                <a16:creationId xmlns:a16="http://schemas.microsoft.com/office/drawing/2014/main" id="{4B9982FA-94CE-476E-98B9-AED20350F85D}"/>
              </a:ext>
            </a:extLst>
          </p:cNvPr>
          <p:cNvSpPr>
            <a:spLocks noGrp="1"/>
          </p:cNvSpPr>
          <p:nvPr>
            <p:custDataLst>
              <p:tags r:id="rId21"/>
            </p:custDataLst>
          </p:nvPr>
        </p:nvSpPr>
        <p:spPr bwMode="auto">
          <a:xfrm>
            <a:off x="2952750"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4E43526-985D-4EED-B123-C9EFD206E50A}" type="datetime'''''2''''''''''''''''6'''''''''''">
              <a:rPr lang="en-US" altLang="en-US" sz="800" b="1" smtClean="0">
                <a:latin typeface="+mn-lt"/>
                <a:sym typeface="+mn-lt"/>
              </a:rPr>
              <a:pPr algn="ctr">
                <a:spcBef>
                  <a:spcPct val="0"/>
                </a:spcBef>
              </a:pPr>
              <a:t>26</a:t>
            </a:fld>
            <a:endParaRPr lang="en-US" sz="800" b="1" dirty="0">
              <a:latin typeface="+mn-lt"/>
              <a:sym typeface="+mn-lt"/>
            </a:endParaRPr>
          </a:p>
        </p:txBody>
      </p:sp>
      <p:sp>
        <p:nvSpPr>
          <p:cNvPr id="228" name="Text Placeholder 5">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3127375"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092CA26-F077-49BE-9F3F-F043789D4762}" type="datetime'''''''''''''''''''''''''''''''''''''''''''''''''2''''''7'''''">
              <a:rPr lang="en-US" altLang="en-US" sz="800" b="1" smtClean="0">
                <a:latin typeface="+mn-lt"/>
                <a:sym typeface="+mn-lt"/>
              </a:rPr>
              <a:pPr algn="ctr">
                <a:spcBef>
                  <a:spcPct val="0"/>
                </a:spcBef>
              </a:pPr>
              <a:t>27</a:t>
            </a:fld>
            <a:endParaRPr lang="en-US" sz="800" b="1" dirty="0">
              <a:latin typeface="+mn-lt"/>
              <a:sym typeface="+mn-lt"/>
            </a:endParaRPr>
          </a:p>
        </p:txBody>
      </p:sp>
      <p:sp>
        <p:nvSpPr>
          <p:cNvPr id="229" name="Text Placeholder 5">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3295650" y="4491038"/>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453CE61-CBB8-4AE0-A9AC-686C117B256D}" type="datetime'''''''''''''''''''''''''''''''''''''''''2''''''8'''">
              <a:rPr lang="en-US" altLang="en-US" sz="800" b="1" smtClean="0">
                <a:latin typeface="+mn-lt"/>
                <a:sym typeface="+mn-lt"/>
              </a:rPr>
              <a:pPr algn="ctr">
                <a:spcBef>
                  <a:spcPct val="0"/>
                </a:spcBef>
              </a:pPr>
              <a:t>28</a:t>
            </a:fld>
            <a:endParaRPr lang="en-US" sz="800" b="1" dirty="0">
              <a:latin typeface="+mn-lt"/>
              <a:sym typeface="+mn-lt"/>
            </a:endParaRPr>
          </a:p>
        </p:txBody>
      </p:sp>
      <p:sp>
        <p:nvSpPr>
          <p:cNvPr id="234" name="Text Placeholder 5">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4164013"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BB46E25-7B58-42BE-A510-6D58C6A8BB6D}" type="datetime'''''''''''''3''''''''''''''''''3'">
              <a:rPr lang="en-US" altLang="en-US" sz="800" b="1" smtClean="0">
                <a:latin typeface="+mn-lt"/>
                <a:sym typeface="+mn-lt"/>
              </a:rPr>
              <a:pPr algn="ctr">
                <a:spcBef>
                  <a:spcPct val="0"/>
                </a:spcBef>
              </a:pPr>
              <a:t>33</a:t>
            </a:fld>
            <a:endParaRPr lang="en-US" sz="800" b="1" dirty="0">
              <a:latin typeface="+mn-lt"/>
              <a:sym typeface="+mn-lt"/>
            </a:endParaRPr>
          </a:p>
        </p:txBody>
      </p:sp>
      <p:sp>
        <p:nvSpPr>
          <p:cNvPr id="230" name="Text Placeholder 5">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3470275"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16FB47E-4974-42CB-9C86-0AB0C22BAA7F}" type="datetime'''''2''''''''''''''''9'''''''''''''''''''''''''">
              <a:rPr lang="en-US" altLang="en-US" sz="800" b="1" smtClean="0">
                <a:latin typeface="+mn-lt"/>
                <a:sym typeface="+mn-lt"/>
              </a:rPr>
              <a:pPr algn="ctr">
                <a:spcBef>
                  <a:spcPct val="0"/>
                </a:spcBef>
              </a:pPr>
              <a:t>29</a:t>
            </a:fld>
            <a:endParaRPr lang="en-US" sz="800" b="1" dirty="0">
              <a:latin typeface="+mn-lt"/>
              <a:sym typeface="+mn-lt"/>
            </a:endParaRPr>
          </a:p>
        </p:txBody>
      </p:sp>
      <p:sp>
        <p:nvSpPr>
          <p:cNvPr id="244" name="Text Placeholder 5">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5888038" y="4491038"/>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FD51AA5-CE23-4F0C-AC5B-06847E4AB03A}" type="datetime'''''''''''''4''3'''''''''''''''''''''''''''''''''''''''''''">
              <a:rPr lang="en-US" altLang="en-US" sz="800" b="1" smtClean="0">
                <a:latin typeface="+mn-lt"/>
                <a:sym typeface="+mn-lt"/>
              </a:rPr>
              <a:pPr algn="ctr">
                <a:spcBef>
                  <a:spcPct val="0"/>
                </a:spcBef>
              </a:pPr>
              <a:t>43</a:t>
            </a:fld>
            <a:endParaRPr lang="en-US" sz="800" b="1" dirty="0">
              <a:latin typeface="+mn-lt"/>
              <a:sym typeface="+mn-lt"/>
            </a:endParaRPr>
          </a:p>
        </p:txBody>
      </p:sp>
      <p:sp>
        <p:nvSpPr>
          <p:cNvPr id="231" name="Text Placeholder 5">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3644900" y="4491038"/>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8E168DD-8A19-4436-B396-FE38EF277F1A}" type="datetime'''''''''''''''3''''''''''''''''''''''''0'''">
              <a:rPr lang="en-US" altLang="en-US" sz="800" b="1" smtClean="0">
                <a:latin typeface="+mn-lt"/>
                <a:sym typeface="+mn-lt"/>
              </a:rPr>
              <a:pPr algn="ctr">
                <a:spcBef>
                  <a:spcPct val="0"/>
                </a:spcBef>
              </a:pPr>
              <a:t>30</a:t>
            </a:fld>
            <a:endParaRPr lang="en-US" sz="800" b="1" dirty="0">
              <a:latin typeface="+mn-lt"/>
              <a:sym typeface="+mn-lt"/>
            </a:endParaRPr>
          </a:p>
        </p:txBody>
      </p:sp>
      <p:sp>
        <p:nvSpPr>
          <p:cNvPr id="232" name="Text Placeholder 5">
            <a:extLst>
              <a:ext uri="{FF2B5EF4-FFF2-40B4-BE49-F238E27FC236}">
                <a16:creationId xmlns:a16="http://schemas.microsoft.com/office/drawing/2014/main" id="{4B9982FA-94CE-476E-98B9-AED20350F85D}"/>
              </a:ext>
            </a:extLst>
          </p:cNvPr>
          <p:cNvSpPr>
            <a:spLocks noGrp="1"/>
          </p:cNvSpPr>
          <p:nvPr>
            <p:custDataLst>
              <p:tags r:id="rId28"/>
            </p:custDataLst>
          </p:nvPr>
        </p:nvSpPr>
        <p:spPr bwMode="auto">
          <a:xfrm>
            <a:off x="3817938"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715561C-F087-44E8-9724-42EA86C60131}" type="datetime'''''''''''''''''''''''3''''''''''''''''''''1'''''''''''''''''">
              <a:rPr lang="en-US" altLang="en-US" sz="800" b="1" smtClean="0">
                <a:latin typeface="+mn-lt"/>
                <a:sym typeface="+mn-lt"/>
              </a:rPr>
              <a:pPr algn="ctr">
                <a:spcBef>
                  <a:spcPct val="0"/>
                </a:spcBef>
              </a:pPr>
              <a:t>31</a:t>
            </a:fld>
            <a:endParaRPr lang="en-US" sz="800" b="1" dirty="0">
              <a:latin typeface="+mn-lt"/>
              <a:sym typeface="+mn-lt"/>
            </a:endParaRPr>
          </a:p>
        </p:txBody>
      </p:sp>
      <p:sp>
        <p:nvSpPr>
          <p:cNvPr id="251" name="Text Placeholder 5">
            <a:extLst>
              <a:ext uri="{FF2B5EF4-FFF2-40B4-BE49-F238E27FC236}">
                <a16:creationId xmlns:a16="http://schemas.microsoft.com/office/drawing/2014/main" id="{4B9982FA-94CE-476E-98B9-AED20350F85D}"/>
              </a:ext>
            </a:extLst>
          </p:cNvPr>
          <p:cNvSpPr>
            <a:spLocks noGrp="1"/>
          </p:cNvSpPr>
          <p:nvPr>
            <p:custDataLst>
              <p:tags r:id="rId29"/>
            </p:custDataLst>
          </p:nvPr>
        </p:nvSpPr>
        <p:spPr bwMode="auto">
          <a:xfrm>
            <a:off x="6746875" y="4491038"/>
            <a:ext cx="1238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F616BBD-7772-4C93-9B29-862BA221A655}" type="datetime'''''''''''''''''''''''''''''''''4''''''''''''''8'">
              <a:rPr lang="en-US" altLang="en-US" sz="800" b="1" smtClean="0">
                <a:latin typeface="+mn-lt"/>
                <a:sym typeface="+mn-lt"/>
              </a:rPr>
              <a:pPr algn="ctr">
                <a:spcBef>
                  <a:spcPct val="0"/>
                </a:spcBef>
              </a:pPr>
              <a:t>48</a:t>
            </a:fld>
            <a:endParaRPr lang="en-US" sz="800" b="1" dirty="0">
              <a:latin typeface="+mn-lt"/>
              <a:sym typeface="+mn-lt"/>
            </a:endParaRPr>
          </a:p>
        </p:txBody>
      </p:sp>
      <p:sp>
        <p:nvSpPr>
          <p:cNvPr id="235" name="Text Placeholder 5">
            <a:extLst>
              <a:ext uri="{FF2B5EF4-FFF2-40B4-BE49-F238E27FC236}">
                <a16:creationId xmlns:a16="http://schemas.microsoft.com/office/drawing/2014/main" id="{4B9982FA-94CE-476E-98B9-AED20350F85D}"/>
              </a:ext>
            </a:extLst>
          </p:cNvPr>
          <p:cNvSpPr>
            <a:spLocks noGrp="1"/>
          </p:cNvSpPr>
          <p:nvPr>
            <p:custDataLst>
              <p:tags r:id="rId30"/>
            </p:custDataLst>
          </p:nvPr>
        </p:nvSpPr>
        <p:spPr bwMode="auto">
          <a:xfrm>
            <a:off x="4335463" y="4491038"/>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656CE2D-6D1E-478D-92ED-93B0E522382E}" type="datetime'''''3''''''''''''''''''''''''''''''''''''''''''4'''''''''''''">
              <a:rPr lang="en-US" altLang="en-US" sz="800" b="1" smtClean="0">
                <a:latin typeface="+mn-lt"/>
                <a:sym typeface="+mn-lt"/>
              </a:rPr>
              <a:pPr algn="ctr">
                <a:spcBef>
                  <a:spcPct val="0"/>
                </a:spcBef>
              </a:pPr>
              <a:t>34</a:t>
            </a:fld>
            <a:endParaRPr lang="en-US" sz="800" b="1" dirty="0">
              <a:latin typeface="+mn-lt"/>
              <a:sym typeface="+mn-lt"/>
            </a:endParaRPr>
          </a:p>
        </p:txBody>
      </p:sp>
      <p:sp>
        <p:nvSpPr>
          <p:cNvPr id="238" name="Text Placeholder 5">
            <a:extLst>
              <a:ext uri="{FF2B5EF4-FFF2-40B4-BE49-F238E27FC236}">
                <a16:creationId xmlns:a16="http://schemas.microsoft.com/office/drawing/2014/main" id="{4B9982FA-94CE-476E-98B9-AED20350F85D}"/>
              </a:ext>
            </a:extLst>
          </p:cNvPr>
          <p:cNvSpPr>
            <a:spLocks noGrp="1"/>
          </p:cNvSpPr>
          <p:nvPr>
            <p:custDataLst>
              <p:tags r:id="rId31"/>
            </p:custDataLst>
          </p:nvPr>
        </p:nvSpPr>
        <p:spPr bwMode="auto">
          <a:xfrm>
            <a:off x="4854575"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5E814DF-885B-4FD7-A2D9-205387933480}" type="datetime'3''''''''''''''''''7'''''''">
              <a:rPr lang="en-US" altLang="en-US" sz="800" b="1" smtClean="0">
                <a:latin typeface="+mn-lt"/>
                <a:sym typeface="+mn-lt"/>
              </a:rPr>
              <a:pPr algn="ctr">
                <a:spcBef>
                  <a:spcPct val="0"/>
                </a:spcBef>
              </a:pPr>
              <a:t>37</a:t>
            </a:fld>
            <a:endParaRPr lang="en-US" sz="800" b="1" dirty="0">
              <a:latin typeface="+mn-lt"/>
              <a:sym typeface="+mn-lt"/>
            </a:endParaRPr>
          </a:p>
        </p:txBody>
      </p:sp>
      <p:sp>
        <p:nvSpPr>
          <p:cNvPr id="236" name="Text Placeholder 5">
            <a:extLst>
              <a:ext uri="{FF2B5EF4-FFF2-40B4-BE49-F238E27FC236}">
                <a16:creationId xmlns:a16="http://schemas.microsoft.com/office/drawing/2014/main" id="{4B9982FA-94CE-476E-98B9-AED20350F85D}"/>
              </a:ext>
            </a:extLst>
          </p:cNvPr>
          <p:cNvSpPr>
            <a:spLocks noGrp="1"/>
          </p:cNvSpPr>
          <p:nvPr>
            <p:custDataLst>
              <p:tags r:id="rId32"/>
            </p:custDataLst>
          </p:nvPr>
        </p:nvSpPr>
        <p:spPr bwMode="auto">
          <a:xfrm>
            <a:off x="4508500"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4904552-082E-4E44-B948-EC1D8E7FE9BB}" type="datetime'''''''''''''''''''''''''''''3''''''''''''5'''''''">
              <a:rPr lang="en-US" altLang="en-US" sz="800" b="1" smtClean="0">
                <a:latin typeface="+mn-lt"/>
                <a:sym typeface="+mn-lt"/>
              </a:rPr>
              <a:pPr algn="ctr">
                <a:spcBef>
                  <a:spcPct val="0"/>
                </a:spcBef>
              </a:pPr>
              <a:t>35</a:t>
            </a:fld>
            <a:endParaRPr lang="en-US" sz="800" b="1" dirty="0">
              <a:latin typeface="+mn-lt"/>
              <a:sym typeface="+mn-lt"/>
            </a:endParaRPr>
          </a:p>
        </p:txBody>
      </p:sp>
      <p:sp>
        <p:nvSpPr>
          <p:cNvPr id="318" name="Text Placeholder 5">
            <a:extLst>
              <a:ext uri="{FF2B5EF4-FFF2-40B4-BE49-F238E27FC236}">
                <a16:creationId xmlns:a16="http://schemas.microsoft.com/office/drawing/2014/main" id="{C86D7DAC-F3FE-4AB4-A3F2-33B7B1C53916}"/>
              </a:ext>
            </a:extLst>
          </p:cNvPr>
          <p:cNvSpPr>
            <a:spLocks noGrp="1"/>
          </p:cNvSpPr>
          <p:nvPr>
            <p:custDataLst>
              <p:tags r:id="rId33"/>
            </p:custDataLst>
          </p:nvPr>
        </p:nvSpPr>
        <p:spPr bwMode="auto">
          <a:xfrm>
            <a:off x="1865313" y="4491038"/>
            <a:ext cx="219075" cy="2190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US" altLang="en-US" sz="800" b="1" dirty="0"/>
              <a:t>2020</a:t>
            </a:r>
          </a:p>
          <a:p>
            <a:pPr algn="ctr">
              <a:spcBef>
                <a:spcPct val="0"/>
              </a:spcBef>
            </a:pPr>
            <a:endParaRPr lang="en-US" altLang="en-US" sz="800" b="1" dirty="0">
              <a:latin typeface="+mn-lt"/>
              <a:sym typeface="+mn-lt"/>
            </a:endParaRPr>
          </a:p>
        </p:txBody>
      </p:sp>
      <p:sp>
        <p:nvSpPr>
          <p:cNvPr id="239" name="Text Placeholder 5">
            <a:extLst>
              <a:ext uri="{FF2B5EF4-FFF2-40B4-BE49-F238E27FC236}">
                <a16:creationId xmlns:a16="http://schemas.microsoft.com/office/drawing/2014/main" id="{4B9982FA-94CE-476E-98B9-AED20350F85D}"/>
              </a:ext>
            </a:extLst>
          </p:cNvPr>
          <p:cNvSpPr>
            <a:spLocks noGrp="1"/>
          </p:cNvSpPr>
          <p:nvPr>
            <p:custDataLst>
              <p:tags r:id="rId34"/>
            </p:custDataLst>
          </p:nvPr>
        </p:nvSpPr>
        <p:spPr bwMode="auto">
          <a:xfrm>
            <a:off x="5024438"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6178ACD-457D-4E23-B62A-AB6BA6AA1017}" type="datetime'''''''''''3''8'''''''''''''''''''''''''''''''''''">
              <a:rPr lang="en-US" altLang="en-US" sz="800" b="1" smtClean="0">
                <a:latin typeface="+mn-lt"/>
                <a:sym typeface="+mn-lt"/>
              </a:rPr>
              <a:pPr algn="ctr">
                <a:spcBef>
                  <a:spcPct val="0"/>
                </a:spcBef>
              </a:pPr>
              <a:t>38</a:t>
            </a:fld>
            <a:endParaRPr lang="en-US" sz="800" b="1" dirty="0">
              <a:latin typeface="+mn-lt"/>
              <a:sym typeface="+mn-lt"/>
            </a:endParaRPr>
          </a:p>
        </p:txBody>
      </p:sp>
      <p:sp>
        <p:nvSpPr>
          <p:cNvPr id="240" name="Text Placeholder 5">
            <a:extLst>
              <a:ext uri="{FF2B5EF4-FFF2-40B4-BE49-F238E27FC236}">
                <a16:creationId xmlns:a16="http://schemas.microsoft.com/office/drawing/2014/main" id="{4B9982FA-94CE-476E-98B9-AED20350F85D}"/>
              </a:ext>
            </a:extLst>
          </p:cNvPr>
          <p:cNvSpPr>
            <a:spLocks noGrp="1"/>
          </p:cNvSpPr>
          <p:nvPr>
            <p:custDataLst>
              <p:tags r:id="rId35"/>
            </p:custDataLst>
          </p:nvPr>
        </p:nvSpPr>
        <p:spPr bwMode="auto">
          <a:xfrm>
            <a:off x="5195888"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EB29D70-B215-4EAB-875E-601ABE549C1B}" type="datetime'''''''''''''''3''''''''''''''''''''''''9'''''''''''''''''''''">
              <a:rPr lang="en-US" altLang="en-US" sz="800" b="1" smtClean="0">
                <a:latin typeface="+mn-lt"/>
                <a:sym typeface="+mn-lt"/>
              </a:rPr>
              <a:pPr algn="ctr">
                <a:spcBef>
                  <a:spcPct val="0"/>
                </a:spcBef>
              </a:pPr>
              <a:t>39</a:t>
            </a:fld>
            <a:endParaRPr lang="en-US" sz="800" b="1" dirty="0">
              <a:latin typeface="+mn-lt"/>
              <a:sym typeface="+mn-lt"/>
            </a:endParaRPr>
          </a:p>
        </p:txBody>
      </p:sp>
      <p:sp>
        <p:nvSpPr>
          <p:cNvPr id="241" name="Text Placeholder 5">
            <a:extLst>
              <a:ext uri="{FF2B5EF4-FFF2-40B4-BE49-F238E27FC236}">
                <a16:creationId xmlns:a16="http://schemas.microsoft.com/office/drawing/2014/main" id="{4B9982FA-94CE-476E-98B9-AED20350F85D}"/>
              </a:ext>
            </a:extLst>
          </p:cNvPr>
          <p:cNvSpPr>
            <a:spLocks noGrp="1"/>
          </p:cNvSpPr>
          <p:nvPr>
            <p:custDataLst>
              <p:tags r:id="rId36"/>
            </p:custDataLst>
          </p:nvPr>
        </p:nvSpPr>
        <p:spPr bwMode="auto">
          <a:xfrm>
            <a:off x="5368925"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6A5D876-B0ED-44E6-808C-417A9475ABC3}" type="datetime'''''''4''''''''''''''''''0'''''''''''''''''''''''''''''">
              <a:rPr lang="en-US" altLang="en-US" sz="800" b="1" smtClean="0">
                <a:latin typeface="+mn-lt"/>
                <a:sym typeface="+mn-lt"/>
              </a:rPr>
              <a:pPr algn="ctr">
                <a:spcBef>
                  <a:spcPct val="0"/>
                </a:spcBef>
              </a:pPr>
              <a:t>40</a:t>
            </a:fld>
            <a:endParaRPr lang="en-US" sz="800" b="1" dirty="0">
              <a:latin typeface="+mn-lt"/>
              <a:sym typeface="+mn-lt"/>
            </a:endParaRPr>
          </a:p>
        </p:txBody>
      </p:sp>
      <p:sp>
        <p:nvSpPr>
          <p:cNvPr id="264" name="Text Placeholder 5">
            <a:extLst>
              <a:ext uri="{FF2B5EF4-FFF2-40B4-BE49-F238E27FC236}">
                <a16:creationId xmlns:a16="http://schemas.microsoft.com/office/drawing/2014/main" id="{4B9982FA-94CE-476E-98B9-AED20350F85D}"/>
              </a:ext>
            </a:extLst>
          </p:cNvPr>
          <p:cNvSpPr>
            <a:spLocks noGrp="1"/>
          </p:cNvSpPr>
          <p:nvPr>
            <p:custDataLst>
              <p:tags r:id="rId37"/>
            </p:custDataLst>
          </p:nvPr>
        </p:nvSpPr>
        <p:spPr bwMode="auto">
          <a:xfrm>
            <a:off x="8477250" y="4491038"/>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29754ED-A118-4B27-B0A8-A500AAEFB8AA}" type="datetime'''5''''''''''''''''''''''''8'''''''''''''''">
              <a:rPr lang="en-US" altLang="en-US" sz="800" b="1" smtClean="0">
                <a:latin typeface="+mn-lt"/>
                <a:sym typeface="+mn-lt"/>
              </a:rPr>
              <a:pPr algn="ctr">
                <a:spcBef>
                  <a:spcPct val="0"/>
                </a:spcBef>
              </a:pPr>
              <a:t>58</a:t>
            </a:fld>
            <a:endParaRPr lang="en-US" sz="800" b="1" dirty="0">
              <a:latin typeface="+mn-lt"/>
              <a:sym typeface="+mn-lt"/>
            </a:endParaRPr>
          </a:p>
        </p:txBody>
      </p:sp>
      <p:sp>
        <p:nvSpPr>
          <p:cNvPr id="242" name="Text Placeholder 5">
            <a:extLst>
              <a:ext uri="{FF2B5EF4-FFF2-40B4-BE49-F238E27FC236}">
                <a16:creationId xmlns:a16="http://schemas.microsoft.com/office/drawing/2014/main" id="{4B9982FA-94CE-476E-98B9-AED20350F85D}"/>
              </a:ext>
            </a:extLst>
          </p:cNvPr>
          <p:cNvSpPr>
            <a:spLocks noGrp="1"/>
          </p:cNvSpPr>
          <p:nvPr>
            <p:custDataLst>
              <p:tags r:id="rId38"/>
            </p:custDataLst>
          </p:nvPr>
        </p:nvSpPr>
        <p:spPr bwMode="auto">
          <a:xfrm>
            <a:off x="5541963"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836A7A3-D089-4F09-9F5D-00A1687C4856}" type="datetime'''''''''''''''''''''4''''''''''''''''''''1'''''''''''''''''''">
              <a:rPr lang="en-US" altLang="en-US" sz="800" b="1" smtClean="0">
                <a:latin typeface="+mn-lt"/>
                <a:sym typeface="+mn-lt"/>
              </a:rPr>
              <a:pPr algn="ctr">
                <a:spcBef>
                  <a:spcPct val="0"/>
                </a:spcBef>
              </a:pPr>
              <a:t>41</a:t>
            </a:fld>
            <a:endParaRPr lang="en-US" sz="800" b="1" dirty="0">
              <a:latin typeface="+mn-lt"/>
              <a:sym typeface="+mn-lt"/>
            </a:endParaRPr>
          </a:p>
        </p:txBody>
      </p:sp>
      <p:sp>
        <p:nvSpPr>
          <p:cNvPr id="243" name="Text Placeholder 5">
            <a:extLst>
              <a:ext uri="{FF2B5EF4-FFF2-40B4-BE49-F238E27FC236}">
                <a16:creationId xmlns:a16="http://schemas.microsoft.com/office/drawing/2014/main" id="{4B9982FA-94CE-476E-98B9-AED20350F85D}"/>
              </a:ext>
            </a:extLst>
          </p:cNvPr>
          <p:cNvSpPr>
            <a:spLocks noGrp="1"/>
          </p:cNvSpPr>
          <p:nvPr>
            <p:custDataLst>
              <p:tags r:id="rId39"/>
            </p:custDataLst>
          </p:nvPr>
        </p:nvSpPr>
        <p:spPr bwMode="auto">
          <a:xfrm>
            <a:off x="5715000"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D38D9D6-0F77-4DE1-9586-C92C23EC5FA8}" type="datetime'''''4''''''''''''''''''''''''''''''''2'''''''">
              <a:rPr lang="en-US" altLang="en-US" sz="800" b="1" smtClean="0">
                <a:latin typeface="+mn-lt"/>
                <a:sym typeface="+mn-lt"/>
              </a:rPr>
              <a:pPr algn="ctr">
                <a:spcBef>
                  <a:spcPct val="0"/>
                </a:spcBef>
              </a:pPr>
              <a:t>42</a:t>
            </a:fld>
            <a:endParaRPr lang="en-US" sz="800" b="1" dirty="0">
              <a:latin typeface="+mn-lt"/>
              <a:sym typeface="+mn-lt"/>
            </a:endParaRPr>
          </a:p>
        </p:txBody>
      </p:sp>
      <p:sp>
        <p:nvSpPr>
          <p:cNvPr id="245" name="Text Placeholder 5">
            <a:extLst>
              <a:ext uri="{FF2B5EF4-FFF2-40B4-BE49-F238E27FC236}">
                <a16:creationId xmlns:a16="http://schemas.microsoft.com/office/drawing/2014/main" id="{4B9982FA-94CE-476E-98B9-AED20350F85D}"/>
              </a:ext>
            </a:extLst>
          </p:cNvPr>
          <p:cNvSpPr>
            <a:spLocks noGrp="1"/>
          </p:cNvSpPr>
          <p:nvPr>
            <p:custDataLst>
              <p:tags r:id="rId40"/>
            </p:custDataLst>
          </p:nvPr>
        </p:nvSpPr>
        <p:spPr bwMode="auto">
          <a:xfrm>
            <a:off x="6057900" y="4491038"/>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CEA8972-71BA-4B94-814B-799CA3FDC01B}" type="datetime'''''''''''''''4''''''''''''''''''''''4'''''''''">
              <a:rPr lang="en-US" altLang="en-US" sz="800" b="1" smtClean="0">
                <a:latin typeface="+mn-lt"/>
                <a:sym typeface="+mn-lt"/>
              </a:rPr>
              <a:pPr algn="ctr">
                <a:spcBef>
                  <a:spcPct val="0"/>
                </a:spcBef>
              </a:pPr>
              <a:t>44</a:t>
            </a:fld>
            <a:endParaRPr lang="en-US" sz="800" b="1" dirty="0">
              <a:latin typeface="+mn-lt"/>
              <a:sym typeface="+mn-lt"/>
            </a:endParaRPr>
          </a:p>
        </p:txBody>
      </p:sp>
      <p:sp>
        <p:nvSpPr>
          <p:cNvPr id="246" name="Text Placeholder 5">
            <a:extLst>
              <a:ext uri="{FF2B5EF4-FFF2-40B4-BE49-F238E27FC236}">
                <a16:creationId xmlns:a16="http://schemas.microsoft.com/office/drawing/2014/main" id="{4B9982FA-94CE-476E-98B9-AED20350F85D}"/>
              </a:ext>
            </a:extLst>
          </p:cNvPr>
          <p:cNvSpPr>
            <a:spLocks noGrp="1"/>
          </p:cNvSpPr>
          <p:nvPr>
            <p:custDataLst>
              <p:tags r:id="rId41"/>
            </p:custDataLst>
          </p:nvPr>
        </p:nvSpPr>
        <p:spPr bwMode="auto">
          <a:xfrm>
            <a:off x="6234113" y="4491038"/>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A79AF8F-A700-4DC3-B2DC-5AE29BCFC273}" type="datetime'''''''''''''''''''''''''''''4''''''''5'''''">
              <a:rPr lang="en-US" altLang="en-US" sz="800" b="1" smtClean="0">
                <a:latin typeface="+mn-lt"/>
                <a:sym typeface="+mn-lt"/>
              </a:rPr>
              <a:pPr algn="ctr">
                <a:spcBef>
                  <a:spcPct val="0"/>
                </a:spcBef>
              </a:pPr>
              <a:t>45</a:t>
            </a:fld>
            <a:endParaRPr lang="en-US" sz="800" b="1" dirty="0">
              <a:latin typeface="+mn-lt"/>
              <a:sym typeface="+mn-lt"/>
            </a:endParaRPr>
          </a:p>
        </p:txBody>
      </p:sp>
      <p:sp>
        <p:nvSpPr>
          <p:cNvPr id="247" name="Text Placeholder 5">
            <a:extLst>
              <a:ext uri="{FF2B5EF4-FFF2-40B4-BE49-F238E27FC236}">
                <a16:creationId xmlns:a16="http://schemas.microsoft.com/office/drawing/2014/main" id="{4B9982FA-94CE-476E-98B9-AED20350F85D}"/>
              </a:ext>
            </a:extLst>
          </p:cNvPr>
          <p:cNvSpPr>
            <a:spLocks noGrp="1"/>
          </p:cNvSpPr>
          <p:nvPr>
            <p:custDataLst>
              <p:tags r:id="rId42"/>
            </p:custDataLst>
          </p:nvPr>
        </p:nvSpPr>
        <p:spPr bwMode="auto">
          <a:xfrm>
            <a:off x="6403975" y="4491038"/>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3F718F6-BEF0-4AE8-BB42-1C2789C30295}" type="datetime'''''''''''''''''''''''''''4''''''''''''''''''''6'''''''''">
              <a:rPr lang="en-US" altLang="en-US" sz="800" b="1" smtClean="0">
                <a:latin typeface="+mn-lt"/>
                <a:sym typeface="+mn-lt"/>
              </a:rPr>
              <a:pPr algn="ctr">
                <a:spcBef>
                  <a:spcPct val="0"/>
                </a:spcBef>
              </a:pPr>
              <a:t>46</a:t>
            </a:fld>
            <a:endParaRPr lang="en-US" sz="800" b="1" dirty="0">
              <a:latin typeface="+mn-lt"/>
              <a:sym typeface="+mn-lt"/>
            </a:endParaRPr>
          </a:p>
        </p:txBody>
      </p:sp>
      <p:sp>
        <p:nvSpPr>
          <p:cNvPr id="252" name="Text Placeholder 5">
            <a:extLst>
              <a:ext uri="{FF2B5EF4-FFF2-40B4-BE49-F238E27FC236}">
                <a16:creationId xmlns:a16="http://schemas.microsoft.com/office/drawing/2014/main" id="{4B9982FA-94CE-476E-98B9-AED20350F85D}"/>
              </a:ext>
            </a:extLst>
          </p:cNvPr>
          <p:cNvSpPr>
            <a:spLocks noGrp="1"/>
          </p:cNvSpPr>
          <p:nvPr>
            <p:custDataLst>
              <p:tags r:id="rId43"/>
            </p:custDataLst>
          </p:nvPr>
        </p:nvSpPr>
        <p:spPr bwMode="auto">
          <a:xfrm>
            <a:off x="6921500" y="4491038"/>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EA17220-2CE8-447E-AF1D-65A1E45EF966}" type="datetime'4''''''''''''9'''''''''''''''''''''''''''''''">
              <a:rPr lang="en-US" altLang="en-US" sz="800" b="1" smtClean="0">
                <a:latin typeface="+mn-lt"/>
                <a:sym typeface="+mn-lt"/>
              </a:rPr>
              <a:pPr algn="ctr">
                <a:spcBef>
                  <a:spcPct val="0"/>
                </a:spcBef>
              </a:pPr>
              <a:t>49</a:t>
            </a:fld>
            <a:endParaRPr lang="en-US" sz="800" b="1" dirty="0">
              <a:latin typeface="+mn-lt"/>
              <a:sym typeface="+mn-lt"/>
            </a:endParaRPr>
          </a:p>
        </p:txBody>
      </p:sp>
      <p:sp>
        <p:nvSpPr>
          <p:cNvPr id="253" name="Text Placeholder 5">
            <a:extLst>
              <a:ext uri="{FF2B5EF4-FFF2-40B4-BE49-F238E27FC236}">
                <a16:creationId xmlns:a16="http://schemas.microsoft.com/office/drawing/2014/main" id="{4B9982FA-94CE-476E-98B9-AED20350F85D}"/>
              </a:ext>
            </a:extLst>
          </p:cNvPr>
          <p:cNvSpPr>
            <a:spLocks noGrp="1"/>
          </p:cNvSpPr>
          <p:nvPr>
            <p:custDataLst>
              <p:tags r:id="rId44"/>
            </p:custDataLst>
          </p:nvPr>
        </p:nvSpPr>
        <p:spPr bwMode="auto">
          <a:xfrm>
            <a:off x="7097713" y="4491038"/>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C0BCA56-8E8B-424F-91A5-AB8D29AD37B0}" type="datetime'''''''5''''''''''''0'''''''''''''''''''''">
              <a:rPr lang="en-US" altLang="en-US" sz="800" b="1" smtClean="0">
                <a:latin typeface="+mn-lt"/>
                <a:sym typeface="+mn-lt"/>
              </a:rPr>
              <a:pPr algn="ctr">
                <a:spcBef>
                  <a:spcPct val="0"/>
                </a:spcBef>
              </a:pPr>
              <a:t>50</a:t>
            </a:fld>
            <a:endParaRPr lang="en-US" sz="800" b="1" dirty="0">
              <a:latin typeface="+mn-lt"/>
              <a:sym typeface="+mn-lt"/>
            </a:endParaRPr>
          </a:p>
        </p:txBody>
      </p:sp>
      <p:sp>
        <p:nvSpPr>
          <p:cNvPr id="254" name="Text Placeholder 5">
            <a:extLst>
              <a:ext uri="{FF2B5EF4-FFF2-40B4-BE49-F238E27FC236}">
                <a16:creationId xmlns:a16="http://schemas.microsoft.com/office/drawing/2014/main" id="{4B9982FA-94CE-476E-98B9-AED20350F85D}"/>
              </a:ext>
            </a:extLst>
          </p:cNvPr>
          <p:cNvSpPr>
            <a:spLocks noGrp="1"/>
          </p:cNvSpPr>
          <p:nvPr>
            <p:custDataLst>
              <p:tags r:id="rId45"/>
            </p:custDataLst>
          </p:nvPr>
        </p:nvSpPr>
        <p:spPr bwMode="auto">
          <a:xfrm>
            <a:off x="7270750"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198BEEA-11B6-4AF6-A9A2-2F4807E0D3D5}" type="datetime'''''''''''5''''''''''''''1'''''''">
              <a:rPr lang="en-US" altLang="en-US" sz="800" b="1" smtClean="0">
                <a:latin typeface="+mn-lt"/>
                <a:sym typeface="+mn-lt"/>
              </a:rPr>
              <a:pPr algn="ctr">
                <a:spcBef>
                  <a:spcPct val="0"/>
                </a:spcBef>
              </a:pPr>
              <a:t>51</a:t>
            </a:fld>
            <a:endParaRPr lang="en-US" sz="800" b="1" dirty="0">
              <a:latin typeface="+mn-lt"/>
              <a:sym typeface="+mn-lt"/>
            </a:endParaRPr>
          </a:p>
        </p:txBody>
      </p:sp>
      <p:sp>
        <p:nvSpPr>
          <p:cNvPr id="255" name="Text Placeholder 5">
            <a:extLst>
              <a:ext uri="{FF2B5EF4-FFF2-40B4-BE49-F238E27FC236}">
                <a16:creationId xmlns:a16="http://schemas.microsoft.com/office/drawing/2014/main" id="{4B9982FA-94CE-476E-98B9-AED20350F85D}"/>
              </a:ext>
            </a:extLst>
          </p:cNvPr>
          <p:cNvSpPr>
            <a:spLocks noGrp="1"/>
          </p:cNvSpPr>
          <p:nvPr>
            <p:custDataLst>
              <p:tags r:id="rId46"/>
            </p:custDataLst>
          </p:nvPr>
        </p:nvSpPr>
        <p:spPr bwMode="auto">
          <a:xfrm>
            <a:off x="7443788" y="4491038"/>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C3D170A-3FC6-4425-AF2A-4D3F02C8AEF0}" type="datetime'''''''''''''''''5''''2'''''''''''''''''''''''''''''''''''">
              <a:rPr lang="en-US" altLang="en-US" sz="800" b="1" smtClean="0">
                <a:latin typeface="+mn-lt"/>
                <a:sym typeface="+mn-lt"/>
              </a:rPr>
              <a:pPr algn="ctr">
                <a:spcBef>
                  <a:spcPct val="0"/>
                </a:spcBef>
              </a:pPr>
              <a:t>52</a:t>
            </a:fld>
            <a:endParaRPr lang="en-US" sz="800" b="1" dirty="0">
              <a:latin typeface="+mn-lt"/>
              <a:sym typeface="+mn-lt"/>
            </a:endParaRPr>
          </a:p>
        </p:txBody>
      </p:sp>
      <p:sp>
        <p:nvSpPr>
          <p:cNvPr id="256" name="Text Placeholder 5">
            <a:extLst>
              <a:ext uri="{FF2B5EF4-FFF2-40B4-BE49-F238E27FC236}">
                <a16:creationId xmlns:a16="http://schemas.microsoft.com/office/drawing/2014/main" id="{4B9982FA-94CE-476E-98B9-AED20350F85D}"/>
              </a:ext>
            </a:extLst>
          </p:cNvPr>
          <p:cNvSpPr>
            <a:spLocks noGrp="1"/>
          </p:cNvSpPr>
          <p:nvPr>
            <p:custDataLst>
              <p:tags r:id="rId47"/>
            </p:custDataLst>
          </p:nvPr>
        </p:nvSpPr>
        <p:spPr bwMode="auto">
          <a:xfrm>
            <a:off x="7616825"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26E650F-7AD2-4B7C-9297-CB28A86D0E58}" type="datetime'''''''''''''''''''''''''''''''53'''''''''''''''''''''''''''''">
              <a:rPr lang="en-US" altLang="en-US" sz="800" b="1" smtClean="0">
                <a:latin typeface="+mn-lt"/>
                <a:sym typeface="+mn-lt"/>
              </a:rPr>
              <a:pPr algn="ctr">
                <a:spcBef>
                  <a:spcPct val="0"/>
                </a:spcBef>
              </a:pPr>
              <a:t>53</a:t>
            </a:fld>
            <a:endParaRPr lang="en-US" sz="800" b="1" dirty="0">
              <a:latin typeface="+mn-lt"/>
              <a:sym typeface="+mn-lt"/>
            </a:endParaRPr>
          </a:p>
        </p:txBody>
      </p:sp>
      <p:sp>
        <p:nvSpPr>
          <p:cNvPr id="260" name="Text Placeholder 5">
            <a:extLst>
              <a:ext uri="{FF2B5EF4-FFF2-40B4-BE49-F238E27FC236}">
                <a16:creationId xmlns:a16="http://schemas.microsoft.com/office/drawing/2014/main" id="{4B9982FA-94CE-476E-98B9-AED20350F85D}"/>
              </a:ext>
            </a:extLst>
          </p:cNvPr>
          <p:cNvSpPr>
            <a:spLocks noGrp="1"/>
          </p:cNvSpPr>
          <p:nvPr>
            <p:custDataLst>
              <p:tags r:id="rId48"/>
            </p:custDataLst>
          </p:nvPr>
        </p:nvSpPr>
        <p:spPr bwMode="auto">
          <a:xfrm>
            <a:off x="8307388"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80EDD57-6180-4A80-8BF2-4780BEF3826C}" type="datetime'''''''''''''''''''5''''''''''7'''">
              <a:rPr lang="en-US" altLang="en-US" sz="800" b="1" smtClean="0">
                <a:latin typeface="+mn-lt"/>
                <a:sym typeface="+mn-lt"/>
              </a:rPr>
              <a:pPr algn="ctr">
                <a:spcBef>
                  <a:spcPct val="0"/>
                </a:spcBef>
              </a:pPr>
              <a:t>57</a:t>
            </a:fld>
            <a:endParaRPr lang="en-US" sz="800" b="1" dirty="0">
              <a:latin typeface="+mn-lt"/>
              <a:sym typeface="+mn-lt"/>
            </a:endParaRPr>
          </a:p>
        </p:txBody>
      </p:sp>
      <p:sp>
        <p:nvSpPr>
          <p:cNvPr id="257" name="Text Placeholder 5">
            <a:extLst>
              <a:ext uri="{FF2B5EF4-FFF2-40B4-BE49-F238E27FC236}">
                <a16:creationId xmlns:a16="http://schemas.microsoft.com/office/drawing/2014/main" id="{4B9982FA-94CE-476E-98B9-AED20350F85D}"/>
              </a:ext>
            </a:extLst>
          </p:cNvPr>
          <p:cNvSpPr>
            <a:spLocks noGrp="1"/>
          </p:cNvSpPr>
          <p:nvPr>
            <p:custDataLst>
              <p:tags r:id="rId49"/>
            </p:custDataLst>
          </p:nvPr>
        </p:nvSpPr>
        <p:spPr bwMode="auto">
          <a:xfrm>
            <a:off x="7788275" y="4491038"/>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71D6167-2512-4A6E-AB77-01C4368F8386}" type="datetime'5''4'''''''''''''''''''">
              <a:rPr lang="en-US" altLang="en-US" sz="800" b="1" smtClean="0">
                <a:latin typeface="+mn-lt"/>
                <a:sym typeface="+mn-lt"/>
              </a:rPr>
              <a:pPr algn="ctr">
                <a:spcBef>
                  <a:spcPct val="0"/>
                </a:spcBef>
              </a:pPr>
              <a:t>54</a:t>
            </a:fld>
            <a:endParaRPr lang="en-US" sz="800" b="1" dirty="0">
              <a:latin typeface="+mn-lt"/>
              <a:sym typeface="+mn-lt"/>
            </a:endParaRPr>
          </a:p>
        </p:txBody>
      </p:sp>
      <p:sp>
        <p:nvSpPr>
          <p:cNvPr id="258" name="Text Placeholder 5">
            <a:extLst>
              <a:ext uri="{FF2B5EF4-FFF2-40B4-BE49-F238E27FC236}">
                <a16:creationId xmlns:a16="http://schemas.microsoft.com/office/drawing/2014/main" id="{4B9982FA-94CE-476E-98B9-AED20350F85D}"/>
              </a:ext>
            </a:extLst>
          </p:cNvPr>
          <p:cNvSpPr>
            <a:spLocks noGrp="1"/>
          </p:cNvSpPr>
          <p:nvPr>
            <p:custDataLst>
              <p:tags r:id="rId50"/>
            </p:custDataLst>
          </p:nvPr>
        </p:nvSpPr>
        <p:spPr bwMode="auto">
          <a:xfrm>
            <a:off x="7961313" y="4491038"/>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8AA7DC6-0702-4420-A335-7873ACC4FD17}" type="datetime'''''''''''''''''''''''''''''''5''''''''''''''''''''''5'''">
              <a:rPr lang="en-US" altLang="en-US" sz="800" b="1" smtClean="0">
                <a:latin typeface="+mn-lt"/>
                <a:sym typeface="+mn-lt"/>
              </a:rPr>
              <a:pPr algn="ctr">
                <a:spcBef>
                  <a:spcPct val="0"/>
                </a:spcBef>
              </a:pPr>
              <a:t>55</a:t>
            </a:fld>
            <a:endParaRPr lang="en-US" sz="800" b="1" dirty="0">
              <a:latin typeface="+mn-lt"/>
              <a:sym typeface="+mn-lt"/>
            </a:endParaRPr>
          </a:p>
        </p:txBody>
      </p:sp>
      <p:sp>
        <p:nvSpPr>
          <p:cNvPr id="259" name="Text Placeholder 5">
            <a:extLst>
              <a:ext uri="{FF2B5EF4-FFF2-40B4-BE49-F238E27FC236}">
                <a16:creationId xmlns:a16="http://schemas.microsoft.com/office/drawing/2014/main" id="{4B9982FA-94CE-476E-98B9-AED20350F85D}"/>
              </a:ext>
            </a:extLst>
          </p:cNvPr>
          <p:cNvSpPr>
            <a:spLocks noGrp="1"/>
          </p:cNvSpPr>
          <p:nvPr>
            <p:custDataLst>
              <p:tags r:id="rId51"/>
            </p:custDataLst>
          </p:nvPr>
        </p:nvSpPr>
        <p:spPr bwMode="auto">
          <a:xfrm>
            <a:off x="8131175"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90D73DA-62C4-4554-BAA4-B4ED18FBDDA0}" type="datetime'''5''''''''''''''''''''''''''''''''''''''''''''''6'">
              <a:rPr lang="en-US" altLang="en-US" sz="800" b="1" smtClean="0">
                <a:latin typeface="+mn-lt"/>
                <a:sym typeface="+mn-lt"/>
              </a:rPr>
              <a:pPr algn="ctr">
                <a:spcBef>
                  <a:spcPct val="0"/>
                </a:spcBef>
              </a:pPr>
              <a:t>56</a:t>
            </a:fld>
            <a:endParaRPr lang="en-US" sz="800" b="1" dirty="0">
              <a:latin typeface="+mn-lt"/>
              <a:sym typeface="+mn-lt"/>
            </a:endParaRPr>
          </a:p>
        </p:txBody>
      </p:sp>
      <p:sp>
        <p:nvSpPr>
          <p:cNvPr id="265" name="Text Placeholder 5">
            <a:extLst>
              <a:ext uri="{FF2B5EF4-FFF2-40B4-BE49-F238E27FC236}">
                <a16:creationId xmlns:a16="http://schemas.microsoft.com/office/drawing/2014/main" id="{4B9982FA-94CE-476E-98B9-AED20350F85D}"/>
              </a:ext>
            </a:extLst>
          </p:cNvPr>
          <p:cNvSpPr>
            <a:spLocks noGrp="1"/>
          </p:cNvSpPr>
          <p:nvPr>
            <p:custDataLst>
              <p:tags r:id="rId52"/>
            </p:custDataLst>
          </p:nvPr>
        </p:nvSpPr>
        <p:spPr bwMode="auto">
          <a:xfrm>
            <a:off x="8648700"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5A6A592-10D0-4F60-B4B0-9A7FB540FD3E}" type="datetime'''''''''''5''''''''''''''''''''''''''''''''9'''''''''''''''">
              <a:rPr lang="en-US" altLang="en-US" sz="800" b="1" smtClean="0">
                <a:latin typeface="+mn-lt"/>
                <a:sym typeface="+mn-lt"/>
              </a:rPr>
              <a:pPr algn="ctr">
                <a:spcBef>
                  <a:spcPct val="0"/>
                </a:spcBef>
              </a:pPr>
              <a:t>59</a:t>
            </a:fld>
            <a:endParaRPr lang="en-US" sz="800" b="1" dirty="0">
              <a:latin typeface="+mn-lt"/>
              <a:sym typeface="+mn-lt"/>
            </a:endParaRPr>
          </a:p>
        </p:txBody>
      </p:sp>
      <p:sp>
        <p:nvSpPr>
          <p:cNvPr id="237" name="Text Placeholder 5">
            <a:extLst>
              <a:ext uri="{FF2B5EF4-FFF2-40B4-BE49-F238E27FC236}">
                <a16:creationId xmlns:a16="http://schemas.microsoft.com/office/drawing/2014/main" id="{4B9982FA-94CE-476E-98B9-AED20350F85D}"/>
              </a:ext>
            </a:extLst>
          </p:cNvPr>
          <p:cNvSpPr>
            <a:spLocks noGrp="1"/>
          </p:cNvSpPr>
          <p:nvPr>
            <p:custDataLst>
              <p:tags r:id="rId53"/>
            </p:custDataLst>
          </p:nvPr>
        </p:nvSpPr>
        <p:spPr bwMode="auto">
          <a:xfrm>
            <a:off x="4678363" y="4491038"/>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2FFD1B0-03EC-465D-B5FA-7AF2FA40A167}" type="datetime'''''3''''''''''''''''''6'''''''''''''''''''">
              <a:rPr lang="en-US" altLang="en-US" sz="800" b="1" smtClean="0">
                <a:latin typeface="+mn-lt"/>
                <a:sym typeface="+mn-lt"/>
              </a:rPr>
              <a:pPr algn="ctr">
                <a:spcBef>
                  <a:spcPct val="0"/>
                </a:spcBef>
              </a:pPr>
              <a:t>36</a:t>
            </a:fld>
            <a:endParaRPr lang="en-US" sz="800" b="1" dirty="0">
              <a:latin typeface="+mn-lt"/>
              <a:sym typeface="+mn-lt"/>
            </a:endParaRPr>
          </a:p>
        </p:txBody>
      </p:sp>
      <p:sp>
        <p:nvSpPr>
          <p:cNvPr id="308" name="Rectangle 307">
            <a:extLst>
              <a:ext uri="{FF2B5EF4-FFF2-40B4-BE49-F238E27FC236}">
                <a16:creationId xmlns:a16="http://schemas.microsoft.com/office/drawing/2014/main" id="{4E4E777E-3899-453F-8157-5F12841B4E9E}"/>
              </a:ext>
            </a:extLst>
          </p:cNvPr>
          <p:cNvSpPr/>
          <p:nvPr/>
        </p:nvSpPr>
        <p:spPr>
          <a:xfrm>
            <a:off x="1804786" y="1593849"/>
            <a:ext cx="7058024" cy="203200"/>
          </a:xfrm>
          <a:prstGeom prst="rect">
            <a:avLst/>
          </a:prstGeom>
          <a:solidFill>
            <a:schemeClr val="bg1">
              <a:lumMod val="85000"/>
            </a:schemeClr>
          </a:solidFill>
          <a:ln>
            <a:noFill/>
            <a:prstDash val="dash"/>
          </a:ln>
        </p:spPr>
        <p:txBody>
          <a:bodyPr lIns="72000" rIns="72000" rtlCol="0" anchor="ctr">
            <a:noAutofit/>
          </a:bodyPr>
          <a:lstStyle/>
          <a:p>
            <a:pPr marL="0" indent="0" algn="ctr" defTabSz="685800" fontAlgn="auto">
              <a:lnSpc>
                <a:spcPct val="90000"/>
              </a:lnSpc>
              <a:spcBef>
                <a:spcPts val="750"/>
              </a:spcBef>
              <a:spcAft>
                <a:spcPts val="0"/>
              </a:spcAft>
              <a:buClr>
                <a:srgbClr val="FF0000"/>
              </a:buClr>
              <a:buNone/>
            </a:pPr>
            <a:r>
              <a:rPr lang="nl-NL" sz="1000" b="1" dirty="0">
                <a:solidFill>
                  <a:srgbClr val="000000"/>
                </a:solidFill>
                <a:latin typeface="+mj-lt"/>
                <a:cs typeface="+mn-cs"/>
              </a:rPr>
              <a:t>Saldi 2020-2059</a:t>
            </a:r>
          </a:p>
        </p:txBody>
      </p:sp>
      <p:sp>
        <p:nvSpPr>
          <p:cNvPr id="3" name="Title 2">
            <a:extLst>
              <a:ext uri="{FF2B5EF4-FFF2-40B4-BE49-F238E27FC236}">
                <a16:creationId xmlns:a16="http://schemas.microsoft.com/office/drawing/2014/main" id="{092211F7-7C55-415A-9B1B-B18C9E0DF6AC}"/>
              </a:ext>
            </a:extLst>
          </p:cNvPr>
          <p:cNvSpPr>
            <a:spLocks noGrp="1"/>
          </p:cNvSpPr>
          <p:nvPr>
            <p:ph type="title"/>
          </p:nvPr>
        </p:nvSpPr>
        <p:spPr/>
        <p:txBody>
          <a:bodyPr vert="horz"/>
          <a:lstStyle/>
          <a:p>
            <a:r>
              <a:rPr lang="en-NL" dirty="0" err="1"/>
              <a:t>Uitkomst</a:t>
            </a:r>
            <a:r>
              <a:rPr lang="en-NL" dirty="0"/>
              <a:t> van </a:t>
            </a:r>
            <a:r>
              <a:rPr lang="nl-NL" dirty="0"/>
              <a:t>een</a:t>
            </a:r>
            <a:r>
              <a:rPr lang="en-NL" dirty="0"/>
              <a:t> business case is de netto contante waarde; </a:t>
            </a:r>
            <a:r>
              <a:rPr lang="nl-NL" dirty="0"/>
              <a:t>d</a:t>
            </a:r>
            <a:r>
              <a:rPr lang="en-NL" dirty="0"/>
              <a:t>e</a:t>
            </a:r>
            <a:r>
              <a:rPr lang="nl-NL" dirty="0" err="1"/>
              <a:t>z</a:t>
            </a:r>
            <a:r>
              <a:rPr lang="en-NL" dirty="0"/>
              <a:t>e </a:t>
            </a:r>
            <a:r>
              <a:rPr lang="nl-NL" dirty="0"/>
              <a:t>g</a:t>
            </a:r>
            <a:r>
              <a:rPr lang="en-NL" dirty="0"/>
              <a:t>e</a:t>
            </a:r>
            <a:r>
              <a:rPr lang="nl-NL" dirty="0"/>
              <a:t>e</a:t>
            </a:r>
            <a:r>
              <a:rPr lang="en-NL" dirty="0"/>
              <a:t>f</a:t>
            </a:r>
            <a:r>
              <a:rPr lang="nl-NL" dirty="0"/>
              <a:t>t</a:t>
            </a:r>
            <a:r>
              <a:rPr lang="en-NL" dirty="0"/>
              <a:t> </a:t>
            </a:r>
            <a:r>
              <a:rPr lang="nl-NL" dirty="0"/>
              <a:t>i</a:t>
            </a:r>
            <a:r>
              <a:rPr lang="en-NL" dirty="0"/>
              <a:t>n </a:t>
            </a:r>
            <a:r>
              <a:rPr lang="nl-NL" dirty="0" err="1"/>
              <a:t>éé</a:t>
            </a:r>
            <a:r>
              <a:rPr lang="en-NL" dirty="0"/>
              <a:t>n </a:t>
            </a:r>
            <a:r>
              <a:rPr lang="nl-NL" dirty="0"/>
              <a:t>g</a:t>
            </a:r>
            <a:r>
              <a:rPr lang="en-NL" dirty="0"/>
              <a:t>e</a:t>
            </a:r>
            <a:r>
              <a:rPr lang="nl-NL" dirty="0"/>
              <a:t>t</a:t>
            </a:r>
            <a:r>
              <a:rPr lang="en-NL" dirty="0"/>
              <a:t>a</a:t>
            </a:r>
            <a:r>
              <a:rPr lang="nl-NL" dirty="0"/>
              <a:t>l</a:t>
            </a:r>
            <a:r>
              <a:rPr lang="en-NL" dirty="0"/>
              <a:t> </a:t>
            </a:r>
            <a:r>
              <a:rPr lang="nl-NL" dirty="0"/>
              <a:t>d</a:t>
            </a:r>
            <a:r>
              <a:rPr lang="en-NL" dirty="0"/>
              <a:t>e waarde weer </a:t>
            </a:r>
            <a:r>
              <a:rPr lang="en-NL"/>
              <a:t>van de </a:t>
            </a:r>
            <a:r>
              <a:rPr lang="nl-NL"/>
              <a:t>t</a:t>
            </a:r>
            <a:r>
              <a:rPr lang="en-NL" dirty="0"/>
              <a:t>o</a:t>
            </a:r>
            <a:r>
              <a:rPr lang="nl-NL" dirty="0"/>
              <a:t>e</a:t>
            </a:r>
            <a:r>
              <a:rPr lang="en-NL" dirty="0"/>
              <a:t>k</a:t>
            </a:r>
            <a:r>
              <a:rPr lang="nl-NL" dirty="0"/>
              <a:t>o</a:t>
            </a:r>
            <a:r>
              <a:rPr lang="en-NL" dirty="0"/>
              <a:t>m</a:t>
            </a:r>
            <a:r>
              <a:rPr lang="nl-NL" dirty="0"/>
              <a:t>s</a:t>
            </a:r>
            <a:r>
              <a:rPr lang="en-NL" dirty="0"/>
              <a:t>t</a:t>
            </a:r>
            <a:r>
              <a:rPr lang="nl-NL" dirty="0"/>
              <a:t>i</a:t>
            </a:r>
            <a:r>
              <a:rPr lang="en-NL"/>
              <a:t>g</a:t>
            </a:r>
            <a:r>
              <a:rPr lang="nl-NL"/>
              <a:t>e</a:t>
            </a:r>
            <a:r>
              <a:rPr lang="en-NL"/>
              <a:t> </a:t>
            </a:r>
            <a:r>
              <a:rPr lang="nl-NL" dirty="0"/>
              <a:t>g</a:t>
            </a:r>
            <a:r>
              <a:rPr lang="en-NL" dirty="0"/>
              <a:t>e</a:t>
            </a:r>
            <a:r>
              <a:rPr lang="nl-NL" dirty="0"/>
              <a:t>l</a:t>
            </a:r>
            <a:r>
              <a:rPr lang="en-NL" dirty="0"/>
              <a:t>d</a:t>
            </a:r>
            <a:r>
              <a:rPr lang="nl-NL" dirty="0"/>
              <a:t>s</a:t>
            </a:r>
            <a:r>
              <a:rPr lang="en-NL" dirty="0"/>
              <a:t>t</a:t>
            </a:r>
            <a:r>
              <a:rPr lang="nl-NL" dirty="0"/>
              <a:t>r</a:t>
            </a:r>
            <a:r>
              <a:rPr lang="en-NL" dirty="0"/>
              <a:t>o</a:t>
            </a:r>
            <a:r>
              <a:rPr lang="nl-NL" dirty="0"/>
              <a:t>m</a:t>
            </a:r>
            <a:r>
              <a:rPr lang="en-NL" dirty="0"/>
              <a:t>e</a:t>
            </a:r>
            <a:r>
              <a:rPr lang="nl-NL" dirty="0"/>
              <a:t>n</a:t>
            </a:r>
          </a:p>
        </p:txBody>
      </p:sp>
      <p:sp>
        <p:nvSpPr>
          <p:cNvPr id="140" name="Text Placeholder 6">
            <a:extLst>
              <a:ext uri="{FF2B5EF4-FFF2-40B4-BE49-F238E27FC236}">
                <a16:creationId xmlns:a16="http://schemas.microsoft.com/office/drawing/2014/main" id="{962E9C76-F0EB-4C94-89ED-A61907D6715A}"/>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p>
        </p:txBody>
      </p:sp>
      <p:sp>
        <p:nvSpPr>
          <p:cNvPr id="136" name="Slide Number Placeholder 2">
            <a:extLst>
              <a:ext uri="{FF2B5EF4-FFF2-40B4-BE49-F238E27FC236}">
                <a16:creationId xmlns:a16="http://schemas.microsoft.com/office/drawing/2014/main" id="{34E9139A-3041-4977-9353-3470BEF1AC6C}"/>
              </a:ext>
            </a:extLst>
          </p:cNvPr>
          <p:cNvSpPr txBox="1">
            <a:spLocks/>
          </p:cNvSpPr>
          <p:nvPr/>
        </p:nvSpPr>
        <p:spPr>
          <a:xfrm>
            <a:off x="10510048" y="6619875"/>
            <a:ext cx="1023140" cy="168275"/>
          </a:xfrm>
          <a:prstGeom prst="rect">
            <a:avLst/>
          </a:prstGeom>
        </p:spPr>
        <p:txBody>
          <a:bodyPr vert="horz" lIns="91440" tIns="45720" rIns="91440" bIns="45720" rtlCol="0" anchor="ctr"/>
          <a:lstStyle>
            <a:defPPr>
              <a:defRPr lang="nl-NL"/>
            </a:defPPr>
            <a:lvl1pPr algn="r" rtl="0" fontAlgn="base">
              <a:spcBef>
                <a:spcPct val="0"/>
              </a:spcBef>
              <a:spcAft>
                <a:spcPct val="0"/>
              </a:spcAft>
              <a:defRPr sz="12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indent="0">
              <a:buNone/>
            </a:pPr>
            <a:fld id="{992CD0B2-8AB2-4C6C-8876-E15753662C9B}" type="slidenum">
              <a:rPr lang="nl-NL" smtClean="0"/>
              <a:pPr marL="0" indent="0">
                <a:buNone/>
              </a:pPr>
              <a:t>3</a:t>
            </a:fld>
            <a:endParaRPr lang="nl-NL" dirty="0"/>
          </a:p>
        </p:txBody>
      </p:sp>
      <p:sp>
        <p:nvSpPr>
          <p:cNvPr id="16" name="Text Placeholder 15">
            <a:extLst>
              <a:ext uri="{FF2B5EF4-FFF2-40B4-BE49-F238E27FC236}">
                <a16:creationId xmlns:a16="http://schemas.microsoft.com/office/drawing/2014/main" id="{78DDDF12-8F5F-41E6-9E63-22D9741DFEFD}"/>
              </a:ext>
            </a:extLst>
          </p:cNvPr>
          <p:cNvSpPr>
            <a:spLocks noGrp="1"/>
          </p:cNvSpPr>
          <p:nvPr>
            <p:ph type="body" sz="quarter" idx="21"/>
          </p:nvPr>
        </p:nvSpPr>
        <p:spPr>
          <a:xfrm>
            <a:off x="658812" y="6316663"/>
            <a:ext cx="9799637" cy="163512"/>
          </a:xfrm>
        </p:spPr>
        <p:txBody>
          <a:bodyPr/>
          <a:lstStyle/>
          <a:p>
            <a:pPr marL="0" indent="0">
              <a:buNone/>
            </a:pPr>
            <a:r>
              <a:rPr lang="nl-NL" dirty="0"/>
              <a:t>1 A</a:t>
            </a:r>
            <a:r>
              <a:rPr lang="en-NL" dirty="0"/>
              <a:t>l</a:t>
            </a:r>
            <a:r>
              <a:rPr lang="nl-NL" dirty="0"/>
              <a:t>l</a:t>
            </a:r>
            <a:r>
              <a:rPr lang="en-NL" dirty="0"/>
              <a:t>e </a:t>
            </a:r>
            <a:r>
              <a:rPr lang="nl-NL" dirty="0"/>
              <a:t>b</a:t>
            </a:r>
            <a:r>
              <a:rPr lang="en-NL" dirty="0"/>
              <a:t>e</a:t>
            </a:r>
            <a:r>
              <a:rPr lang="nl-NL" dirty="0"/>
              <a:t>d</a:t>
            </a:r>
            <a:r>
              <a:rPr lang="en-NL" dirty="0"/>
              <a:t>r</a:t>
            </a:r>
            <a:r>
              <a:rPr lang="nl-NL" dirty="0"/>
              <a:t>a</a:t>
            </a:r>
            <a:r>
              <a:rPr lang="en-NL" dirty="0"/>
              <a:t>g</a:t>
            </a:r>
            <a:r>
              <a:rPr lang="nl-NL" dirty="0"/>
              <a:t>e</a:t>
            </a:r>
            <a:r>
              <a:rPr lang="en-NL" dirty="0"/>
              <a:t>n </a:t>
            </a:r>
            <a:r>
              <a:rPr lang="nl-NL" dirty="0" err="1"/>
              <a:t>z</a:t>
            </a:r>
            <a:r>
              <a:rPr lang="en-NL" dirty="0" err="1"/>
              <a:t>i</a:t>
            </a:r>
            <a:r>
              <a:rPr lang="nl-NL" dirty="0"/>
              <a:t>j</a:t>
            </a:r>
            <a:r>
              <a:rPr lang="en-NL" dirty="0"/>
              <a:t>n </a:t>
            </a:r>
            <a:r>
              <a:rPr lang="en-NL" dirty="0" err="1"/>
              <a:t>o.b.v</a:t>
            </a:r>
            <a:r>
              <a:rPr lang="en-NL" dirty="0"/>
              <a:t>. </a:t>
            </a:r>
            <a:r>
              <a:rPr lang="nl-NL" dirty="0"/>
              <a:t>huidige prijspeil e</a:t>
            </a:r>
            <a:r>
              <a:rPr lang="en-NL" dirty="0"/>
              <a:t>n </a:t>
            </a:r>
            <a:r>
              <a:rPr lang="nl-NL" dirty="0"/>
              <a:t>d</a:t>
            </a:r>
            <a:r>
              <a:rPr lang="en-NL" dirty="0"/>
              <a:t>a</a:t>
            </a:r>
            <a:r>
              <a:rPr lang="nl-NL" dirty="0"/>
              <a:t>a</a:t>
            </a:r>
            <a:r>
              <a:rPr lang="en-NL" dirty="0"/>
              <a:t>r</a:t>
            </a:r>
            <a:r>
              <a:rPr lang="nl-NL" dirty="0"/>
              <a:t>m</a:t>
            </a:r>
            <a:r>
              <a:rPr lang="en-NL" dirty="0"/>
              <a:t>e</a:t>
            </a:r>
            <a:r>
              <a:rPr lang="nl-NL" dirty="0"/>
              <a:t>e</a:t>
            </a:r>
            <a:r>
              <a:rPr lang="en-NL" dirty="0"/>
              <a:t> </a:t>
            </a:r>
            <a:r>
              <a:rPr lang="nl-NL" dirty="0"/>
              <a:t>g</a:t>
            </a:r>
            <a:r>
              <a:rPr lang="en-NL" dirty="0"/>
              <a:t>a</a:t>
            </a:r>
            <a:r>
              <a:rPr lang="nl-NL" dirty="0"/>
              <a:t>a</a:t>
            </a:r>
            <a:r>
              <a:rPr lang="en-NL" dirty="0"/>
              <a:t>n </a:t>
            </a:r>
            <a:r>
              <a:rPr lang="nl-NL" dirty="0"/>
              <a:t>w</a:t>
            </a:r>
            <a:r>
              <a:rPr lang="en-NL" dirty="0"/>
              <a:t>e </a:t>
            </a:r>
            <a:r>
              <a:rPr lang="nl-NL" dirty="0"/>
              <a:t>e</a:t>
            </a:r>
            <a:r>
              <a:rPr lang="en-NL" dirty="0"/>
              <a:t>r </a:t>
            </a:r>
            <a:r>
              <a:rPr lang="nl-NL" dirty="0"/>
              <a:t>v</a:t>
            </a:r>
            <a:r>
              <a:rPr lang="en-NL" dirty="0"/>
              <a:t>a</a:t>
            </a:r>
            <a:r>
              <a:rPr lang="nl-NL" dirty="0"/>
              <a:t>n</a:t>
            </a:r>
            <a:r>
              <a:rPr lang="en-NL" dirty="0"/>
              <a:t> </a:t>
            </a:r>
            <a:r>
              <a:rPr lang="nl-NL" dirty="0"/>
              <a:t>u</a:t>
            </a:r>
            <a:r>
              <a:rPr lang="en-NL" dirty="0" err="1"/>
              <a:t>i</a:t>
            </a:r>
            <a:r>
              <a:rPr lang="nl-NL" dirty="0"/>
              <a:t>t</a:t>
            </a:r>
            <a:r>
              <a:rPr lang="en-NL" dirty="0"/>
              <a:t> </a:t>
            </a:r>
            <a:r>
              <a:rPr lang="nl-NL" dirty="0"/>
              <a:t>d</a:t>
            </a:r>
            <a:r>
              <a:rPr lang="en-NL" dirty="0"/>
              <a:t>a</a:t>
            </a:r>
            <a:r>
              <a:rPr lang="nl-NL" dirty="0"/>
              <a:t>t</a:t>
            </a:r>
            <a:r>
              <a:rPr lang="en-NL" dirty="0"/>
              <a:t> </a:t>
            </a:r>
            <a:r>
              <a:rPr lang="nl-NL" dirty="0"/>
              <a:t>t</a:t>
            </a:r>
            <a:r>
              <a:rPr lang="en-NL" dirty="0"/>
              <a:t>o</a:t>
            </a:r>
            <a:r>
              <a:rPr lang="nl-NL" dirty="0"/>
              <a:t>e</a:t>
            </a:r>
            <a:r>
              <a:rPr lang="en-NL" dirty="0"/>
              <a:t>k</a:t>
            </a:r>
            <a:r>
              <a:rPr lang="nl-NL" dirty="0"/>
              <a:t>o</a:t>
            </a:r>
            <a:r>
              <a:rPr lang="en-NL" dirty="0"/>
              <a:t>m</a:t>
            </a:r>
            <a:r>
              <a:rPr lang="nl-NL" dirty="0"/>
              <a:t>s</a:t>
            </a:r>
            <a:r>
              <a:rPr lang="en-NL" dirty="0"/>
              <a:t>t</a:t>
            </a:r>
            <a:r>
              <a:rPr lang="nl-NL" dirty="0"/>
              <a:t>i</a:t>
            </a:r>
            <a:r>
              <a:rPr lang="en-NL" dirty="0"/>
              <a:t>g</a:t>
            </a:r>
            <a:r>
              <a:rPr lang="nl-NL" dirty="0"/>
              <a:t>e</a:t>
            </a:r>
            <a:r>
              <a:rPr lang="en-NL" dirty="0"/>
              <a:t> r</a:t>
            </a:r>
            <a:r>
              <a:rPr lang="nl-NL" dirty="0"/>
              <a:t>e</a:t>
            </a:r>
            <a:r>
              <a:rPr lang="en-NL" dirty="0"/>
              <a:t>l</a:t>
            </a:r>
            <a:r>
              <a:rPr lang="nl-NL" dirty="0"/>
              <a:t>a</a:t>
            </a:r>
            <a:r>
              <a:rPr lang="en-NL" dirty="0"/>
              <a:t>t</a:t>
            </a:r>
            <a:r>
              <a:rPr lang="nl-NL" dirty="0"/>
              <a:t>i</a:t>
            </a:r>
            <a:r>
              <a:rPr lang="en-NL" dirty="0"/>
              <a:t>e</a:t>
            </a:r>
            <a:r>
              <a:rPr lang="nl-NL" dirty="0"/>
              <a:t>v</a:t>
            </a:r>
            <a:r>
              <a:rPr lang="en-NL" dirty="0"/>
              <a:t>e </a:t>
            </a:r>
            <a:r>
              <a:rPr lang="nl-NL" dirty="0"/>
              <a:t>prijzen </a:t>
            </a:r>
            <a:r>
              <a:rPr lang="en-NL" dirty="0"/>
              <a:t>c</a:t>
            </a:r>
            <a:r>
              <a:rPr lang="nl-NL" dirty="0"/>
              <a:t>o</a:t>
            </a:r>
            <a:r>
              <a:rPr lang="en-NL" dirty="0"/>
              <a:t>n</a:t>
            </a:r>
            <a:r>
              <a:rPr lang="nl-NL" dirty="0"/>
              <a:t>s</a:t>
            </a:r>
            <a:r>
              <a:rPr lang="en-NL" dirty="0"/>
              <a:t>t</a:t>
            </a:r>
            <a:r>
              <a:rPr lang="nl-NL" dirty="0"/>
              <a:t>a</a:t>
            </a:r>
            <a:r>
              <a:rPr lang="en-NL" dirty="0"/>
              <a:t>n</a:t>
            </a:r>
            <a:r>
              <a:rPr lang="nl-NL" dirty="0"/>
              <a:t>t</a:t>
            </a:r>
            <a:r>
              <a:rPr lang="en-NL" dirty="0"/>
              <a:t> </a:t>
            </a:r>
            <a:r>
              <a:rPr lang="nl-NL" dirty="0"/>
              <a:t>b</a:t>
            </a:r>
            <a:r>
              <a:rPr lang="en-NL" dirty="0" err="1"/>
              <a:t>lijv</a:t>
            </a:r>
            <a:r>
              <a:rPr lang="nl-NL" dirty="0"/>
              <a:t>e</a:t>
            </a:r>
            <a:r>
              <a:rPr lang="en-NL" dirty="0"/>
              <a:t>n </a:t>
            </a:r>
            <a:br>
              <a:rPr lang="nl-NL" dirty="0"/>
            </a:br>
            <a:r>
              <a:rPr lang="nl-NL" dirty="0"/>
              <a:t>2 Er wordt aangenomen dat de investering gefaseerd plaatsvindt</a:t>
            </a:r>
          </a:p>
          <a:p>
            <a:endParaRPr lang="de-DE" dirty="0"/>
          </a:p>
        </p:txBody>
      </p:sp>
      <p:sp>
        <p:nvSpPr>
          <p:cNvPr id="166" name="Rectangle 165">
            <a:extLst>
              <a:ext uri="{FF2B5EF4-FFF2-40B4-BE49-F238E27FC236}">
                <a16:creationId xmlns:a16="http://schemas.microsoft.com/office/drawing/2014/main" id="{AA87E416-7FD2-4331-9296-AEE8E2768E8D}"/>
              </a:ext>
            </a:extLst>
          </p:cNvPr>
          <p:cNvSpPr/>
          <p:nvPr/>
        </p:nvSpPr>
        <p:spPr>
          <a:xfrm>
            <a:off x="665261" y="4905375"/>
            <a:ext cx="1020416" cy="900113"/>
          </a:xfrm>
          <a:prstGeom prst="rect">
            <a:avLst/>
          </a:prstGeom>
          <a:solidFill>
            <a:schemeClr val="bg1">
              <a:lumMod val="85000"/>
            </a:schemeClr>
          </a:solidFill>
        </p:spPr>
        <p:txBody>
          <a:bodyPr lIns="0" rIns="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en-NL" sz="1000" b="1" dirty="0">
                <a:solidFill>
                  <a:srgbClr val="000000"/>
                </a:solidFill>
                <a:latin typeface="Corbel" panose="020B0503020204020204" pitchFamily="34" charset="0"/>
                <a:cs typeface="+mn-cs"/>
              </a:rPr>
              <a:t>N</a:t>
            </a:r>
            <a:r>
              <a:rPr lang="nl-NL" sz="1000" b="1" dirty="0">
                <a:solidFill>
                  <a:srgbClr val="000000"/>
                </a:solidFill>
                <a:latin typeface="Corbel" panose="020B0503020204020204" pitchFamily="34" charset="0"/>
                <a:cs typeface="+mn-cs"/>
              </a:rPr>
              <a:t>e</a:t>
            </a:r>
            <a:r>
              <a:rPr lang="en-NL" sz="1000" b="1" dirty="0">
                <a:solidFill>
                  <a:srgbClr val="000000"/>
                </a:solidFill>
                <a:latin typeface="Corbel" panose="020B0503020204020204" pitchFamily="34" charset="0"/>
                <a:cs typeface="+mn-cs"/>
              </a:rPr>
              <a:t>t</a:t>
            </a:r>
            <a:r>
              <a:rPr lang="nl-NL" sz="1000" b="1" dirty="0">
                <a:solidFill>
                  <a:srgbClr val="000000"/>
                </a:solidFill>
                <a:latin typeface="Corbel" panose="020B0503020204020204" pitchFamily="34" charset="0"/>
                <a:cs typeface="+mn-cs"/>
              </a:rPr>
              <a:t>t</a:t>
            </a:r>
            <a:r>
              <a:rPr lang="en-NL" sz="1000" b="1" dirty="0">
                <a:solidFill>
                  <a:srgbClr val="000000"/>
                </a:solidFill>
                <a:latin typeface="Corbel" panose="020B0503020204020204" pitchFamily="34" charset="0"/>
                <a:cs typeface="+mn-cs"/>
              </a:rPr>
              <a:t>o </a:t>
            </a:r>
            <a:r>
              <a:rPr lang="nl-NL" sz="1000" b="1" dirty="0">
                <a:solidFill>
                  <a:srgbClr val="000000"/>
                </a:solidFill>
                <a:latin typeface="Corbel" panose="020B0503020204020204" pitchFamily="34" charset="0"/>
                <a:cs typeface="+mn-cs"/>
              </a:rPr>
              <a:t>c</a:t>
            </a:r>
            <a:r>
              <a:rPr lang="en-NL" sz="1000" b="1" dirty="0">
                <a:solidFill>
                  <a:srgbClr val="000000"/>
                </a:solidFill>
                <a:latin typeface="Corbel" panose="020B0503020204020204" pitchFamily="34" charset="0"/>
                <a:cs typeface="+mn-cs"/>
              </a:rPr>
              <a:t>o</a:t>
            </a:r>
            <a:r>
              <a:rPr lang="nl-NL" sz="1000" b="1" dirty="0">
                <a:solidFill>
                  <a:srgbClr val="000000"/>
                </a:solidFill>
                <a:latin typeface="Corbel" panose="020B0503020204020204" pitchFamily="34" charset="0"/>
                <a:cs typeface="+mn-cs"/>
              </a:rPr>
              <a:t>n</a:t>
            </a:r>
            <a:r>
              <a:rPr lang="en-NL" sz="1000" b="1" dirty="0">
                <a:solidFill>
                  <a:srgbClr val="000000"/>
                </a:solidFill>
                <a:latin typeface="Corbel" panose="020B0503020204020204" pitchFamily="34" charset="0"/>
                <a:cs typeface="+mn-cs"/>
              </a:rPr>
              <a:t>t</a:t>
            </a:r>
            <a:r>
              <a:rPr lang="nl-NL" sz="1000" b="1" dirty="0">
                <a:solidFill>
                  <a:srgbClr val="000000"/>
                </a:solidFill>
                <a:latin typeface="Corbel" panose="020B0503020204020204" pitchFamily="34" charset="0"/>
                <a:cs typeface="+mn-cs"/>
              </a:rPr>
              <a:t>a</a:t>
            </a:r>
            <a:r>
              <a:rPr lang="en-NL" sz="1000" b="1" dirty="0">
                <a:solidFill>
                  <a:srgbClr val="000000"/>
                </a:solidFill>
                <a:latin typeface="Corbel" panose="020B0503020204020204" pitchFamily="34" charset="0"/>
                <a:cs typeface="+mn-cs"/>
              </a:rPr>
              <a:t>n</a:t>
            </a:r>
            <a:r>
              <a:rPr lang="nl-NL" sz="1000" b="1" dirty="0">
                <a:solidFill>
                  <a:srgbClr val="000000"/>
                </a:solidFill>
                <a:latin typeface="Corbel" panose="020B0503020204020204" pitchFamily="34" charset="0"/>
                <a:cs typeface="+mn-cs"/>
              </a:rPr>
              <a:t>t</a:t>
            </a:r>
            <a:r>
              <a:rPr lang="en-NL" sz="1000" b="1" dirty="0">
                <a:solidFill>
                  <a:srgbClr val="000000"/>
                </a:solidFill>
                <a:latin typeface="Corbel" panose="020B0503020204020204" pitchFamily="34" charset="0"/>
                <a:cs typeface="+mn-cs"/>
              </a:rPr>
              <a:t>e </a:t>
            </a:r>
            <a:r>
              <a:rPr lang="nl-NL" sz="1000" b="1" dirty="0">
                <a:solidFill>
                  <a:srgbClr val="000000"/>
                </a:solidFill>
                <a:latin typeface="Corbel" panose="020B0503020204020204" pitchFamily="34" charset="0"/>
                <a:cs typeface="+mn-cs"/>
              </a:rPr>
              <a:t>waarde</a:t>
            </a:r>
            <a:r>
              <a:rPr lang="en-NL" sz="1000" b="1" dirty="0">
                <a:solidFill>
                  <a:srgbClr val="000000"/>
                </a:solidFill>
                <a:latin typeface="Corbel" panose="020B0503020204020204" pitchFamily="34" charset="0"/>
                <a:cs typeface="+mn-cs"/>
              </a:rPr>
              <a:t>n</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6" name="Text Placeholder 6">
            <a:extLst>
              <a:ext uri="{FF2B5EF4-FFF2-40B4-BE49-F238E27FC236}">
                <a16:creationId xmlns:a16="http://schemas.microsoft.com/office/drawing/2014/main" id="{14904778-46B3-4DC6-BA85-874BA88553E5}"/>
              </a:ext>
            </a:extLst>
          </p:cNvPr>
          <p:cNvSpPr txBox="1">
            <a:spLocks/>
          </p:cNvSpPr>
          <p:nvPr/>
        </p:nvSpPr>
        <p:spPr>
          <a:xfrm>
            <a:off x="666220" y="1225391"/>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r>
              <a:rPr lang="nl-NL" b="1" dirty="0"/>
              <a:t>Schematische weergave berekening netto contante waarde (NCW)</a:t>
            </a:r>
          </a:p>
        </p:txBody>
      </p:sp>
      <p:sp>
        <p:nvSpPr>
          <p:cNvPr id="292" name="Rectangle 291">
            <a:extLst>
              <a:ext uri="{FF2B5EF4-FFF2-40B4-BE49-F238E27FC236}">
                <a16:creationId xmlns:a16="http://schemas.microsoft.com/office/drawing/2014/main" id="{464B9DC4-0211-4B7A-888B-BE5D21A7AB03}"/>
              </a:ext>
            </a:extLst>
          </p:cNvPr>
          <p:cNvSpPr/>
          <p:nvPr/>
        </p:nvSpPr>
        <p:spPr>
          <a:xfrm>
            <a:off x="8901113" y="1592263"/>
            <a:ext cx="1282700" cy="206375"/>
          </a:xfrm>
          <a:prstGeom prst="rect">
            <a:avLst/>
          </a:prstGeom>
          <a:solidFill>
            <a:schemeClr val="bg1">
              <a:lumMod val="85000"/>
            </a:schemeClr>
          </a:solidFill>
          <a:ln>
            <a:noFill/>
            <a:prstDash val="dash"/>
          </a:ln>
        </p:spPr>
        <p:txBody>
          <a:bodyPr lIns="72000" rIns="72000" rtlCol="0" anchor="ctr">
            <a:noAutofit/>
          </a:bodyPr>
          <a:lstStyle/>
          <a:p>
            <a:pPr marL="0" indent="0" algn="ctr" defTabSz="685800" fontAlgn="auto">
              <a:lnSpc>
                <a:spcPct val="90000"/>
              </a:lnSpc>
              <a:spcBef>
                <a:spcPts val="750"/>
              </a:spcBef>
              <a:spcAft>
                <a:spcPts val="0"/>
              </a:spcAft>
              <a:buClr>
                <a:srgbClr val="FF0000"/>
              </a:buClr>
              <a:buNone/>
            </a:pPr>
            <a:r>
              <a:rPr lang="nl-NL" sz="1000" b="1" dirty="0">
                <a:solidFill>
                  <a:srgbClr val="000000"/>
                </a:solidFill>
                <a:latin typeface="+mj-lt"/>
              </a:rPr>
              <a:t>Restwaarde</a:t>
            </a:r>
            <a:endParaRPr lang="nl-NL" sz="1050" b="1" dirty="0">
              <a:solidFill>
                <a:srgbClr val="000000"/>
              </a:solidFill>
              <a:latin typeface="+mj-lt"/>
              <a:cs typeface="+mn-cs"/>
            </a:endParaRPr>
          </a:p>
        </p:txBody>
      </p:sp>
      <p:sp>
        <p:nvSpPr>
          <p:cNvPr id="125" name="Rectangle 124">
            <a:extLst>
              <a:ext uri="{FF2B5EF4-FFF2-40B4-BE49-F238E27FC236}">
                <a16:creationId xmlns:a16="http://schemas.microsoft.com/office/drawing/2014/main" id="{552A6AA6-074E-4F9D-B47F-E0AC38C76B4F}"/>
              </a:ext>
            </a:extLst>
          </p:cNvPr>
          <p:cNvSpPr/>
          <p:nvPr/>
        </p:nvSpPr>
        <p:spPr>
          <a:xfrm>
            <a:off x="665261" y="3768725"/>
            <a:ext cx="1020416" cy="900113"/>
          </a:xfrm>
          <a:prstGeom prst="rect">
            <a:avLst/>
          </a:prstGeom>
          <a:solidFill>
            <a:schemeClr val="bg1">
              <a:lumMod val="85000"/>
            </a:schemeClr>
          </a:solidFill>
        </p:spPr>
        <p:txBody>
          <a:bodyPr lIns="0" rIns="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a:solidFill>
                  <a:srgbClr val="000000"/>
                </a:solidFill>
                <a:latin typeface="Corbel" panose="020B0503020204020204" pitchFamily="34" charset="0"/>
                <a:cs typeface="+mn-cs"/>
              </a:rPr>
              <a:t>Saldi</a:t>
            </a:r>
            <a:endParaRPr kumimoji="0" lang="nl-NL" sz="1000" b="1" i="0" u="none" strike="noStrike" kern="1200" cap="none" spc="0" normalizeH="0" baseline="30000" noProof="0" dirty="0">
              <a:ln>
                <a:noFill/>
              </a:ln>
              <a:solidFill>
                <a:srgbClr val="000000"/>
              </a:solidFill>
              <a:effectLst/>
              <a:uLnTx/>
              <a:uFillTx/>
              <a:latin typeface="Corbel" panose="020B0503020204020204" pitchFamily="34" charset="0"/>
              <a:ea typeface="+mn-ea"/>
              <a:cs typeface="+mn-cs"/>
            </a:endParaRPr>
          </a:p>
        </p:txBody>
      </p:sp>
      <p:grpSp>
        <p:nvGrpSpPr>
          <p:cNvPr id="29" name="Group 28">
            <a:extLst>
              <a:ext uri="{FF2B5EF4-FFF2-40B4-BE49-F238E27FC236}">
                <a16:creationId xmlns:a16="http://schemas.microsoft.com/office/drawing/2014/main" id="{308EE7AF-975D-46AC-B2FB-CA10BDB77271}"/>
              </a:ext>
            </a:extLst>
          </p:cNvPr>
          <p:cNvGrpSpPr/>
          <p:nvPr/>
        </p:nvGrpSpPr>
        <p:grpSpPr>
          <a:xfrm>
            <a:off x="1080076" y="3702050"/>
            <a:ext cx="178260" cy="179388"/>
            <a:chOff x="1080076" y="4135694"/>
            <a:chExt cx="178260" cy="179388"/>
          </a:xfrm>
        </p:grpSpPr>
        <p:sp>
          <p:nvSpPr>
            <p:cNvPr id="154" name="Oval 153">
              <a:extLst>
                <a:ext uri="{FF2B5EF4-FFF2-40B4-BE49-F238E27FC236}">
                  <a16:creationId xmlns:a16="http://schemas.microsoft.com/office/drawing/2014/main" id="{09827341-FF10-43BE-AE24-5AB113E40C64}"/>
                </a:ext>
              </a:extLst>
            </p:cNvPr>
            <p:cNvSpPr/>
            <p:nvPr/>
          </p:nvSpPr>
          <p:spPr>
            <a:xfrm>
              <a:off x="1080076" y="4135694"/>
              <a:ext cx="178260" cy="179388"/>
            </a:xfrm>
            <a:prstGeom prst="ellipse">
              <a:avLst/>
            </a:prstGeom>
            <a:solidFill>
              <a:schemeClr val="bg1">
                <a:lumMod val="65000"/>
              </a:schemeClr>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28" name="Group 27">
              <a:extLst>
                <a:ext uri="{FF2B5EF4-FFF2-40B4-BE49-F238E27FC236}">
                  <a16:creationId xmlns:a16="http://schemas.microsoft.com/office/drawing/2014/main" id="{85D13D96-7931-4D81-9745-0650FB0DE559}"/>
                </a:ext>
              </a:extLst>
            </p:cNvPr>
            <p:cNvGrpSpPr/>
            <p:nvPr/>
          </p:nvGrpSpPr>
          <p:grpSpPr>
            <a:xfrm>
              <a:off x="1105666" y="4173365"/>
              <a:ext cx="127080" cy="104046"/>
              <a:chOff x="1105666" y="4175545"/>
              <a:chExt cx="127080" cy="104046"/>
            </a:xfrm>
          </p:grpSpPr>
          <p:sp>
            <p:nvSpPr>
              <p:cNvPr id="155" name="Minus Sign 154">
                <a:extLst>
                  <a:ext uri="{FF2B5EF4-FFF2-40B4-BE49-F238E27FC236}">
                    <a16:creationId xmlns:a16="http://schemas.microsoft.com/office/drawing/2014/main" id="{37D2B906-ECF8-4B48-A845-5CFC1769219D}"/>
                  </a:ext>
                </a:extLst>
              </p:cNvPr>
              <p:cNvSpPr/>
              <p:nvPr/>
            </p:nvSpPr>
            <p:spPr>
              <a:xfrm>
                <a:off x="1105666" y="4175545"/>
                <a:ext cx="127080" cy="65708"/>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59" name="Minus Sign 158">
                <a:extLst>
                  <a:ext uri="{FF2B5EF4-FFF2-40B4-BE49-F238E27FC236}">
                    <a16:creationId xmlns:a16="http://schemas.microsoft.com/office/drawing/2014/main" id="{95FA07B7-EB18-42A2-B417-AC3A4F15EC67}"/>
                  </a:ext>
                </a:extLst>
              </p:cNvPr>
              <p:cNvSpPr/>
              <p:nvPr/>
            </p:nvSpPr>
            <p:spPr>
              <a:xfrm>
                <a:off x="1105666" y="4213883"/>
                <a:ext cx="127080" cy="65708"/>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grpSp>
        <p:nvGrpSpPr>
          <p:cNvPr id="19" name="Group 18">
            <a:extLst>
              <a:ext uri="{FF2B5EF4-FFF2-40B4-BE49-F238E27FC236}">
                <a16:creationId xmlns:a16="http://schemas.microsoft.com/office/drawing/2014/main" id="{EADB7ED3-913B-44C0-9105-56946069D682}"/>
              </a:ext>
            </a:extLst>
          </p:cNvPr>
          <p:cNvGrpSpPr/>
          <p:nvPr/>
        </p:nvGrpSpPr>
        <p:grpSpPr>
          <a:xfrm>
            <a:off x="8795489" y="5273675"/>
            <a:ext cx="178260" cy="179388"/>
            <a:chOff x="8804275" y="5775076"/>
            <a:chExt cx="178260" cy="179388"/>
          </a:xfrm>
        </p:grpSpPr>
        <p:sp>
          <p:nvSpPr>
            <p:cNvPr id="5" name="Oval 4">
              <a:extLst>
                <a:ext uri="{FF2B5EF4-FFF2-40B4-BE49-F238E27FC236}">
                  <a16:creationId xmlns:a16="http://schemas.microsoft.com/office/drawing/2014/main" id="{F2659336-5E9B-4B97-888D-705C499022E4}"/>
                </a:ext>
              </a:extLst>
            </p:cNvPr>
            <p:cNvSpPr/>
            <p:nvPr/>
          </p:nvSpPr>
          <p:spPr>
            <a:xfrm>
              <a:off x="8804275" y="5775076"/>
              <a:ext cx="178260" cy="179388"/>
            </a:xfrm>
            <a:prstGeom prst="ellipse">
              <a:avLst/>
            </a:prstGeom>
            <a:solidFill>
              <a:schemeClr val="bg1">
                <a:lumMod val="65000"/>
              </a:schemeClr>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8" name="Plus Sign 447">
              <a:extLst>
                <a:ext uri="{FF2B5EF4-FFF2-40B4-BE49-F238E27FC236}">
                  <a16:creationId xmlns:a16="http://schemas.microsoft.com/office/drawing/2014/main" id="{509D2769-F4E8-479B-84E2-5D352B42EB15}"/>
                </a:ext>
              </a:extLst>
            </p:cNvPr>
            <p:cNvSpPr/>
            <p:nvPr/>
          </p:nvSpPr>
          <p:spPr>
            <a:xfrm>
              <a:off x="8839405" y="5810770"/>
              <a:ext cx="108000" cy="108000"/>
            </a:xfrm>
            <a:prstGeom prst="mathPl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aphicFrame>
        <p:nvGraphicFramePr>
          <p:cNvPr id="217" name="Chart 216">
            <a:extLst>
              <a:ext uri="{FF2B5EF4-FFF2-40B4-BE49-F238E27FC236}">
                <a16:creationId xmlns:a16="http://schemas.microsoft.com/office/drawing/2014/main" id="{7452E2F3-8B07-481D-9918-A7CCB835C5B3}"/>
              </a:ext>
            </a:extLst>
          </p:cNvPr>
          <p:cNvGraphicFramePr/>
          <p:nvPr>
            <p:custDataLst>
              <p:tags r:id="rId54"/>
            </p:custDataLst>
          </p:nvPr>
        </p:nvGraphicFramePr>
        <p:xfrm>
          <a:off x="8901113" y="2890838"/>
          <a:ext cx="1008062" cy="893762"/>
        </p:xfrm>
        <a:graphic>
          <a:graphicData uri="http://schemas.openxmlformats.org/drawingml/2006/chart">
            <c:chart xmlns:c="http://schemas.openxmlformats.org/drawingml/2006/chart" xmlns:r="http://schemas.openxmlformats.org/officeDocument/2006/relationships" r:id="rId66"/>
          </a:graphicData>
        </a:graphic>
      </p:graphicFrame>
      <p:pic>
        <p:nvPicPr>
          <p:cNvPr id="865" name="Graphic 864" descr="Infinity">
            <a:extLst>
              <a:ext uri="{FF2B5EF4-FFF2-40B4-BE49-F238E27FC236}">
                <a16:creationId xmlns:a16="http://schemas.microsoft.com/office/drawing/2014/main" id="{93C7366A-16AB-4CE1-A7A7-605FA642D68B}"/>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9877870" y="2329688"/>
            <a:ext cx="237576" cy="215900"/>
          </a:xfrm>
          <a:prstGeom prst="rect">
            <a:avLst/>
          </a:prstGeom>
        </p:spPr>
      </p:pic>
      <p:cxnSp>
        <p:nvCxnSpPr>
          <p:cNvPr id="346" name="Straight Arrow Connector 345">
            <a:extLst>
              <a:ext uri="{FF2B5EF4-FFF2-40B4-BE49-F238E27FC236}">
                <a16:creationId xmlns:a16="http://schemas.microsoft.com/office/drawing/2014/main" id="{CF5253AF-561D-46F5-B82D-23FABE15389D}"/>
              </a:ext>
            </a:extLst>
          </p:cNvPr>
          <p:cNvCxnSpPr>
            <a:cxnSpLocks/>
          </p:cNvCxnSpPr>
          <p:nvPr/>
        </p:nvCxnSpPr>
        <p:spPr>
          <a:xfrm>
            <a:off x="8985250" y="3338513"/>
            <a:ext cx="863600" cy="0"/>
          </a:xfrm>
          <a:prstGeom prst="straightConnector1">
            <a:avLst/>
          </a:prstGeom>
          <a:ln w="9525">
            <a:solidFill>
              <a:srgbClr val="525252"/>
            </a:solidFill>
            <a:tailEnd type="triangle"/>
          </a:ln>
        </p:spPr>
        <p:style>
          <a:lnRef idx="1">
            <a:schemeClr val="accent1"/>
          </a:lnRef>
          <a:fillRef idx="0">
            <a:schemeClr val="accent1"/>
          </a:fillRef>
          <a:effectRef idx="0">
            <a:schemeClr val="accent1"/>
          </a:effectRef>
          <a:fontRef idx="minor">
            <a:schemeClr val="tx1"/>
          </a:fontRef>
        </p:style>
      </p:cxnSp>
      <p:pic>
        <p:nvPicPr>
          <p:cNvPr id="347" name="Graphic 346" descr="Infinity">
            <a:extLst>
              <a:ext uri="{FF2B5EF4-FFF2-40B4-BE49-F238E27FC236}">
                <a16:creationId xmlns:a16="http://schemas.microsoft.com/office/drawing/2014/main" id="{0C8EE390-4E04-4E93-9DAC-E73850CF88D9}"/>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9876124" y="3232150"/>
            <a:ext cx="239323" cy="217488"/>
          </a:xfrm>
          <a:prstGeom prst="rect">
            <a:avLst/>
          </a:prstGeom>
        </p:spPr>
      </p:pic>
      <p:cxnSp>
        <p:nvCxnSpPr>
          <p:cNvPr id="348" name="Straight Arrow Connector 347">
            <a:extLst>
              <a:ext uri="{FF2B5EF4-FFF2-40B4-BE49-F238E27FC236}">
                <a16:creationId xmlns:a16="http://schemas.microsoft.com/office/drawing/2014/main" id="{04AC6355-539D-4DBD-A2D0-7296EC751EDB}"/>
              </a:ext>
            </a:extLst>
          </p:cNvPr>
          <p:cNvCxnSpPr>
            <a:cxnSpLocks/>
          </p:cNvCxnSpPr>
          <p:nvPr/>
        </p:nvCxnSpPr>
        <p:spPr>
          <a:xfrm>
            <a:off x="8985250" y="4117975"/>
            <a:ext cx="863600" cy="0"/>
          </a:xfrm>
          <a:prstGeom prst="straightConnector1">
            <a:avLst/>
          </a:prstGeom>
          <a:ln w="9525">
            <a:solidFill>
              <a:srgbClr val="525252"/>
            </a:solidFill>
            <a:tailEnd type="triangle"/>
          </a:ln>
        </p:spPr>
        <p:style>
          <a:lnRef idx="1">
            <a:schemeClr val="accent1"/>
          </a:lnRef>
          <a:fillRef idx="0">
            <a:schemeClr val="accent1"/>
          </a:fillRef>
          <a:effectRef idx="0">
            <a:schemeClr val="accent1"/>
          </a:effectRef>
          <a:fontRef idx="minor">
            <a:schemeClr val="tx1"/>
          </a:fontRef>
        </p:style>
      </p:cxnSp>
      <p:pic>
        <p:nvPicPr>
          <p:cNvPr id="349" name="Graphic 348" descr="Infinity">
            <a:extLst>
              <a:ext uri="{FF2B5EF4-FFF2-40B4-BE49-F238E27FC236}">
                <a16:creationId xmlns:a16="http://schemas.microsoft.com/office/drawing/2014/main" id="{BA68D5B1-1499-435E-95E2-2C6636579272}"/>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9877870" y="4008438"/>
            <a:ext cx="237576" cy="215900"/>
          </a:xfrm>
          <a:prstGeom prst="rect">
            <a:avLst/>
          </a:prstGeom>
        </p:spPr>
      </p:pic>
      <p:sp>
        <p:nvSpPr>
          <p:cNvPr id="9" name="Left Brace 8">
            <a:extLst>
              <a:ext uri="{FF2B5EF4-FFF2-40B4-BE49-F238E27FC236}">
                <a16:creationId xmlns:a16="http://schemas.microsoft.com/office/drawing/2014/main" id="{2B530E4B-E548-4F5B-BF71-59B71DA68A00}"/>
              </a:ext>
            </a:extLst>
          </p:cNvPr>
          <p:cNvSpPr/>
          <p:nvPr/>
        </p:nvSpPr>
        <p:spPr>
          <a:xfrm rot="16200000">
            <a:off x="9421007" y="4129894"/>
            <a:ext cx="222275" cy="1273175"/>
          </a:xfrm>
          <a:prstGeom prst="leftBrace">
            <a:avLst/>
          </a:prstGeom>
          <a:ln>
            <a:solidFill>
              <a:srgbClr val="A6A6A6"/>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NL"/>
          </a:p>
        </p:txBody>
      </p:sp>
      <p:sp>
        <p:nvSpPr>
          <p:cNvPr id="413" name="Rectangle 412">
            <a:extLst>
              <a:ext uri="{FF2B5EF4-FFF2-40B4-BE49-F238E27FC236}">
                <a16:creationId xmlns:a16="http://schemas.microsoft.com/office/drawing/2014/main" id="{A2DF5A8B-D342-4DAD-A32C-1386CFD2ED28}"/>
              </a:ext>
            </a:extLst>
          </p:cNvPr>
          <p:cNvSpPr/>
          <p:nvPr/>
        </p:nvSpPr>
        <p:spPr>
          <a:xfrm>
            <a:off x="10221952" y="4913313"/>
            <a:ext cx="1273191" cy="900113"/>
          </a:xfrm>
          <a:prstGeom prst="rect">
            <a:avLst/>
          </a:prstGeom>
          <a:solidFill>
            <a:srgbClr val="408E94"/>
          </a:solidFill>
        </p:spPr>
        <p:txBody>
          <a:bodyPr lIns="72000" rIns="7200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dirty="0">
                <a:solidFill>
                  <a:srgbClr val="FFFFFF"/>
                </a:solidFill>
                <a:latin typeface="Corbel" panose="020B0503020204020204" pitchFamily="34" charset="0"/>
                <a:cs typeface="+mn-cs"/>
              </a:rPr>
              <a:t>Totale netto contante waarde in 2020</a:t>
            </a:r>
          </a:p>
        </p:txBody>
      </p:sp>
      <p:grpSp>
        <p:nvGrpSpPr>
          <p:cNvPr id="441" name="Group 440">
            <a:extLst>
              <a:ext uri="{FF2B5EF4-FFF2-40B4-BE49-F238E27FC236}">
                <a16:creationId xmlns:a16="http://schemas.microsoft.com/office/drawing/2014/main" id="{6C9CA307-8DAB-4D87-8CD2-A68B82EFE10F}"/>
              </a:ext>
            </a:extLst>
          </p:cNvPr>
          <p:cNvGrpSpPr/>
          <p:nvPr/>
        </p:nvGrpSpPr>
        <p:grpSpPr>
          <a:xfrm>
            <a:off x="1080076" y="2699974"/>
            <a:ext cx="178260" cy="179388"/>
            <a:chOff x="8804275" y="5775076"/>
            <a:chExt cx="178260" cy="179388"/>
          </a:xfrm>
        </p:grpSpPr>
        <p:sp>
          <p:nvSpPr>
            <p:cNvPr id="442" name="Oval 441">
              <a:extLst>
                <a:ext uri="{FF2B5EF4-FFF2-40B4-BE49-F238E27FC236}">
                  <a16:creationId xmlns:a16="http://schemas.microsoft.com/office/drawing/2014/main" id="{8D3BB9C2-FACD-4685-9BC2-CF474BF6A2FB}"/>
                </a:ext>
              </a:extLst>
            </p:cNvPr>
            <p:cNvSpPr/>
            <p:nvPr/>
          </p:nvSpPr>
          <p:spPr>
            <a:xfrm>
              <a:off x="8804275" y="5775076"/>
              <a:ext cx="178260" cy="179388"/>
            </a:xfrm>
            <a:prstGeom prst="ellipse">
              <a:avLst/>
            </a:prstGeom>
            <a:solidFill>
              <a:schemeClr val="bg1">
                <a:lumMod val="65000"/>
              </a:schemeClr>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3" name="Minus Sign 442">
              <a:extLst>
                <a:ext uri="{FF2B5EF4-FFF2-40B4-BE49-F238E27FC236}">
                  <a16:creationId xmlns:a16="http://schemas.microsoft.com/office/drawing/2014/main" id="{96B3522E-D8F3-41CC-8104-3FF1EF3D3782}"/>
                </a:ext>
              </a:extLst>
            </p:cNvPr>
            <p:cNvSpPr/>
            <p:nvPr/>
          </p:nvSpPr>
          <p:spPr>
            <a:xfrm>
              <a:off x="8839405" y="5810770"/>
              <a:ext cx="108000" cy="108000"/>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nvGrpSpPr>
          <p:cNvPr id="444" name="Group 443">
            <a:extLst>
              <a:ext uri="{FF2B5EF4-FFF2-40B4-BE49-F238E27FC236}">
                <a16:creationId xmlns:a16="http://schemas.microsoft.com/office/drawing/2014/main" id="{528B2CD2-6D89-4F2F-A021-AC25141932DD}"/>
              </a:ext>
            </a:extLst>
          </p:cNvPr>
          <p:cNvGrpSpPr/>
          <p:nvPr/>
        </p:nvGrpSpPr>
        <p:grpSpPr>
          <a:xfrm>
            <a:off x="10102390" y="5273069"/>
            <a:ext cx="178260" cy="179388"/>
            <a:chOff x="1080076" y="4135694"/>
            <a:chExt cx="178260" cy="179388"/>
          </a:xfrm>
        </p:grpSpPr>
        <p:sp>
          <p:nvSpPr>
            <p:cNvPr id="445" name="Oval 444">
              <a:extLst>
                <a:ext uri="{FF2B5EF4-FFF2-40B4-BE49-F238E27FC236}">
                  <a16:creationId xmlns:a16="http://schemas.microsoft.com/office/drawing/2014/main" id="{91FF7B87-5967-4879-94E6-09906962D572}"/>
                </a:ext>
              </a:extLst>
            </p:cNvPr>
            <p:cNvSpPr/>
            <p:nvPr/>
          </p:nvSpPr>
          <p:spPr>
            <a:xfrm>
              <a:off x="1080076" y="4135694"/>
              <a:ext cx="178260" cy="179388"/>
            </a:xfrm>
            <a:prstGeom prst="ellipse">
              <a:avLst/>
            </a:prstGeom>
            <a:solidFill>
              <a:schemeClr val="bg1">
                <a:lumMod val="65000"/>
              </a:schemeClr>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446" name="Group 445">
              <a:extLst>
                <a:ext uri="{FF2B5EF4-FFF2-40B4-BE49-F238E27FC236}">
                  <a16:creationId xmlns:a16="http://schemas.microsoft.com/office/drawing/2014/main" id="{BCED50B5-D6F3-46C0-B998-D78848C3D27A}"/>
                </a:ext>
              </a:extLst>
            </p:cNvPr>
            <p:cNvGrpSpPr/>
            <p:nvPr/>
          </p:nvGrpSpPr>
          <p:grpSpPr>
            <a:xfrm>
              <a:off x="1105666" y="4173365"/>
              <a:ext cx="127080" cy="104046"/>
              <a:chOff x="1105666" y="4175545"/>
              <a:chExt cx="127080" cy="104046"/>
            </a:xfrm>
          </p:grpSpPr>
          <p:sp>
            <p:nvSpPr>
              <p:cNvPr id="447" name="Minus Sign 446">
                <a:extLst>
                  <a:ext uri="{FF2B5EF4-FFF2-40B4-BE49-F238E27FC236}">
                    <a16:creationId xmlns:a16="http://schemas.microsoft.com/office/drawing/2014/main" id="{7B3E4D1C-E4C4-4730-B84B-5C6BB96996AC}"/>
                  </a:ext>
                </a:extLst>
              </p:cNvPr>
              <p:cNvSpPr/>
              <p:nvPr/>
            </p:nvSpPr>
            <p:spPr>
              <a:xfrm>
                <a:off x="1105666" y="4175545"/>
                <a:ext cx="127080" cy="65708"/>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9" name="Minus Sign 448">
                <a:extLst>
                  <a:ext uri="{FF2B5EF4-FFF2-40B4-BE49-F238E27FC236}">
                    <a16:creationId xmlns:a16="http://schemas.microsoft.com/office/drawing/2014/main" id="{A74F3CAB-36C2-4F52-AC71-99A1CC329427}"/>
                  </a:ext>
                </a:extLst>
              </p:cNvPr>
              <p:cNvSpPr/>
              <p:nvPr/>
            </p:nvSpPr>
            <p:spPr>
              <a:xfrm>
                <a:off x="1105666" y="4213883"/>
                <a:ext cx="127080" cy="65708"/>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cxnSp>
        <p:nvCxnSpPr>
          <p:cNvPr id="142" name="Straight Arrow Connector 141">
            <a:extLst>
              <a:ext uri="{FF2B5EF4-FFF2-40B4-BE49-F238E27FC236}">
                <a16:creationId xmlns:a16="http://schemas.microsoft.com/office/drawing/2014/main" id="{C76FA6A3-1F3E-497E-A028-4CA864E0F422}"/>
              </a:ext>
            </a:extLst>
          </p:cNvPr>
          <p:cNvCxnSpPr>
            <a:cxnSpLocks/>
          </p:cNvCxnSpPr>
          <p:nvPr/>
        </p:nvCxnSpPr>
        <p:spPr>
          <a:xfrm>
            <a:off x="8985250" y="2435860"/>
            <a:ext cx="863600" cy="0"/>
          </a:xfrm>
          <a:prstGeom prst="straightConnector1">
            <a:avLst/>
          </a:prstGeom>
          <a:ln w="9525">
            <a:solidFill>
              <a:srgbClr val="525252"/>
            </a:solidFill>
            <a:tailEnd type="triangle"/>
          </a:ln>
        </p:spPr>
        <p:style>
          <a:lnRef idx="1">
            <a:schemeClr val="accent1"/>
          </a:lnRef>
          <a:fillRef idx="0">
            <a:schemeClr val="accent1"/>
          </a:fillRef>
          <a:effectRef idx="0">
            <a:schemeClr val="accent1"/>
          </a:effectRef>
          <a:fontRef idx="minor">
            <a:schemeClr val="tx1"/>
          </a:fontRef>
        </p:style>
      </p:cxnSp>
      <p:grpSp>
        <p:nvGrpSpPr>
          <p:cNvPr id="149" name="Group 148">
            <a:extLst>
              <a:ext uri="{FF2B5EF4-FFF2-40B4-BE49-F238E27FC236}">
                <a16:creationId xmlns:a16="http://schemas.microsoft.com/office/drawing/2014/main" id="{DDF40F4C-9291-4FF4-8ED5-92C6AF3B6DD0}"/>
              </a:ext>
            </a:extLst>
          </p:cNvPr>
          <p:cNvGrpSpPr/>
          <p:nvPr/>
        </p:nvGrpSpPr>
        <p:grpSpPr>
          <a:xfrm>
            <a:off x="3984532" y="5438193"/>
            <a:ext cx="2653004" cy="804618"/>
            <a:chOff x="4912914" y="2616755"/>
            <a:chExt cx="2653004" cy="1229330"/>
          </a:xfrm>
        </p:grpSpPr>
        <p:sp>
          <p:nvSpPr>
            <p:cNvPr id="150" name="Speech Bubble: Rectangle 149">
              <a:extLst>
                <a:ext uri="{FF2B5EF4-FFF2-40B4-BE49-F238E27FC236}">
                  <a16:creationId xmlns:a16="http://schemas.microsoft.com/office/drawing/2014/main" id="{F2B1D2A3-8EE5-4319-95FF-B6A25BDB79D2}"/>
                </a:ext>
              </a:extLst>
            </p:cNvPr>
            <p:cNvSpPr/>
            <p:nvPr/>
          </p:nvSpPr>
          <p:spPr>
            <a:xfrm>
              <a:off x="4912914" y="2879992"/>
              <a:ext cx="2653004" cy="966093"/>
            </a:xfrm>
            <a:prstGeom prst="wedgeRectCallout">
              <a:avLst>
                <a:gd name="adj1" fmla="val 19536"/>
                <a:gd name="adj2" fmla="val -60658"/>
              </a:avLst>
            </a:prstGeom>
            <a:solidFill>
              <a:schemeClr val="accent4">
                <a:lumMod val="40000"/>
                <a:lumOff val="60000"/>
              </a:schemeClr>
            </a:solidFill>
            <a:ln>
              <a:solidFill>
                <a:schemeClr val="accent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lang="en-NL" sz="1000" dirty="0">
                  <a:solidFill>
                    <a:srgbClr val="000000"/>
                  </a:solidFill>
                  <a:latin typeface="Corbel" panose="020B0503020204020204" pitchFamily="34" charset="0"/>
                  <a:cs typeface="+mn-cs"/>
                </a:rPr>
                <a:t>H</a:t>
              </a:r>
              <a:r>
                <a:rPr lang="nl-NL" sz="1000" dirty="0">
                  <a:solidFill>
                    <a:srgbClr val="000000"/>
                  </a:solidFill>
                  <a:latin typeface="Corbel" panose="020B0503020204020204" pitchFamily="34" charset="0"/>
                  <a:cs typeface="+mn-cs"/>
                </a:rPr>
                <a:t>e</a:t>
              </a:r>
              <a:r>
                <a:rPr lang="en-NL" sz="1000" dirty="0">
                  <a:solidFill>
                    <a:srgbClr val="000000"/>
                  </a:solidFill>
                  <a:latin typeface="Corbel" panose="020B0503020204020204" pitchFamily="34" charset="0"/>
                  <a:cs typeface="+mn-cs"/>
                </a:rPr>
                <a:t>t </a:t>
              </a:r>
              <a:r>
                <a:rPr lang="nl-NL" sz="1000" dirty="0">
                  <a:solidFill>
                    <a:srgbClr val="000000"/>
                  </a:solidFill>
                  <a:latin typeface="Corbel" panose="020B0503020204020204" pitchFamily="34" charset="0"/>
                  <a:cs typeface="+mn-cs"/>
                </a:rPr>
                <a:t>s</a:t>
              </a:r>
              <a:r>
                <a:rPr lang="en-NL" sz="1000" dirty="0">
                  <a:solidFill>
                    <a:srgbClr val="000000"/>
                  </a:solidFill>
                  <a:latin typeface="Corbel" panose="020B0503020204020204" pitchFamily="34" charset="0"/>
                  <a:cs typeface="+mn-cs"/>
                </a:rPr>
                <a:t>a</a:t>
              </a:r>
              <a:r>
                <a:rPr lang="nl-NL" sz="1000" dirty="0">
                  <a:solidFill>
                    <a:srgbClr val="000000"/>
                  </a:solidFill>
                  <a:latin typeface="Corbel" panose="020B0503020204020204" pitchFamily="34" charset="0"/>
                  <a:cs typeface="+mn-cs"/>
                </a:rPr>
                <a:t>l</a:t>
              </a:r>
              <a:r>
                <a:rPr lang="en-NL" sz="1000" dirty="0">
                  <a:solidFill>
                    <a:srgbClr val="000000"/>
                  </a:solidFill>
                  <a:latin typeface="Corbel" panose="020B0503020204020204" pitchFamily="34" charset="0"/>
                  <a:cs typeface="+mn-cs"/>
                </a:rPr>
                <a:t>d</a:t>
              </a:r>
              <a:r>
                <a:rPr lang="nl-NL" sz="1000" dirty="0">
                  <a:solidFill>
                    <a:srgbClr val="000000"/>
                  </a:solidFill>
                  <a:latin typeface="Corbel" panose="020B0503020204020204" pitchFamily="34" charset="0"/>
                  <a:cs typeface="+mn-cs"/>
                </a:rPr>
                <a:t>o</a:t>
              </a:r>
              <a:r>
                <a:rPr lang="en-NL" sz="1000" dirty="0">
                  <a:solidFill>
                    <a:srgbClr val="000000"/>
                  </a:solidFill>
                  <a:latin typeface="Corbel" panose="020B0503020204020204" pitchFamily="34" charset="0"/>
                  <a:cs typeface="+mn-cs"/>
                </a:rPr>
                <a:t> in elk </a:t>
              </a:r>
              <a:r>
                <a:rPr lang="en-NL" sz="1000" dirty="0" err="1">
                  <a:solidFill>
                    <a:srgbClr val="000000"/>
                  </a:solidFill>
                  <a:latin typeface="Corbel" panose="020B0503020204020204" pitchFamily="34" charset="0"/>
                  <a:cs typeface="+mn-cs"/>
                </a:rPr>
                <a:t>jaar</a:t>
              </a:r>
              <a:r>
                <a:rPr lang="en-NL" sz="1000" dirty="0">
                  <a:solidFill>
                    <a:srgbClr val="000000"/>
                  </a:solidFill>
                  <a:latin typeface="Corbel" panose="020B0503020204020204" pitchFamily="34" charset="0"/>
                  <a:cs typeface="+mn-cs"/>
                </a:rPr>
                <a:t> </a:t>
              </a:r>
              <a:r>
                <a:rPr lang="en-NL" sz="1000" dirty="0" err="1">
                  <a:solidFill>
                    <a:srgbClr val="000000"/>
                  </a:solidFill>
                  <a:latin typeface="Corbel" panose="020B0503020204020204" pitchFamily="34" charset="0"/>
                  <a:cs typeface="+mn-cs"/>
                </a:rPr>
                <a:t>wordt</a:t>
              </a:r>
              <a:r>
                <a:rPr lang="nl-NL" sz="1000" dirty="0">
                  <a:solidFill>
                    <a:srgbClr val="000000"/>
                  </a:solidFill>
                  <a:latin typeface="Corbel" panose="020B0503020204020204" pitchFamily="34" charset="0"/>
                  <a:cs typeface="+mn-cs"/>
                </a:rPr>
                <a:t> verdisconteerd naar 2020</a:t>
              </a:r>
              <a:r>
                <a:rPr lang="en-NL" sz="1000" dirty="0">
                  <a:solidFill>
                    <a:srgbClr val="000000"/>
                  </a:solidFill>
                  <a:latin typeface="Corbel" panose="020B0503020204020204" pitchFamily="34" charset="0"/>
                  <a:cs typeface="+mn-cs"/>
                </a:rPr>
                <a:t>: </a:t>
              </a:r>
              <a:r>
                <a:rPr lang="nl-NL" sz="1000" dirty="0">
                  <a:solidFill>
                    <a:srgbClr val="000000"/>
                  </a:solidFill>
                  <a:latin typeface="Corbel" panose="020B0503020204020204" pitchFamily="34" charset="0"/>
                  <a:cs typeface="+mn-cs"/>
                </a:rPr>
                <a:t>b</a:t>
              </a:r>
              <a:r>
                <a:rPr lang="en-NL" sz="1000" dirty="0" err="1">
                  <a:solidFill>
                    <a:srgbClr val="000000"/>
                  </a:solidFill>
                  <a:latin typeface="Corbel" panose="020B0503020204020204" pitchFamily="34" charset="0"/>
                  <a:cs typeface="+mn-cs"/>
                </a:rPr>
                <a:t>i</a:t>
              </a:r>
              <a:r>
                <a:rPr lang="nl-NL" sz="1000" dirty="0">
                  <a:solidFill>
                    <a:srgbClr val="000000"/>
                  </a:solidFill>
                  <a:latin typeface="Corbel" panose="020B0503020204020204" pitchFamily="34" charset="0"/>
                  <a:cs typeface="+mn-cs"/>
                </a:rPr>
                <a:t>j</a:t>
              </a:r>
              <a:r>
                <a:rPr lang="en-NL" sz="1000" dirty="0">
                  <a:solidFill>
                    <a:srgbClr val="000000"/>
                  </a:solidFill>
                  <a:latin typeface="Corbel" panose="020B0503020204020204" pitchFamily="34" charset="0"/>
                  <a:cs typeface="+mn-cs"/>
                </a:rPr>
                <a:t>v. het </a:t>
              </a:r>
              <a:r>
                <a:rPr lang="nl-NL" sz="1000" dirty="0">
                  <a:solidFill>
                    <a:srgbClr val="000000"/>
                  </a:solidFill>
                  <a:latin typeface="Corbel" panose="020B0503020204020204" pitchFamily="34" charset="0"/>
                  <a:cs typeface="+mn-cs"/>
                </a:rPr>
                <a:t>saldo </a:t>
              </a:r>
              <a:r>
                <a:rPr lang="en-NL" sz="1000" dirty="0" err="1">
                  <a:solidFill>
                    <a:srgbClr val="000000"/>
                  </a:solidFill>
                  <a:latin typeface="Corbel" panose="020B0503020204020204" pitchFamily="34" charset="0"/>
                  <a:cs typeface="+mn-cs"/>
                </a:rPr>
                <a:t>i</a:t>
              </a:r>
              <a:r>
                <a:rPr lang="nl-NL" sz="1000" dirty="0">
                  <a:solidFill>
                    <a:srgbClr val="000000"/>
                  </a:solidFill>
                  <a:latin typeface="Corbel" panose="020B0503020204020204" pitchFamily="34" charset="0"/>
                  <a:cs typeface="+mn-cs"/>
                </a:rPr>
                <a:t>n</a:t>
              </a:r>
              <a:r>
                <a:rPr lang="en-NL" sz="1000" dirty="0">
                  <a:solidFill>
                    <a:srgbClr val="000000"/>
                  </a:solidFill>
                  <a:latin typeface="Corbel" panose="020B0503020204020204" pitchFamily="34" charset="0"/>
                  <a:cs typeface="+mn-cs"/>
                </a:rPr>
                <a:t> 2046 </a:t>
              </a:r>
              <a:r>
                <a:rPr lang="nl-NL" sz="1000" dirty="0">
                  <a:solidFill>
                    <a:srgbClr val="000000"/>
                  </a:solidFill>
                  <a:latin typeface="Corbel" panose="020B0503020204020204" pitchFamily="34" charset="0"/>
                  <a:cs typeface="+mn-cs"/>
                </a:rPr>
                <a:t>i</a:t>
              </a:r>
              <a:r>
                <a:rPr lang="en-NL" sz="1000" dirty="0">
                  <a:solidFill>
                    <a:srgbClr val="000000"/>
                  </a:solidFill>
                  <a:latin typeface="Corbel" panose="020B0503020204020204" pitchFamily="34" charset="0"/>
                  <a:cs typeface="+mn-cs"/>
                </a:rPr>
                <a:t>s €</a:t>
              </a:r>
              <a:r>
                <a:rPr lang="nl-NL" sz="1000" dirty="0">
                  <a:solidFill>
                    <a:srgbClr val="000000"/>
                  </a:solidFill>
                  <a:latin typeface="Corbel" panose="020B0503020204020204" pitchFamily="34" charset="0"/>
                  <a:cs typeface="+mn-cs"/>
                </a:rPr>
                <a:t>5mln. Met </a:t>
              </a:r>
              <a:r>
                <a:rPr lang="nl-NL" sz="1000">
                  <a:solidFill>
                    <a:srgbClr val="000000"/>
                  </a:solidFill>
                  <a:latin typeface="Corbel" panose="020B0503020204020204" pitchFamily="34" charset="0"/>
                  <a:cs typeface="+mn-cs"/>
                </a:rPr>
                <a:t>een disconto</a:t>
              </a:r>
              <a:r>
                <a:rPr lang="en-NL" sz="1000">
                  <a:solidFill>
                    <a:srgbClr val="000000"/>
                  </a:solidFill>
                  <a:latin typeface="Corbel" panose="020B0503020204020204" pitchFamily="34" charset="0"/>
                  <a:cs typeface="+mn-cs"/>
                </a:rPr>
                <a:t>voet</a:t>
              </a:r>
              <a:r>
                <a:rPr lang="nl-NL" sz="1000">
                  <a:solidFill>
                    <a:srgbClr val="000000"/>
                  </a:solidFill>
                  <a:latin typeface="Corbel" panose="020B0503020204020204" pitchFamily="34" charset="0"/>
                  <a:cs typeface="+mn-cs"/>
                </a:rPr>
                <a:t> </a:t>
              </a:r>
              <a:r>
                <a:rPr lang="nl-NL" sz="1000" dirty="0">
                  <a:solidFill>
                    <a:srgbClr val="000000"/>
                  </a:solidFill>
                  <a:latin typeface="Corbel" panose="020B0503020204020204" pitchFamily="34" charset="0"/>
                  <a:cs typeface="+mn-cs"/>
                </a:rPr>
                <a:t>van 4,5% over 27 jaar is de waarde hiervan in 2020 </a:t>
              </a:r>
              <a:r>
                <a:rPr lang="en-NL" sz="1000" dirty="0">
                  <a:solidFill>
                    <a:srgbClr val="000000"/>
                  </a:solidFill>
                  <a:latin typeface="Corbel" panose="020B0503020204020204" pitchFamily="34" charset="0"/>
                  <a:cs typeface="+mn-cs"/>
                </a:rPr>
                <a:t>d</a:t>
              </a:r>
              <a:r>
                <a:rPr lang="nl-NL" sz="1000" dirty="0">
                  <a:solidFill>
                    <a:srgbClr val="000000"/>
                  </a:solidFill>
                  <a:latin typeface="Corbel" panose="020B0503020204020204" pitchFamily="34" charset="0"/>
                  <a:cs typeface="+mn-cs"/>
                </a:rPr>
                <a:t>a</a:t>
              </a:r>
              <a:r>
                <a:rPr lang="en-NL" sz="1000" dirty="0">
                  <a:solidFill>
                    <a:srgbClr val="000000"/>
                  </a:solidFill>
                  <a:latin typeface="Corbel" panose="020B0503020204020204" pitchFamily="34" charset="0"/>
                  <a:cs typeface="+mn-cs"/>
                </a:rPr>
                <a:t>n €</a:t>
              </a:r>
              <a:r>
                <a:rPr lang="nl-NL" sz="1000" dirty="0">
                  <a:solidFill>
                    <a:srgbClr val="000000"/>
                  </a:solidFill>
                  <a:latin typeface="Corbel" panose="020B0503020204020204" pitchFamily="34" charset="0"/>
                  <a:cs typeface="+mn-cs"/>
                </a:rPr>
                <a:t>1,5 mln: 62/(1,045</a:t>
              </a:r>
              <a:r>
                <a:rPr lang="nl-NL" sz="1000" baseline="30000" dirty="0">
                  <a:solidFill>
                    <a:srgbClr val="000000"/>
                  </a:solidFill>
                  <a:latin typeface="Corbel" panose="020B0503020204020204" pitchFamily="34" charset="0"/>
                  <a:cs typeface="+mn-cs"/>
                </a:rPr>
                <a:t>27</a:t>
              </a:r>
              <a:r>
                <a:rPr lang="nl-NL" sz="1000" dirty="0">
                  <a:solidFill>
                    <a:srgbClr val="000000"/>
                  </a:solidFill>
                  <a:latin typeface="Corbel" panose="020B0503020204020204" pitchFamily="34" charset="0"/>
                  <a:cs typeface="+mn-cs"/>
                </a:rPr>
                <a:t>)</a:t>
              </a:r>
              <a:endPar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51" name="Rectangle 150">
              <a:extLst>
                <a:ext uri="{FF2B5EF4-FFF2-40B4-BE49-F238E27FC236}">
                  <a16:creationId xmlns:a16="http://schemas.microsoft.com/office/drawing/2014/main" id="{7B39F3C0-95E4-4A87-964B-24264AE8DE78}"/>
                </a:ext>
              </a:extLst>
            </p:cNvPr>
            <p:cNvSpPr/>
            <p:nvPr/>
          </p:nvSpPr>
          <p:spPr>
            <a:xfrm>
              <a:off x="4912914" y="2616755"/>
              <a:ext cx="725888" cy="263237"/>
            </a:xfrm>
            <a:prstGeom prst="rect">
              <a:avLst/>
            </a:prstGeom>
            <a:solidFill>
              <a:schemeClr val="accent4"/>
            </a:solidFill>
            <a:ln>
              <a:solidFill>
                <a:schemeClr val="accent1"/>
              </a:solidFill>
            </a:ln>
          </p:spPr>
          <p:txBody>
            <a:bodyPr lIns="0" tIns="0" rIns="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 2</a:t>
              </a:r>
              <a:endPar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nvGrpSpPr>
          <p:cNvPr id="267" name="Group 266">
            <a:extLst>
              <a:ext uri="{FF2B5EF4-FFF2-40B4-BE49-F238E27FC236}">
                <a16:creationId xmlns:a16="http://schemas.microsoft.com/office/drawing/2014/main" id="{56A09F15-2F3E-4687-A9ED-A4A1BB3E7CA9}"/>
              </a:ext>
            </a:extLst>
          </p:cNvPr>
          <p:cNvGrpSpPr/>
          <p:nvPr/>
        </p:nvGrpSpPr>
        <p:grpSpPr>
          <a:xfrm>
            <a:off x="7804151" y="5438193"/>
            <a:ext cx="2298239" cy="804619"/>
            <a:chOff x="4912914" y="2616754"/>
            <a:chExt cx="2298239" cy="1229331"/>
          </a:xfrm>
        </p:grpSpPr>
        <p:sp>
          <p:nvSpPr>
            <p:cNvPr id="268" name="Speech Bubble: Rectangle 267">
              <a:extLst>
                <a:ext uri="{FF2B5EF4-FFF2-40B4-BE49-F238E27FC236}">
                  <a16:creationId xmlns:a16="http://schemas.microsoft.com/office/drawing/2014/main" id="{E0F55795-D38A-4ED8-89D5-ECDCAD84938C}"/>
                </a:ext>
              </a:extLst>
            </p:cNvPr>
            <p:cNvSpPr/>
            <p:nvPr/>
          </p:nvSpPr>
          <p:spPr>
            <a:xfrm>
              <a:off x="4912914" y="2879992"/>
              <a:ext cx="2298239" cy="966093"/>
            </a:xfrm>
            <a:prstGeom prst="wedgeRectCallout">
              <a:avLst>
                <a:gd name="adj1" fmla="val 22938"/>
                <a:gd name="adj2" fmla="val -67662"/>
              </a:avLst>
            </a:prstGeom>
            <a:solidFill>
              <a:schemeClr val="accent4">
                <a:lumMod val="40000"/>
                <a:lumOff val="60000"/>
              </a:schemeClr>
            </a:solidFill>
            <a:ln>
              <a:solidFill>
                <a:schemeClr val="accent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lang="nl-NL" sz="1000" dirty="0">
                  <a:solidFill>
                    <a:srgbClr val="000000"/>
                  </a:solidFill>
                  <a:latin typeface="Corbel" panose="020B0503020204020204" pitchFamily="34" charset="0"/>
                  <a:cs typeface="+mn-cs"/>
                </a:rPr>
                <a:t>De restwaarde wordt berekend door het </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perationeel resultaat vanaf 2059 constant te houden </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 </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 </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h</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a:t>
              </a:r>
              <a:r>
                <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a:t>
              </a:r>
              <a:r>
                <a:rPr lang="en-NL" sz="1000" dirty="0" err="1">
                  <a:solidFill>
                    <a:srgbClr val="000000"/>
                  </a:solidFill>
                  <a:latin typeface="Corbel" panose="020B0503020204020204" pitchFamily="34" charset="0"/>
                  <a:cs typeface="+mn-cs"/>
                </a:rPr>
                <a:t>oneindig</a:t>
              </a:r>
              <a:r>
                <a:rPr lang="nl-NL" sz="1000" dirty="0">
                  <a:solidFill>
                    <a:srgbClr val="000000"/>
                  </a:solidFill>
                  <a:latin typeface="Corbel" panose="020B0503020204020204" pitchFamily="34" charset="0"/>
                  <a:cs typeface="+mn-cs"/>
                </a:rPr>
                <a:t>e</a:t>
              </a:r>
              <a:r>
                <a:rPr lang="en-NL" sz="1000" dirty="0">
                  <a:solidFill>
                    <a:srgbClr val="000000"/>
                  </a:solidFill>
                  <a:latin typeface="Corbel" panose="020B0503020204020204" pitchFamily="34" charset="0"/>
                  <a:cs typeface="+mn-cs"/>
                </a:rPr>
                <a:t> </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n te verdisconteren naar 2020</a:t>
              </a:r>
              <a:endPar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69" name="Rectangle 268">
              <a:extLst>
                <a:ext uri="{FF2B5EF4-FFF2-40B4-BE49-F238E27FC236}">
                  <a16:creationId xmlns:a16="http://schemas.microsoft.com/office/drawing/2014/main" id="{A877358B-6870-4F8B-BDCF-6A58B405750C}"/>
                </a:ext>
              </a:extLst>
            </p:cNvPr>
            <p:cNvSpPr/>
            <p:nvPr/>
          </p:nvSpPr>
          <p:spPr>
            <a:xfrm>
              <a:off x="4912914" y="2616754"/>
              <a:ext cx="725888" cy="263237"/>
            </a:xfrm>
            <a:prstGeom prst="rect">
              <a:avLst/>
            </a:prstGeom>
            <a:solidFill>
              <a:schemeClr val="accent4"/>
            </a:solidFill>
            <a:ln>
              <a:solidFill>
                <a:schemeClr val="accent1"/>
              </a:solidFill>
            </a:ln>
          </p:spPr>
          <p:txBody>
            <a:bodyPr lIns="0" tIns="0" rIns="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 </a:t>
              </a:r>
              <a:r>
                <a:rPr lang="nl-NL" sz="1000" b="1" dirty="0">
                  <a:solidFill>
                    <a:srgbClr val="000000"/>
                  </a:solidFill>
                  <a:latin typeface="Corbel" panose="020B0503020204020204" pitchFamily="34" charset="0"/>
                  <a:cs typeface="+mn-cs"/>
                </a:rPr>
                <a:t>3</a:t>
              </a:r>
              <a:endPar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nvGrpSpPr>
          <p:cNvPr id="273" name="Group 272">
            <a:extLst>
              <a:ext uri="{FF2B5EF4-FFF2-40B4-BE49-F238E27FC236}">
                <a16:creationId xmlns:a16="http://schemas.microsoft.com/office/drawing/2014/main" id="{179F79ED-A167-4207-A528-2BE21CE75A99}"/>
              </a:ext>
            </a:extLst>
          </p:cNvPr>
          <p:cNvGrpSpPr/>
          <p:nvPr/>
        </p:nvGrpSpPr>
        <p:grpSpPr>
          <a:xfrm>
            <a:off x="9746869" y="3795921"/>
            <a:ext cx="1786320" cy="933975"/>
            <a:chOff x="4912914" y="2453523"/>
            <a:chExt cx="1786320" cy="1426967"/>
          </a:xfrm>
        </p:grpSpPr>
        <p:sp>
          <p:nvSpPr>
            <p:cNvPr id="274" name="Speech Bubble: Rectangle 273">
              <a:extLst>
                <a:ext uri="{FF2B5EF4-FFF2-40B4-BE49-F238E27FC236}">
                  <a16:creationId xmlns:a16="http://schemas.microsoft.com/office/drawing/2014/main" id="{724D1D0E-14CF-4D4F-823C-5AE4C8C0B9CE}"/>
                </a:ext>
              </a:extLst>
            </p:cNvPr>
            <p:cNvSpPr/>
            <p:nvPr/>
          </p:nvSpPr>
          <p:spPr>
            <a:xfrm>
              <a:off x="4912916" y="2716760"/>
              <a:ext cx="1786318" cy="1163730"/>
            </a:xfrm>
            <a:prstGeom prst="wedgeRectCallout">
              <a:avLst>
                <a:gd name="adj1" fmla="val -27612"/>
                <a:gd name="adj2" fmla="val 104726"/>
              </a:avLst>
            </a:prstGeom>
            <a:solidFill>
              <a:schemeClr val="accent4">
                <a:lumMod val="40000"/>
                <a:lumOff val="60000"/>
              </a:schemeClr>
            </a:solidFill>
            <a:ln>
              <a:solidFill>
                <a:schemeClr val="accent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e netto contante waarde van alle saldi en de restwaarde worden bij elkaar opgeteld om tot de totale netto contante waarde te komen</a:t>
              </a:r>
              <a:endParaRPr kumimoji="0" lang="en-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5" name="Rectangle 274">
              <a:extLst>
                <a:ext uri="{FF2B5EF4-FFF2-40B4-BE49-F238E27FC236}">
                  <a16:creationId xmlns:a16="http://schemas.microsoft.com/office/drawing/2014/main" id="{412C0D13-7AF2-456C-BA88-F244B48EEE20}"/>
                </a:ext>
              </a:extLst>
            </p:cNvPr>
            <p:cNvSpPr/>
            <p:nvPr/>
          </p:nvSpPr>
          <p:spPr>
            <a:xfrm>
              <a:off x="4912914" y="2453523"/>
              <a:ext cx="725888" cy="263237"/>
            </a:xfrm>
            <a:prstGeom prst="rect">
              <a:avLst/>
            </a:prstGeom>
            <a:solidFill>
              <a:schemeClr val="accent4"/>
            </a:solidFill>
            <a:ln>
              <a:solidFill>
                <a:schemeClr val="accent1"/>
              </a:solidFill>
            </a:ln>
          </p:spPr>
          <p:txBody>
            <a:bodyPr lIns="0" tIns="0" rIns="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 4</a:t>
              </a:r>
              <a:endPar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cxnSp>
        <p:nvCxnSpPr>
          <p:cNvPr id="165" name="Straight Arrow Connector 164">
            <a:extLst>
              <a:ext uri="{FF2B5EF4-FFF2-40B4-BE49-F238E27FC236}">
                <a16:creationId xmlns:a16="http://schemas.microsoft.com/office/drawing/2014/main" id="{BD39BF48-C67C-4563-A4A0-281EE1C2F1C2}"/>
              </a:ext>
            </a:extLst>
          </p:cNvPr>
          <p:cNvCxnSpPr>
            <a:cxnSpLocks/>
          </p:cNvCxnSpPr>
          <p:nvPr/>
        </p:nvCxnSpPr>
        <p:spPr>
          <a:xfrm>
            <a:off x="9535564" y="4807744"/>
            <a:ext cx="0" cy="94456"/>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62" name="Speech Bubble: Rectangle 161">
            <a:extLst>
              <a:ext uri="{FF2B5EF4-FFF2-40B4-BE49-F238E27FC236}">
                <a16:creationId xmlns:a16="http://schemas.microsoft.com/office/drawing/2014/main" id="{397263DE-1D1A-48FD-9A54-8129F5188AF4}"/>
              </a:ext>
            </a:extLst>
          </p:cNvPr>
          <p:cNvSpPr/>
          <p:nvPr/>
        </p:nvSpPr>
        <p:spPr>
          <a:xfrm>
            <a:off x="2297744" y="3385996"/>
            <a:ext cx="2303862" cy="498275"/>
          </a:xfrm>
          <a:prstGeom prst="wedgeRectCallout">
            <a:avLst>
              <a:gd name="adj1" fmla="val -8278"/>
              <a:gd name="adj2" fmla="val 69826"/>
            </a:avLst>
          </a:prstGeom>
          <a:solidFill>
            <a:schemeClr val="accent4">
              <a:lumMod val="40000"/>
              <a:lumOff val="60000"/>
            </a:schemeClr>
          </a:solidFill>
          <a:ln>
            <a:solidFill>
              <a:schemeClr val="accent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r>
              <a:rPr lang="nl-NL" sz="1050" dirty="0">
                <a:solidFill>
                  <a:srgbClr val="000000"/>
                </a:solidFill>
                <a:latin typeface="Corbel" panose="020B0503020204020204" pitchFamily="34" charset="0"/>
                <a:cs typeface="+mn-cs"/>
              </a:rPr>
              <a:t>Voor ieder jaar in de business case wordt het saldo berekend op basis van de opbrengsten en kosten</a:t>
            </a:r>
            <a:endParaRPr kumimoji="0" lang="en-NL" sz="105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63" name="Rectangle 162">
            <a:extLst>
              <a:ext uri="{FF2B5EF4-FFF2-40B4-BE49-F238E27FC236}">
                <a16:creationId xmlns:a16="http://schemas.microsoft.com/office/drawing/2014/main" id="{185D72A8-D86A-422F-90DF-44DFBBC6EEE9}"/>
              </a:ext>
            </a:extLst>
          </p:cNvPr>
          <p:cNvSpPr/>
          <p:nvPr/>
        </p:nvSpPr>
        <p:spPr>
          <a:xfrm>
            <a:off x="2297744" y="3209630"/>
            <a:ext cx="725888" cy="172293"/>
          </a:xfrm>
          <a:prstGeom prst="rect">
            <a:avLst/>
          </a:prstGeom>
          <a:solidFill>
            <a:schemeClr val="accent4"/>
          </a:solidFill>
          <a:ln>
            <a:solidFill>
              <a:schemeClr val="accent1"/>
            </a:solidFill>
          </a:ln>
        </p:spPr>
        <p:txBody>
          <a:bodyPr lIns="0" tIns="0" rIns="0" bIns="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Stap 1</a:t>
            </a:r>
            <a:endParaRPr kumimoji="0" lang="en-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2" name="Group 1">
            <a:extLst>
              <a:ext uri="{FF2B5EF4-FFF2-40B4-BE49-F238E27FC236}">
                <a16:creationId xmlns:a16="http://schemas.microsoft.com/office/drawing/2014/main" id="{2231DCB2-2463-4642-8C5B-BC5F2A0C867C}"/>
              </a:ext>
            </a:extLst>
          </p:cNvPr>
          <p:cNvGrpSpPr/>
          <p:nvPr/>
        </p:nvGrpSpPr>
        <p:grpSpPr>
          <a:xfrm>
            <a:off x="753900" y="4654550"/>
            <a:ext cx="7949690" cy="247650"/>
            <a:chOff x="753900" y="4654550"/>
            <a:chExt cx="7949690" cy="247650"/>
          </a:xfrm>
        </p:grpSpPr>
        <p:grpSp>
          <p:nvGrpSpPr>
            <p:cNvPr id="13" name="Group 12">
              <a:extLst>
                <a:ext uri="{FF2B5EF4-FFF2-40B4-BE49-F238E27FC236}">
                  <a16:creationId xmlns:a16="http://schemas.microsoft.com/office/drawing/2014/main" id="{E7096599-A9E7-47BD-ADCD-36FE09FCF417}"/>
                </a:ext>
              </a:extLst>
            </p:cNvPr>
            <p:cNvGrpSpPr/>
            <p:nvPr/>
          </p:nvGrpSpPr>
          <p:grpSpPr>
            <a:xfrm>
              <a:off x="1974850" y="4654550"/>
              <a:ext cx="690562" cy="247650"/>
              <a:chOff x="1974850" y="4654550"/>
              <a:chExt cx="690562" cy="247650"/>
            </a:xfrm>
          </p:grpSpPr>
          <p:cxnSp>
            <p:nvCxnSpPr>
              <p:cNvPr id="907" name="Straight Arrow Connector 906">
                <a:extLst>
                  <a:ext uri="{FF2B5EF4-FFF2-40B4-BE49-F238E27FC236}">
                    <a16:creationId xmlns:a16="http://schemas.microsoft.com/office/drawing/2014/main" id="{CE31E19D-F558-496F-88FD-AB29E992D52B}"/>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55" name="Straight Arrow Connector 354">
                <a:extLst>
                  <a:ext uri="{FF2B5EF4-FFF2-40B4-BE49-F238E27FC236}">
                    <a16:creationId xmlns:a16="http://schemas.microsoft.com/office/drawing/2014/main" id="{BEB8A441-9BE0-41FD-8D15-C1BD85B372C8}"/>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56" name="Straight Arrow Connector 355">
                <a:extLst>
                  <a:ext uri="{FF2B5EF4-FFF2-40B4-BE49-F238E27FC236}">
                    <a16:creationId xmlns:a16="http://schemas.microsoft.com/office/drawing/2014/main" id="{885951CB-6C51-48C1-8F4A-A7CE69BC58BF}"/>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57" name="Straight Arrow Connector 356">
                <a:extLst>
                  <a:ext uri="{FF2B5EF4-FFF2-40B4-BE49-F238E27FC236}">
                    <a16:creationId xmlns:a16="http://schemas.microsoft.com/office/drawing/2014/main" id="{171A7837-329D-425F-A9DA-B1A2FEB89756}"/>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58" name="Straight Arrow Connector 357">
                <a:extLst>
                  <a:ext uri="{FF2B5EF4-FFF2-40B4-BE49-F238E27FC236}">
                    <a16:creationId xmlns:a16="http://schemas.microsoft.com/office/drawing/2014/main" id="{4DF6892C-52CA-4046-B1D9-51B1C9D8A094}"/>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59" name="Group 358">
              <a:extLst>
                <a:ext uri="{FF2B5EF4-FFF2-40B4-BE49-F238E27FC236}">
                  <a16:creationId xmlns:a16="http://schemas.microsoft.com/office/drawing/2014/main" id="{942A897F-282B-4B7A-864A-03C941A243D3}"/>
                </a:ext>
              </a:extLst>
            </p:cNvPr>
            <p:cNvGrpSpPr/>
            <p:nvPr/>
          </p:nvGrpSpPr>
          <p:grpSpPr>
            <a:xfrm>
              <a:off x="2837408" y="4654550"/>
              <a:ext cx="690562" cy="247650"/>
              <a:chOff x="1974850" y="4654550"/>
              <a:chExt cx="690562" cy="247650"/>
            </a:xfrm>
          </p:grpSpPr>
          <p:cxnSp>
            <p:nvCxnSpPr>
              <p:cNvPr id="360" name="Straight Arrow Connector 359">
                <a:extLst>
                  <a:ext uri="{FF2B5EF4-FFF2-40B4-BE49-F238E27FC236}">
                    <a16:creationId xmlns:a16="http://schemas.microsoft.com/office/drawing/2014/main" id="{F7AF209D-3B80-4C1B-8555-19397B870CE6}"/>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1" name="Straight Arrow Connector 360">
                <a:extLst>
                  <a:ext uri="{FF2B5EF4-FFF2-40B4-BE49-F238E27FC236}">
                    <a16:creationId xmlns:a16="http://schemas.microsoft.com/office/drawing/2014/main" id="{83E0F49E-5AED-49FC-B1ED-7D98FDE102D8}"/>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2" name="Straight Arrow Connector 361">
                <a:extLst>
                  <a:ext uri="{FF2B5EF4-FFF2-40B4-BE49-F238E27FC236}">
                    <a16:creationId xmlns:a16="http://schemas.microsoft.com/office/drawing/2014/main" id="{CA869909-CBC6-4FA0-8E1B-709785A5776C}"/>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Straight Arrow Connector 362">
                <a:extLst>
                  <a:ext uri="{FF2B5EF4-FFF2-40B4-BE49-F238E27FC236}">
                    <a16:creationId xmlns:a16="http://schemas.microsoft.com/office/drawing/2014/main" id="{5FAB67D1-6606-4910-AF4D-2288DA7C6705}"/>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4" name="Straight Arrow Connector 363">
                <a:extLst>
                  <a:ext uri="{FF2B5EF4-FFF2-40B4-BE49-F238E27FC236}">
                    <a16:creationId xmlns:a16="http://schemas.microsoft.com/office/drawing/2014/main" id="{3F71843D-9434-47A9-AD67-D92B1C2A6F5E}"/>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65" name="Group 364">
              <a:extLst>
                <a:ext uri="{FF2B5EF4-FFF2-40B4-BE49-F238E27FC236}">
                  <a16:creationId xmlns:a16="http://schemas.microsoft.com/office/drawing/2014/main" id="{0B337A39-1BF9-41E7-A30A-CE336963BF81}"/>
                </a:ext>
              </a:extLst>
            </p:cNvPr>
            <p:cNvGrpSpPr/>
            <p:nvPr/>
          </p:nvGrpSpPr>
          <p:grpSpPr>
            <a:xfrm>
              <a:off x="3706813" y="4654550"/>
              <a:ext cx="690562" cy="247650"/>
              <a:chOff x="1974850" y="4654550"/>
              <a:chExt cx="690562" cy="247650"/>
            </a:xfrm>
          </p:grpSpPr>
          <p:cxnSp>
            <p:nvCxnSpPr>
              <p:cNvPr id="366" name="Straight Arrow Connector 365">
                <a:extLst>
                  <a:ext uri="{FF2B5EF4-FFF2-40B4-BE49-F238E27FC236}">
                    <a16:creationId xmlns:a16="http://schemas.microsoft.com/office/drawing/2014/main" id="{224F058B-EFCC-4599-B475-EFA6C9657647}"/>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7" name="Straight Arrow Connector 366">
                <a:extLst>
                  <a:ext uri="{FF2B5EF4-FFF2-40B4-BE49-F238E27FC236}">
                    <a16:creationId xmlns:a16="http://schemas.microsoft.com/office/drawing/2014/main" id="{92CD132D-E622-445F-8EFF-3330196E596B}"/>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8" name="Straight Arrow Connector 367">
                <a:extLst>
                  <a:ext uri="{FF2B5EF4-FFF2-40B4-BE49-F238E27FC236}">
                    <a16:creationId xmlns:a16="http://schemas.microsoft.com/office/drawing/2014/main" id="{A52F7C26-D232-4158-BC07-74257120666A}"/>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69" name="Straight Arrow Connector 368">
                <a:extLst>
                  <a:ext uri="{FF2B5EF4-FFF2-40B4-BE49-F238E27FC236}">
                    <a16:creationId xmlns:a16="http://schemas.microsoft.com/office/drawing/2014/main" id="{D2FE6D24-3FDF-4A60-B1E5-6C16208B25EB}"/>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0" name="Straight Arrow Connector 369">
                <a:extLst>
                  <a:ext uri="{FF2B5EF4-FFF2-40B4-BE49-F238E27FC236}">
                    <a16:creationId xmlns:a16="http://schemas.microsoft.com/office/drawing/2014/main" id="{E7BB0B5E-A883-462D-B35F-4B7A0C8CD78C}"/>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71" name="Group 370">
              <a:extLst>
                <a:ext uri="{FF2B5EF4-FFF2-40B4-BE49-F238E27FC236}">
                  <a16:creationId xmlns:a16="http://schemas.microsoft.com/office/drawing/2014/main" id="{16C0809C-6D21-4FD6-AAC0-8AB97B957240}"/>
                </a:ext>
              </a:extLst>
            </p:cNvPr>
            <p:cNvGrpSpPr/>
            <p:nvPr/>
          </p:nvGrpSpPr>
          <p:grpSpPr>
            <a:xfrm>
              <a:off x="4569894" y="4654550"/>
              <a:ext cx="690562" cy="247650"/>
              <a:chOff x="1974850" y="4654550"/>
              <a:chExt cx="690562" cy="247650"/>
            </a:xfrm>
          </p:grpSpPr>
          <p:cxnSp>
            <p:nvCxnSpPr>
              <p:cNvPr id="372" name="Straight Arrow Connector 371">
                <a:extLst>
                  <a:ext uri="{FF2B5EF4-FFF2-40B4-BE49-F238E27FC236}">
                    <a16:creationId xmlns:a16="http://schemas.microsoft.com/office/drawing/2014/main" id="{E1F2D649-3B13-4588-84D6-466F8F3982B8}"/>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3" name="Straight Arrow Connector 372">
                <a:extLst>
                  <a:ext uri="{FF2B5EF4-FFF2-40B4-BE49-F238E27FC236}">
                    <a16:creationId xmlns:a16="http://schemas.microsoft.com/office/drawing/2014/main" id="{E21FD413-A012-45D7-A507-9ED29A932D92}"/>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4" name="Straight Arrow Connector 373">
                <a:extLst>
                  <a:ext uri="{FF2B5EF4-FFF2-40B4-BE49-F238E27FC236}">
                    <a16:creationId xmlns:a16="http://schemas.microsoft.com/office/drawing/2014/main" id="{EC98973F-6C71-4173-89B7-4427640EAC48}"/>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5" name="Straight Arrow Connector 374">
                <a:extLst>
                  <a:ext uri="{FF2B5EF4-FFF2-40B4-BE49-F238E27FC236}">
                    <a16:creationId xmlns:a16="http://schemas.microsoft.com/office/drawing/2014/main" id="{3F763F41-CF44-4071-A274-6FF8224D7897}"/>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6" name="Straight Arrow Connector 375">
                <a:extLst>
                  <a:ext uri="{FF2B5EF4-FFF2-40B4-BE49-F238E27FC236}">
                    <a16:creationId xmlns:a16="http://schemas.microsoft.com/office/drawing/2014/main" id="{97B4DF54-6510-43DE-91DC-FE4A9BEB07D9}"/>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77" name="Group 376">
              <a:extLst>
                <a:ext uri="{FF2B5EF4-FFF2-40B4-BE49-F238E27FC236}">
                  <a16:creationId xmlns:a16="http://schemas.microsoft.com/office/drawing/2014/main" id="{ACD2A0EE-61C5-43E7-AA6D-BA09F0BB923D}"/>
                </a:ext>
              </a:extLst>
            </p:cNvPr>
            <p:cNvGrpSpPr/>
            <p:nvPr/>
          </p:nvGrpSpPr>
          <p:grpSpPr>
            <a:xfrm>
              <a:off x="5433936" y="4654550"/>
              <a:ext cx="690562" cy="247650"/>
              <a:chOff x="1974850" y="4654550"/>
              <a:chExt cx="690562" cy="247650"/>
            </a:xfrm>
          </p:grpSpPr>
          <p:cxnSp>
            <p:nvCxnSpPr>
              <p:cNvPr id="378" name="Straight Arrow Connector 377">
                <a:extLst>
                  <a:ext uri="{FF2B5EF4-FFF2-40B4-BE49-F238E27FC236}">
                    <a16:creationId xmlns:a16="http://schemas.microsoft.com/office/drawing/2014/main" id="{C4EF4DEF-315D-49F1-BCC2-76658F4ADE7C}"/>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79" name="Straight Arrow Connector 378">
                <a:extLst>
                  <a:ext uri="{FF2B5EF4-FFF2-40B4-BE49-F238E27FC236}">
                    <a16:creationId xmlns:a16="http://schemas.microsoft.com/office/drawing/2014/main" id="{5DA32FF0-1CF6-4E68-81F0-D4625200E690}"/>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0" name="Straight Arrow Connector 379">
                <a:extLst>
                  <a:ext uri="{FF2B5EF4-FFF2-40B4-BE49-F238E27FC236}">
                    <a16:creationId xmlns:a16="http://schemas.microsoft.com/office/drawing/2014/main" id="{2B041D64-6A9D-472C-95AA-BFE2A98274FE}"/>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1" name="Straight Arrow Connector 380">
                <a:extLst>
                  <a:ext uri="{FF2B5EF4-FFF2-40B4-BE49-F238E27FC236}">
                    <a16:creationId xmlns:a16="http://schemas.microsoft.com/office/drawing/2014/main" id="{86B7BA6B-2D1E-4B8A-B27E-2F3D7C4278F0}"/>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C4168B31-59B7-4F6E-B74D-53F3BE2E91CF}"/>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83" name="Group 382">
              <a:extLst>
                <a:ext uri="{FF2B5EF4-FFF2-40B4-BE49-F238E27FC236}">
                  <a16:creationId xmlns:a16="http://schemas.microsoft.com/office/drawing/2014/main" id="{13FD8AFC-7483-4082-9519-2E5860CE3F3E}"/>
                </a:ext>
              </a:extLst>
            </p:cNvPr>
            <p:cNvGrpSpPr/>
            <p:nvPr/>
          </p:nvGrpSpPr>
          <p:grpSpPr>
            <a:xfrm>
              <a:off x="6291461" y="4654550"/>
              <a:ext cx="690562" cy="247650"/>
              <a:chOff x="1974850" y="4654550"/>
              <a:chExt cx="690562" cy="247650"/>
            </a:xfrm>
          </p:grpSpPr>
          <p:cxnSp>
            <p:nvCxnSpPr>
              <p:cNvPr id="384" name="Straight Arrow Connector 383">
                <a:extLst>
                  <a:ext uri="{FF2B5EF4-FFF2-40B4-BE49-F238E27FC236}">
                    <a16:creationId xmlns:a16="http://schemas.microsoft.com/office/drawing/2014/main" id="{D18BD0CF-09A6-41F0-9892-265C308B61DF}"/>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5" name="Straight Arrow Connector 384">
                <a:extLst>
                  <a:ext uri="{FF2B5EF4-FFF2-40B4-BE49-F238E27FC236}">
                    <a16:creationId xmlns:a16="http://schemas.microsoft.com/office/drawing/2014/main" id="{7539C057-CE1F-48B2-A46A-474B44A13BB6}"/>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6" name="Straight Arrow Connector 385">
                <a:extLst>
                  <a:ext uri="{FF2B5EF4-FFF2-40B4-BE49-F238E27FC236}">
                    <a16:creationId xmlns:a16="http://schemas.microsoft.com/office/drawing/2014/main" id="{F43D1B59-6D9C-4FD7-A870-C354C62D7343}"/>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7" name="Straight Arrow Connector 386">
                <a:extLst>
                  <a:ext uri="{FF2B5EF4-FFF2-40B4-BE49-F238E27FC236}">
                    <a16:creationId xmlns:a16="http://schemas.microsoft.com/office/drawing/2014/main" id="{F8531360-EFA0-4DDA-B48B-D7432906CF90}"/>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88" name="Straight Arrow Connector 387">
                <a:extLst>
                  <a:ext uri="{FF2B5EF4-FFF2-40B4-BE49-F238E27FC236}">
                    <a16:creationId xmlns:a16="http://schemas.microsoft.com/office/drawing/2014/main" id="{ED78D9D5-8060-4533-A0AB-B42342F28536}"/>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grpSp>
          <p:nvGrpSpPr>
            <p:cNvPr id="389" name="Group 388">
              <a:extLst>
                <a:ext uri="{FF2B5EF4-FFF2-40B4-BE49-F238E27FC236}">
                  <a16:creationId xmlns:a16="http://schemas.microsoft.com/office/drawing/2014/main" id="{46548B72-49D2-469E-8315-F78C09642AAC}"/>
                </a:ext>
              </a:extLst>
            </p:cNvPr>
            <p:cNvGrpSpPr/>
            <p:nvPr/>
          </p:nvGrpSpPr>
          <p:grpSpPr>
            <a:xfrm>
              <a:off x="7154863" y="4654550"/>
              <a:ext cx="690562" cy="247650"/>
              <a:chOff x="1974850" y="4654550"/>
              <a:chExt cx="690562" cy="247650"/>
            </a:xfrm>
          </p:grpSpPr>
          <p:cxnSp>
            <p:nvCxnSpPr>
              <p:cNvPr id="390" name="Straight Arrow Connector 389">
                <a:extLst>
                  <a:ext uri="{FF2B5EF4-FFF2-40B4-BE49-F238E27FC236}">
                    <a16:creationId xmlns:a16="http://schemas.microsoft.com/office/drawing/2014/main" id="{D3FFA1F4-9DB3-498B-B39A-9A33D9701D77}"/>
                  </a:ext>
                </a:extLst>
              </p:cNvPr>
              <p:cNvCxnSpPr/>
              <p:nvPr/>
            </p:nvCxnSpPr>
            <p:spPr>
              <a:xfrm>
                <a:off x="197485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1" name="Straight Arrow Connector 390">
                <a:extLst>
                  <a:ext uri="{FF2B5EF4-FFF2-40B4-BE49-F238E27FC236}">
                    <a16:creationId xmlns:a16="http://schemas.microsoft.com/office/drawing/2014/main" id="{640E62EE-C0C0-439B-B25A-3637349BC17A}"/>
                  </a:ext>
                </a:extLst>
              </p:cNvPr>
              <p:cNvCxnSpPr/>
              <p:nvPr/>
            </p:nvCxnSpPr>
            <p:spPr>
              <a:xfrm>
                <a:off x="214788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2" name="Straight Arrow Connector 391">
                <a:extLst>
                  <a:ext uri="{FF2B5EF4-FFF2-40B4-BE49-F238E27FC236}">
                    <a16:creationId xmlns:a16="http://schemas.microsoft.com/office/drawing/2014/main" id="{6BD9F4A3-6BD6-436B-BDF8-77F0730069CC}"/>
                  </a:ext>
                </a:extLst>
              </p:cNvPr>
              <p:cNvCxnSpPr/>
              <p:nvPr/>
            </p:nvCxnSpPr>
            <p:spPr>
              <a:xfrm>
                <a:off x="2320925"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3" name="Straight Arrow Connector 392">
                <a:extLst>
                  <a:ext uri="{FF2B5EF4-FFF2-40B4-BE49-F238E27FC236}">
                    <a16:creationId xmlns:a16="http://schemas.microsoft.com/office/drawing/2014/main" id="{2A4D8BDF-CC5D-4C3C-96FB-6AC627B0E18F}"/>
                  </a:ext>
                </a:extLst>
              </p:cNvPr>
              <p:cNvCxnSpPr/>
              <p:nvPr/>
            </p:nvCxnSpPr>
            <p:spPr>
              <a:xfrm>
                <a:off x="2493169"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4" name="Straight Arrow Connector 393">
                <a:extLst>
                  <a:ext uri="{FF2B5EF4-FFF2-40B4-BE49-F238E27FC236}">
                    <a16:creationId xmlns:a16="http://schemas.microsoft.com/office/drawing/2014/main" id="{FF05A793-7884-4896-B0AA-E935D58C2CA8}"/>
                  </a:ext>
                </a:extLst>
              </p:cNvPr>
              <p:cNvCxnSpPr/>
              <p:nvPr/>
            </p:nvCxnSpPr>
            <p:spPr>
              <a:xfrm>
                <a:off x="2665412"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cxnSp>
          <p:nvCxnSpPr>
            <p:cNvPr id="396" name="Straight Arrow Connector 395">
              <a:extLst>
                <a:ext uri="{FF2B5EF4-FFF2-40B4-BE49-F238E27FC236}">
                  <a16:creationId xmlns:a16="http://schemas.microsoft.com/office/drawing/2014/main" id="{AC5448DA-5D3A-42F4-A39C-EFC05151447D}"/>
                </a:ext>
              </a:extLst>
            </p:cNvPr>
            <p:cNvCxnSpPr/>
            <p:nvPr/>
          </p:nvCxnSpPr>
          <p:spPr>
            <a:xfrm>
              <a:off x="8013028"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7" name="Straight Arrow Connector 396">
              <a:extLst>
                <a:ext uri="{FF2B5EF4-FFF2-40B4-BE49-F238E27FC236}">
                  <a16:creationId xmlns:a16="http://schemas.microsoft.com/office/drawing/2014/main" id="{5F423771-2E3D-4008-B160-6BA7D27BFF62}"/>
                </a:ext>
              </a:extLst>
            </p:cNvPr>
            <p:cNvCxnSpPr/>
            <p:nvPr/>
          </p:nvCxnSpPr>
          <p:spPr>
            <a:xfrm>
              <a:off x="8186066"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8" name="Straight Arrow Connector 397">
              <a:extLst>
                <a:ext uri="{FF2B5EF4-FFF2-40B4-BE49-F238E27FC236}">
                  <a16:creationId xmlns:a16="http://schemas.microsoft.com/office/drawing/2014/main" id="{8216CCD7-43EB-43D6-9241-DC91A5D0683A}"/>
                </a:ext>
              </a:extLst>
            </p:cNvPr>
            <p:cNvCxnSpPr/>
            <p:nvPr/>
          </p:nvCxnSpPr>
          <p:spPr>
            <a:xfrm>
              <a:off x="8359103"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399" name="Straight Arrow Connector 398">
              <a:extLst>
                <a:ext uri="{FF2B5EF4-FFF2-40B4-BE49-F238E27FC236}">
                  <a16:creationId xmlns:a16="http://schemas.microsoft.com/office/drawing/2014/main" id="{983E768F-0F0F-4E8D-9D08-A4C4469FF575}"/>
                </a:ext>
              </a:extLst>
            </p:cNvPr>
            <p:cNvCxnSpPr/>
            <p:nvPr/>
          </p:nvCxnSpPr>
          <p:spPr>
            <a:xfrm>
              <a:off x="8531347"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400" name="Straight Arrow Connector 399">
              <a:extLst>
                <a:ext uri="{FF2B5EF4-FFF2-40B4-BE49-F238E27FC236}">
                  <a16:creationId xmlns:a16="http://schemas.microsoft.com/office/drawing/2014/main" id="{39301997-B0A7-46DC-9102-F5853958FA02}"/>
                </a:ext>
              </a:extLst>
            </p:cNvPr>
            <p:cNvCxnSpPr/>
            <p:nvPr/>
          </p:nvCxnSpPr>
          <p:spPr>
            <a:xfrm>
              <a:off x="8703590" y="4654550"/>
              <a:ext cx="0" cy="247650"/>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EB1D6CF3-7B1C-4B47-BE48-9CEBEAB93705}"/>
                </a:ext>
              </a:extLst>
            </p:cNvPr>
            <p:cNvSpPr/>
            <p:nvPr/>
          </p:nvSpPr>
          <p:spPr>
            <a:xfrm>
              <a:off x="753900" y="4753276"/>
              <a:ext cx="838200" cy="92075"/>
            </a:xfrm>
            <a:prstGeom prst="rect">
              <a:avLst/>
            </a:prstGeom>
            <a:solidFill>
              <a:schemeClr val="bg1"/>
            </a:solidFill>
            <a:ln>
              <a:solidFill>
                <a:schemeClr val="bg1"/>
              </a:solidFill>
            </a:ln>
          </p:spPr>
          <p:txBody>
            <a:bodyPr lIns="36000" tIns="36000" rIns="36000" bIns="3600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9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discontering</a:t>
              </a:r>
              <a:endParaRPr kumimoji="0" lang="en-NL" sz="9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sp>
        <p:nvSpPr>
          <p:cNvPr id="167" name="Text Placeholder 15">
            <a:extLst>
              <a:ext uri="{FF2B5EF4-FFF2-40B4-BE49-F238E27FC236}">
                <a16:creationId xmlns:a16="http://schemas.microsoft.com/office/drawing/2014/main" id="{7E2C4A86-4F04-4D98-81CE-079F41713A4F}"/>
              </a:ext>
            </a:extLst>
          </p:cNvPr>
          <p:cNvSpPr txBox="1">
            <a:spLocks/>
          </p:cNvSpPr>
          <p:nvPr/>
        </p:nvSpPr>
        <p:spPr>
          <a:xfrm>
            <a:off x="658812" y="6628767"/>
            <a:ext cx="9799637" cy="163512"/>
          </a:xfrm>
          <a:prstGeom prst="rect">
            <a:avLst/>
          </a:prstGeom>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dirty="0"/>
              <a:t>B</a:t>
            </a:r>
            <a:r>
              <a:rPr lang="en-NL" dirty="0" err="1"/>
              <a:t>ron</a:t>
            </a:r>
            <a:r>
              <a:rPr lang="en-NL" dirty="0"/>
              <a:t>: it’s public analyse</a:t>
            </a:r>
            <a:endParaRPr lang="nl-NL" dirty="0"/>
          </a:p>
          <a:p>
            <a:endParaRPr lang="de-DE" dirty="0"/>
          </a:p>
        </p:txBody>
      </p:sp>
    </p:spTree>
    <p:extLst>
      <p:ext uri="{BB962C8B-B14F-4D97-AF65-F5344CB8AC3E}">
        <p14:creationId xmlns:p14="http://schemas.microsoft.com/office/powerpoint/2010/main" val="16101228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a:extLst>
              <a:ext uri="{FF2B5EF4-FFF2-40B4-BE49-F238E27FC236}">
                <a16:creationId xmlns:a16="http://schemas.microsoft.com/office/drawing/2014/main" id="{A7D71A2E-8BEF-4D68-BCDE-FC4919B0A8B7}"/>
              </a:ext>
            </a:extLst>
          </p:cNvPr>
          <p:cNvGraphicFramePr>
            <a:graphicFrameLocks noChangeAspect="1"/>
          </p:cNvGraphicFramePr>
          <p:nvPr>
            <p:custDataLst>
              <p:tags r:id="rId1"/>
            </p:custDataLst>
            <p:extLst>
              <p:ext uri="{D42A27DB-BD31-4B8C-83A1-F6EECF244321}">
                <p14:modId xmlns:p14="http://schemas.microsoft.com/office/powerpoint/2010/main" val="2017679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66" name="Object 65" hidden="1">
                        <a:extLst>
                          <a:ext uri="{FF2B5EF4-FFF2-40B4-BE49-F238E27FC236}">
                            <a16:creationId xmlns:a16="http://schemas.microsoft.com/office/drawing/2014/main" id="{A7D71A2E-8BEF-4D68-BCDE-FC4919B0A8B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12BF29D9-B0B3-45DE-8837-F7BEA3AE956E}"/>
              </a:ext>
            </a:extLst>
          </p:cNvPr>
          <p:cNvSpPr>
            <a:spLocks noGrp="1"/>
          </p:cNvSpPr>
          <p:nvPr>
            <p:ph type="title"/>
          </p:nvPr>
        </p:nvSpPr>
        <p:spPr/>
        <p:txBody>
          <a:bodyPr vert="horz"/>
          <a:lstStyle/>
          <a:p>
            <a:r>
              <a:rPr lang="nl-NL" dirty="0"/>
              <a:t>I</a:t>
            </a:r>
            <a:r>
              <a:rPr lang="en-NL" dirty="0"/>
              <a:t>n </a:t>
            </a:r>
            <a:r>
              <a:rPr lang="nl-NL" dirty="0"/>
              <a:t>een b</a:t>
            </a:r>
            <a:r>
              <a:rPr lang="en-NL" dirty="0"/>
              <a:t>u</a:t>
            </a:r>
            <a:r>
              <a:rPr lang="nl-NL" dirty="0"/>
              <a:t>s</a:t>
            </a:r>
            <a:r>
              <a:rPr lang="en-NL" dirty="0" err="1"/>
              <a:t>i</a:t>
            </a:r>
            <a:r>
              <a:rPr lang="nl-NL" dirty="0"/>
              <a:t>n</a:t>
            </a:r>
            <a:r>
              <a:rPr lang="en-NL" dirty="0"/>
              <a:t>e</a:t>
            </a:r>
            <a:r>
              <a:rPr lang="nl-NL" dirty="0"/>
              <a:t>s</a:t>
            </a:r>
            <a:r>
              <a:rPr lang="en-NL" dirty="0"/>
              <a:t>s </a:t>
            </a:r>
            <a:r>
              <a:rPr lang="nl-NL" dirty="0"/>
              <a:t>c</a:t>
            </a:r>
            <a:r>
              <a:rPr lang="en-NL" dirty="0"/>
              <a:t>a</a:t>
            </a:r>
            <a:r>
              <a:rPr lang="nl-NL"/>
              <a:t>s</a:t>
            </a:r>
            <a:r>
              <a:rPr lang="en-NL"/>
              <a:t>e ontwikkel je scenario’s </a:t>
            </a:r>
            <a:r>
              <a:rPr lang="nl-NL"/>
              <a:t>op </a:t>
            </a:r>
            <a:r>
              <a:rPr lang="nl-NL" dirty="0"/>
              <a:t>basis van </a:t>
            </a:r>
            <a:r>
              <a:rPr lang="nl-NL"/>
              <a:t>voorliggende keuzes</a:t>
            </a:r>
            <a:endParaRPr lang="nl-NL" dirty="0"/>
          </a:p>
        </p:txBody>
      </p:sp>
      <p:sp>
        <p:nvSpPr>
          <p:cNvPr id="6" name="Slide Number Placeholder 5">
            <a:extLst>
              <a:ext uri="{FF2B5EF4-FFF2-40B4-BE49-F238E27FC236}">
                <a16:creationId xmlns:a16="http://schemas.microsoft.com/office/drawing/2014/main" id="{7D6E2570-B327-468A-86F9-607711317BA2}"/>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7" name="Footer Placeholder 6">
            <a:extLst>
              <a:ext uri="{FF2B5EF4-FFF2-40B4-BE49-F238E27FC236}">
                <a16:creationId xmlns:a16="http://schemas.microsoft.com/office/drawing/2014/main" id="{BE926EE8-A5E2-48C7-8FE8-72F652058F6D}"/>
              </a:ext>
            </a:extLst>
          </p:cNvPr>
          <p:cNvSpPr>
            <a:spLocks noGrp="1"/>
          </p:cNvSpPr>
          <p:nvPr>
            <p:ph type="ftr" sz="quarter" idx="3"/>
          </p:nvPr>
        </p:nvSpPr>
        <p:spPr/>
        <p:txBody>
          <a:bodyPr/>
          <a:lstStyle/>
          <a:p>
            <a:pPr marL="0" indent="0">
              <a:buFont typeface="Wingdings" panose="05000000000000000000" pitchFamily="2" charset="2"/>
              <a:buNone/>
            </a:pPr>
            <a:r>
              <a:rPr lang="nl-NL" dirty="0"/>
              <a:t>B</a:t>
            </a:r>
            <a:r>
              <a:rPr lang="en-NL" dirty="0" err="1"/>
              <a:t>ron</a:t>
            </a:r>
            <a:r>
              <a:rPr lang="en-NL" dirty="0"/>
              <a:t>: it’s public analyse</a:t>
            </a:r>
            <a:endParaRPr lang="nl-NL" dirty="0"/>
          </a:p>
        </p:txBody>
      </p:sp>
      <p:sp>
        <p:nvSpPr>
          <p:cNvPr id="8" name="Text Placeholder 7">
            <a:extLst>
              <a:ext uri="{FF2B5EF4-FFF2-40B4-BE49-F238E27FC236}">
                <a16:creationId xmlns:a16="http://schemas.microsoft.com/office/drawing/2014/main" id="{2922153C-297D-4D7B-995B-2A7827F6072A}"/>
              </a:ext>
            </a:extLst>
          </p:cNvPr>
          <p:cNvSpPr>
            <a:spLocks noGrp="1"/>
          </p:cNvSpPr>
          <p:nvPr>
            <p:ph type="body" sz="quarter" idx="21"/>
          </p:nvPr>
        </p:nvSpPr>
        <p:spPr/>
        <p:txBody>
          <a:bodyPr/>
          <a:lstStyle/>
          <a:p>
            <a:endParaRPr lang="nl-NL"/>
          </a:p>
        </p:txBody>
      </p:sp>
      <p:sp>
        <p:nvSpPr>
          <p:cNvPr id="9" name="Text Placeholder 8">
            <a:extLst>
              <a:ext uri="{FF2B5EF4-FFF2-40B4-BE49-F238E27FC236}">
                <a16:creationId xmlns:a16="http://schemas.microsoft.com/office/drawing/2014/main" id="{DCDE248E-7C4E-41AB-A486-87D113030F6D}"/>
              </a:ext>
            </a:extLst>
          </p:cNvPr>
          <p:cNvSpPr>
            <a:spLocks noGrp="1"/>
          </p:cNvSpPr>
          <p:nvPr>
            <p:ph type="body" sz="quarter" idx="14"/>
          </p:nvPr>
        </p:nvSpPr>
        <p:spPr/>
        <p:txBody>
          <a:bodyPr/>
          <a:lstStyle/>
          <a:p>
            <a:pPr marL="0" indent="0">
              <a:buNone/>
            </a:pPr>
            <a:r>
              <a:rPr lang="en-NL"/>
              <a:t>V</a:t>
            </a:r>
            <a:r>
              <a:rPr lang="nl-NL"/>
              <a:t>oorbeeld</a:t>
            </a:r>
            <a:r>
              <a:rPr lang="en-NL"/>
              <a:t>:</a:t>
            </a:r>
            <a:r>
              <a:rPr lang="nl-NL"/>
              <a:t> </a:t>
            </a:r>
            <a:r>
              <a:rPr lang="en-NL"/>
              <a:t>scenario’s voor </a:t>
            </a:r>
            <a:r>
              <a:rPr lang="nl-NL"/>
              <a:t>uitbreiding </a:t>
            </a:r>
            <a:r>
              <a:rPr lang="en-NL"/>
              <a:t>van een </a:t>
            </a:r>
            <a:r>
              <a:rPr lang="nl-NL"/>
              <a:t>fictieve metrolijn </a:t>
            </a:r>
          </a:p>
        </p:txBody>
      </p:sp>
      <p:grpSp>
        <p:nvGrpSpPr>
          <p:cNvPr id="26" name="Group 25">
            <a:extLst>
              <a:ext uri="{FF2B5EF4-FFF2-40B4-BE49-F238E27FC236}">
                <a16:creationId xmlns:a16="http://schemas.microsoft.com/office/drawing/2014/main" id="{DA0E7B3F-595B-4A83-BA26-ED308F97DAB4}"/>
              </a:ext>
            </a:extLst>
          </p:cNvPr>
          <p:cNvGrpSpPr/>
          <p:nvPr/>
        </p:nvGrpSpPr>
        <p:grpSpPr>
          <a:xfrm>
            <a:off x="666747" y="2052969"/>
            <a:ext cx="3661183" cy="3796906"/>
            <a:chOff x="1032736" y="1832369"/>
            <a:chExt cx="3661183" cy="3796906"/>
          </a:xfrm>
        </p:grpSpPr>
        <p:grpSp>
          <p:nvGrpSpPr>
            <p:cNvPr id="10" name="Group 9">
              <a:extLst>
                <a:ext uri="{FF2B5EF4-FFF2-40B4-BE49-F238E27FC236}">
                  <a16:creationId xmlns:a16="http://schemas.microsoft.com/office/drawing/2014/main" id="{57678D05-C8F8-4B61-AA4F-666839A185FC}"/>
                </a:ext>
              </a:extLst>
            </p:cNvPr>
            <p:cNvGrpSpPr/>
            <p:nvPr/>
          </p:nvGrpSpPr>
          <p:grpSpPr>
            <a:xfrm>
              <a:off x="1032736" y="1832369"/>
              <a:ext cx="3661183" cy="3796906"/>
              <a:chOff x="4899342" y="1638517"/>
              <a:chExt cx="3255169" cy="3375841"/>
            </a:xfrm>
            <a:solidFill>
              <a:schemeClr val="bg1">
                <a:lumMod val="75000"/>
              </a:schemeClr>
            </a:solidFill>
          </p:grpSpPr>
          <p:sp>
            <p:nvSpPr>
              <p:cNvPr id="11" name="Freeform: Shape 10">
                <a:extLst>
                  <a:ext uri="{FF2B5EF4-FFF2-40B4-BE49-F238E27FC236}">
                    <a16:creationId xmlns:a16="http://schemas.microsoft.com/office/drawing/2014/main" id="{F0D4C139-1F2C-4B99-BA66-F49F3CBAAB2F}"/>
                  </a:ext>
                </a:extLst>
              </p:cNvPr>
              <p:cNvSpPr/>
              <p:nvPr/>
            </p:nvSpPr>
            <p:spPr>
              <a:xfrm>
                <a:off x="5013885" y="1861985"/>
                <a:ext cx="1829714" cy="2005509"/>
              </a:xfrm>
              <a:custGeom>
                <a:avLst/>
                <a:gdLst>
                  <a:gd name="connsiteX0" fmla="*/ 1406492 w 1829714"/>
                  <a:gd name="connsiteY0" fmla="*/ 1931424 h 2005509"/>
                  <a:gd name="connsiteX1" fmla="*/ 1177399 w 1829714"/>
                  <a:gd name="connsiteY1" fmla="*/ 2008572 h 2005509"/>
                  <a:gd name="connsiteX2" fmla="*/ 1153426 w 1829714"/>
                  <a:gd name="connsiteY2" fmla="*/ 1883538 h 2005509"/>
                  <a:gd name="connsiteX3" fmla="*/ 1081509 w 1829714"/>
                  <a:gd name="connsiteY3" fmla="*/ 1274316 h 2005509"/>
                  <a:gd name="connsiteX4" fmla="*/ 1078844 w 1829714"/>
                  <a:gd name="connsiteY4" fmla="*/ 1258354 h 2005509"/>
                  <a:gd name="connsiteX5" fmla="*/ 863073 w 1829714"/>
                  <a:gd name="connsiteY5" fmla="*/ 1226430 h 2005509"/>
                  <a:gd name="connsiteX6" fmla="*/ 809799 w 1829714"/>
                  <a:gd name="connsiteY6" fmla="*/ 1130653 h 2005509"/>
                  <a:gd name="connsiteX7" fmla="*/ 705906 w 1829714"/>
                  <a:gd name="connsiteY7" fmla="*/ 957729 h 2005509"/>
                  <a:gd name="connsiteX8" fmla="*/ 602022 w 1829714"/>
                  <a:gd name="connsiteY8" fmla="*/ 856638 h 2005509"/>
                  <a:gd name="connsiteX9" fmla="*/ 157167 w 1829714"/>
                  <a:gd name="connsiteY9" fmla="*/ 556017 h 2005509"/>
                  <a:gd name="connsiteX10" fmla="*/ 0 w 1829714"/>
                  <a:gd name="connsiteY10" fmla="*/ 524093 h 2005509"/>
                  <a:gd name="connsiteX11" fmla="*/ 5329 w 1829714"/>
                  <a:gd name="connsiteY11" fmla="*/ 516112 h 2005509"/>
                  <a:gd name="connsiteX12" fmla="*/ 37296 w 1829714"/>
                  <a:gd name="connsiteY12" fmla="*/ 516112 h 2005509"/>
                  <a:gd name="connsiteX13" fmla="*/ 178475 w 1829714"/>
                  <a:gd name="connsiteY13" fmla="*/ 234115 h 2005509"/>
                  <a:gd name="connsiteX14" fmla="*/ 319655 w 1829714"/>
                  <a:gd name="connsiteY14" fmla="*/ 58529 h 2005509"/>
                  <a:gd name="connsiteX15" fmla="*/ 319655 w 1829714"/>
                  <a:gd name="connsiteY15" fmla="*/ 55867 h 2005509"/>
                  <a:gd name="connsiteX16" fmla="*/ 322319 w 1829714"/>
                  <a:gd name="connsiteY16" fmla="*/ 47886 h 2005509"/>
                  <a:gd name="connsiteX17" fmla="*/ 370273 w 1829714"/>
                  <a:gd name="connsiteY17" fmla="*/ 0 h 2005509"/>
                  <a:gd name="connsiteX18" fmla="*/ 689928 w 1829714"/>
                  <a:gd name="connsiteY18" fmla="*/ 287320 h 2005509"/>
                  <a:gd name="connsiteX19" fmla="*/ 1006918 w 1829714"/>
                  <a:gd name="connsiteY19" fmla="*/ 590603 h 2005509"/>
                  <a:gd name="connsiteX20" fmla="*/ 1084173 w 1829714"/>
                  <a:gd name="connsiteY20" fmla="*/ 779489 h 2005509"/>
                  <a:gd name="connsiteX21" fmla="*/ 1243996 w 1829714"/>
                  <a:gd name="connsiteY21" fmla="*/ 928467 h 2005509"/>
                  <a:gd name="connsiteX22" fmla="*/ 1377191 w 1829714"/>
                  <a:gd name="connsiteY22" fmla="*/ 1056167 h 2005509"/>
                  <a:gd name="connsiteX23" fmla="*/ 1481075 w 1829714"/>
                  <a:gd name="connsiteY23" fmla="*/ 1154596 h 2005509"/>
                  <a:gd name="connsiteX24" fmla="*/ 1699510 w 1829714"/>
                  <a:gd name="connsiteY24" fmla="*/ 1362107 h 2005509"/>
                  <a:gd name="connsiteX25" fmla="*/ 1763443 w 1829714"/>
                  <a:gd name="connsiteY25" fmla="*/ 1412655 h 2005509"/>
                  <a:gd name="connsiteX26" fmla="*/ 1784750 w 1829714"/>
                  <a:gd name="connsiteY26" fmla="*/ 1439255 h 2005509"/>
                  <a:gd name="connsiteX27" fmla="*/ 1830040 w 1829714"/>
                  <a:gd name="connsiteY27" fmla="*/ 1516408 h 2005509"/>
                  <a:gd name="connsiteX28" fmla="*/ 1779421 w 1829714"/>
                  <a:gd name="connsiteY28" fmla="*/ 1540351 h 2005509"/>
                  <a:gd name="connsiteX29" fmla="*/ 1758113 w 1829714"/>
                  <a:gd name="connsiteY29" fmla="*/ 1550993 h 2005509"/>
                  <a:gd name="connsiteX30" fmla="*/ 1590288 w 1829714"/>
                  <a:gd name="connsiteY30" fmla="*/ 1763819 h 2005509"/>
                  <a:gd name="connsiteX31" fmla="*/ 1558330 w 1829714"/>
                  <a:gd name="connsiteY31" fmla="*/ 1801066 h 2005509"/>
                  <a:gd name="connsiteX32" fmla="*/ 1406492 w 1829714"/>
                  <a:gd name="connsiteY32" fmla="*/ 1931424 h 2005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829714" h="2005509">
                    <a:moveTo>
                      <a:pt x="1406492" y="1931424"/>
                    </a:moveTo>
                    <a:lnTo>
                      <a:pt x="1177399" y="2008572"/>
                    </a:lnTo>
                    <a:lnTo>
                      <a:pt x="1153426" y="1883538"/>
                    </a:lnTo>
                    <a:lnTo>
                      <a:pt x="1081509" y="1274316"/>
                    </a:lnTo>
                    <a:lnTo>
                      <a:pt x="1078844" y="1258354"/>
                    </a:lnTo>
                    <a:lnTo>
                      <a:pt x="863073" y="1226430"/>
                    </a:lnTo>
                    <a:lnTo>
                      <a:pt x="809799" y="1130653"/>
                    </a:lnTo>
                    <a:lnTo>
                      <a:pt x="705906" y="957729"/>
                    </a:lnTo>
                    <a:lnTo>
                      <a:pt x="602022" y="856638"/>
                    </a:lnTo>
                    <a:lnTo>
                      <a:pt x="157167" y="556017"/>
                    </a:lnTo>
                    <a:lnTo>
                      <a:pt x="0" y="524093"/>
                    </a:lnTo>
                    <a:lnTo>
                      <a:pt x="5329" y="516112"/>
                    </a:lnTo>
                    <a:lnTo>
                      <a:pt x="37296" y="516112"/>
                    </a:lnTo>
                    <a:lnTo>
                      <a:pt x="178475" y="234115"/>
                    </a:lnTo>
                    <a:lnTo>
                      <a:pt x="319655" y="58529"/>
                    </a:lnTo>
                    <a:lnTo>
                      <a:pt x="319655" y="55867"/>
                    </a:lnTo>
                    <a:lnTo>
                      <a:pt x="322319" y="47886"/>
                    </a:lnTo>
                    <a:lnTo>
                      <a:pt x="370273" y="0"/>
                    </a:lnTo>
                    <a:lnTo>
                      <a:pt x="689928" y="287320"/>
                    </a:lnTo>
                    <a:lnTo>
                      <a:pt x="1006918" y="590603"/>
                    </a:lnTo>
                    <a:lnTo>
                      <a:pt x="1084173" y="779489"/>
                    </a:lnTo>
                    <a:lnTo>
                      <a:pt x="1243996" y="928467"/>
                    </a:lnTo>
                    <a:lnTo>
                      <a:pt x="1377191" y="1056167"/>
                    </a:lnTo>
                    <a:lnTo>
                      <a:pt x="1481075" y="1154596"/>
                    </a:lnTo>
                    <a:lnTo>
                      <a:pt x="1699510" y="1362107"/>
                    </a:lnTo>
                    <a:lnTo>
                      <a:pt x="1763443" y="1412655"/>
                    </a:lnTo>
                    <a:lnTo>
                      <a:pt x="1784750" y="1439255"/>
                    </a:lnTo>
                    <a:lnTo>
                      <a:pt x="1830040" y="1516408"/>
                    </a:lnTo>
                    <a:lnTo>
                      <a:pt x="1779421" y="1540351"/>
                    </a:lnTo>
                    <a:lnTo>
                      <a:pt x="1758113" y="1550993"/>
                    </a:lnTo>
                    <a:lnTo>
                      <a:pt x="1590288" y="1763819"/>
                    </a:lnTo>
                    <a:lnTo>
                      <a:pt x="1558330" y="1801066"/>
                    </a:lnTo>
                    <a:lnTo>
                      <a:pt x="1406492" y="1931424"/>
                    </a:lnTo>
                  </a:path>
                </a:pathLst>
              </a:custGeom>
              <a:grpFill/>
              <a:ln w="8875" cap="rnd">
                <a:solidFill>
                  <a:schemeClr val="bg1"/>
                </a:solidFill>
                <a:prstDash val="solid"/>
                <a:round/>
              </a:ln>
            </p:spPr>
            <p:txBody>
              <a:bodyPr rtlCol="0" anchor="ctr"/>
              <a:lstStyle/>
              <a:p>
                <a:endParaRPr lang="en-US"/>
              </a:p>
            </p:txBody>
          </p:sp>
          <p:sp>
            <p:nvSpPr>
              <p:cNvPr id="12" name="Freeform: Shape 11">
                <a:extLst>
                  <a:ext uri="{FF2B5EF4-FFF2-40B4-BE49-F238E27FC236}">
                    <a16:creationId xmlns:a16="http://schemas.microsoft.com/office/drawing/2014/main" id="{6CC25901-A086-4464-84B5-BB2FB789699F}"/>
                  </a:ext>
                </a:extLst>
              </p:cNvPr>
              <p:cNvSpPr/>
              <p:nvPr/>
            </p:nvSpPr>
            <p:spPr>
              <a:xfrm>
                <a:off x="5703812" y="1989685"/>
                <a:ext cx="1308754" cy="1307389"/>
              </a:xfrm>
              <a:custGeom>
                <a:avLst/>
                <a:gdLst>
                  <a:gd name="connsiteX0" fmla="*/ 229085 w 1308754"/>
                  <a:gd name="connsiteY0" fmla="*/ 0 h 1307389"/>
                  <a:gd name="connsiteX1" fmla="*/ 263716 w 1308754"/>
                  <a:gd name="connsiteY1" fmla="*/ 71829 h 1307389"/>
                  <a:gd name="connsiteX2" fmla="*/ 279694 w 1308754"/>
                  <a:gd name="connsiteY2" fmla="*/ 61186 h 1307389"/>
                  <a:gd name="connsiteX3" fmla="*/ 346292 w 1308754"/>
                  <a:gd name="connsiteY3" fmla="*/ 204844 h 1307389"/>
                  <a:gd name="connsiteX4" fmla="*/ 463499 w 1308754"/>
                  <a:gd name="connsiteY4" fmla="*/ 308597 h 1307389"/>
                  <a:gd name="connsiteX5" fmla="*/ 594029 w 1308754"/>
                  <a:gd name="connsiteY5" fmla="*/ 319240 h 1307389"/>
                  <a:gd name="connsiteX6" fmla="*/ 769839 w 1308754"/>
                  <a:gd name="connsiteY6" fmla="*/ 353826 h 1307389"/>
                  <a:gd name="connsiteX7" fmla="*/ 860409 w 1308754"/>
                  <a:gd name="connsiteY7" fmla="*/ 476203 h 1307389"/>
                  <a:gd name="connsiteX8" fmla="*/ 990930 w 1308754"/>
                  <a:gd name="connsiteY8" fmla="*/ 622522 h 1307389"/>
                  <a:gd name="connsiteX9" fmla="*/ 1089494 w 1308754"/>
                  <a:gd name="connsiteY9" fmla="*/ 529408 h 1307389"/>
                  <a:gd name="connsiteX10" fmla="*/ 1212030 w 1308754"/>
                  <a:gd name="connsiteY10" fmla="*/ 651789 h 1307389"/>
                  <a:gd name="connsiteX11" fmla="*/ 1291950 w 1308754"/>
                  <a:gd name="connsiteY11" fmla="*/ 782142 h 1307389"/>
                  <a:gd name="connsiteX12" fmla="*/ 1180063 w 1308754"/>
                  <a:gd name="connsiteY12" fmla="*/ 875257 h 1307389"/>
                  <a:gd name="connsiteX13" fmla="*/ 1233338 w 1308754"/>
                  <a:gd name="connsiteY13" fmla="*/ 1045520 h 1307389"/>
                  <a:gd name="connsiteX14" fmla="*/ 1310593 w 1308754"/>
                  <a:gd name="connsiteY14" fmla="*/ 1170558 h 1307389"/>
                  <a:gd name="connsiteX15" fmla="*/ 1172070 w 1308754"/>
                  <a:gd name="connsiteY15" fmla="*/ 1245045 h 1307389"/>
                  <a:gd name="connsiteX16" fmla="*/ 1094823 w 1308754"/>
                  <a:gd name="connsiteY16" fmla="*/ 1311554 h 1307389"/>
                  <a:gd name="connsiteX17" fmla="*/ 1073515 w 1308754"/>
                  <a:gd name="connsiteY17" fmla="*/ 1284954 h 1307389"/>
                  <a:gd name="connsiteX18" fmla="*/ 1009582 w 1308754"/>
                  <a:gd name="connsiteY18" fmla="*/ 1234406 h 1307389"/>
                  <a:gd name="connsiteX19" fmla="*/ 791147 w 1308754"/>
                  <a:gd name="connsiteY19" fmla="*/ 1026896 h 1307389"/>
                  <a:gd name="connsiteX20" fmla="*/ 687263 w 1308754"/>
                  <a:gd name="connsiteY20" fmla="*/ 928467 h 1307389"/>
                  <a:gd name="connsiteX21" fmla="*/ 554068 w 1308754"/>
                  <a:gd name="connsiteY21" fmla="*/ 800766 h 1307389"/>
                  <a:gd name="connsiteX22" fmla="*/ 394246 w 1308754"/>
                  <a:gd name="connsiteY22" fmla="*/ 651789 h 1307389"/>
                  <a:gd name="connsiteX23" fmla="*/ 316990 w 1308754"/>
                  <a:gd name="connsiteY23" fmla="*/ 462902 h 1307389"/>
                  <a:gd name="connsiteX24" fmla="*/ 0 w 1308754"/>
                  <a:gd name="connsiteY24" fmla="*/ 159620 h 1307389"/>
                  <a:gd name="connsiteX25" fmla="*/ 18643 w 1308754"/>
                  <a:gd name="connsiteY25" fmla="*/ 175582 h 1307389"/>
                  <a:gd name="connsiteX26" fmla="*/ 229085 w 1308754"/>
                  <a:gd name="connsiteY26" fmla="*/ 0 h 1307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08754" h="1307389">
                    <a:moveTo>
                      <a:pt x="229085" y="0"/>
                    </a:moveTo>
                    <a:lnTo>
                      <a:pt x="263716" y="71829"/>
                    </a:lnTo>
                    <a:lnTo>
                      <a:pt x="279694" y="61186"/>
                    </a:lnTo>
                    <a:lnTo>
                      <a:pt x="346292" y="204844"/>
                    </a:lnTo>
                    <a:lnTo>
                      <a:pt x="463499" y="308597"/>
                    </a:lnTo>
                    <a:lnTo>
                      <a:pt x="594029" y="319240"/>
                    </a:lnTo>
                    <a:lnTo>
                      <a:pt x="769839" y="353826"/>
                    </a:lnTo>
                    <a:lnTo>
                      <a:pt x="860409" y="476203"/>
                    </a:lnTo>
                    <a:lnTo>
                      <a:pt x="990930" y="622522"/>
                    </a:lnTo>
                    <a:lnTo>
                      <a:pt x="1089494" y="529408"/>
                    </a:lnTo>
                    <a:lnTo>
                      <a:pt x="1212030" y="651789"/>
                    </a:lnTo>
                    <a:lnTo>
                      <a:pt x="1291950" y="782142"/>
                    </a:lnTo>
                    <a:lnTo>
                      <a:pt x="1180063" y="875257"/>
                    </a:lnTo>
                    <a:lnTo>
                      <a:pt x="1233338" y="1045520"/>
                    </a:lnTo>
                    <a:lnTo>
                      <a:pt x="1310593" y="1170558"/>
                    </a:lnTo>
                    <a:lnTo>
                      <a:pt x="1172070" y="1245045"/>
                    </a:lnTo>
                    <a:lnTo>
                      <a:pt x="1094823" y="1311554"/>
                    </a:lnTo>
                    <a:lnTo>
                      <a:pt x="1073515" y="1284954"/>
                    </a:lnTo>
                    <a:lnTo>
                      <a:pt x="1009582" y="1234406"/>
                    </a:lnTo>
                    <a:lnTo>
                      <a:pt x="791147" y="1026896"/>
                    </a:lnTo>
                    <a:lnTo>
                      <a:pt x="687263" y="928467"/>
                    </a:lnTo>
                    <a:lnTo>
                      <a:pt x="554068" y="800766"/>
                    </a:lnTo>
                    <a:lnTo>
                      <a:pt x="394246" y="651789"/>
                    </a:lnTo>
                    <a:lnTo>
                      <a:pt x="316990" y="462902"/>
                    </a:lnTo>
                    <a:lnTo>
                      <a:pt x="0" y="159620"/>
                    </a:lnTo>
                    <a:lnTo>
                      <a:pt x="18643" y="175582"/>
                    </a:lnTo>
                    <a:lnTo>
                      <a:pt x="229085" y="0"/>
                    </a:lnTo>
                  </a:path>
                </a:pathLst>
              </a:custGeom>
              <a:grpFill/>
              <a:ln w="8875" cap="rnd">
                <a:solidFill>
                  <a:schemeClr val="bg1"/>
                </a:solidFill>
                <a:prstDash val="solid"/>
                <a:round/>
              </a:ln>
            </p:spPr>
            <p:txBody>
              <a:bodyPr rtlCol="0" anchor="ctr"/>
              <a:lstStyle/>
              <a:p>
                <a:endParaRPr lang="en-US"/>
              </a:p>
            </p:txBody>
          </p:sp>
          <p:sp>
            <p:nvSpPr>
              <p:cNvPr id="13" name="Freeform: Shape 12">
                <a:extLst>
                  <a:ext uri="{FF2B5EF4-FFF2-40B4-BE49-F238E27FC236}">
                    <a16:creationId xmlns:a16="http://schemas.microsoft.com/office/drawing/2014/main" id="{077E504D-003D-4198-897B-9046AD54839D}"/>
                  </a:ext>
                </a:extLst>
              </p:cNvPr>
              <p:cNvSpPr/>
              <p:nvPr/>
            </p:nvSpPr>
            <p:spPr>
              <a:xfrm>
                <a:off x="5983507" y="1638517"/>
                <a:ext cx="1855127" cy="1129686"/>
              </a:xfrm>
              <a:custGeom>
                <a:avLst/>
                <a:gdLst>
                  <a:gd name="connsiteX0" fmla="*/ 676614 w 1855127"/>
                  <a:gd name="connsiteY0" fmla="*/ 218149 h 1129685"/>
                  <a:gd name="connsiteX1" fmla="*/ 761854 w 1855127"/>
                  <a:gd name="connsiteY1" fmla="*/ 244749 h 1129685"/>
                  <a:gd name="connsiteX2" fmla="*/ 831116 w 1855127"/>
                  <a:gd name="connsiteY2" fmla="*/ 103753 h 1129685"/>
                  <a:gd name="connsiteX3" fmla="*/ 1291950 w 1855127"/>
                  <a:gd name="connsiteY3" fmla="*/ 457583 h 1129685"/>
                  <a:gd name="connsiteX4" fmla="*/ 1297279 w 1855127"/>
                  <a:gd name="connsiteY4" fmla="*/ 460241 h 1129685"/>
                  <a:gd name="connsiteX5" fmla="*/ 1643571 w 1855127"/>
                  <a:gd name="connsiteY5" fmla="*/ 598579 h 1129685"/>
                  <a:gd name="connsiteX6" fmla="*/ 1750128 w 1855127"/>
                  <a:gd name="connsiteY6" fmla="*/ 598579 h 1129685"/>
                  <a:gd name="connsiteX7" fmla="*/ 1819381 w 1855127"/>
                  <a:gd name="connsiteY7" fmla="*/ 633165 h 1129685"/>
                  <a:gd name="connsiteX8" fmla="*/ 1856677 w 1855127"/>
                  <a:gd name="connsiteY8" fmla="*/ 704994 h 1129685"/>
                  <a:gd name="connsiteX9" fmla="*/ 1856677 w 1855127"/>
                  <a:gd name="connsiteY9" fmla="*/ 808747 h 1129685"/>
                  <a:gd name="connsiteX10" fmla="*/ 1678202 w 1855127"/>
                  <a:gd name="connsiteY10" fmla="*/ 877919 h 1129685"/>
                  <a:gd name="connsiteX11" fmla="*/ 1555666 w 1855127"/>
                  <a:gd name="connsiteY11" fmla="*/ 923147 h 1129685"/>
                  <a:gd name="connsiteX12" fmla="*/ 1310593 w 1855127"/>
                  <a:gd name="connsiteY12" fmla="*/ 1008277 h 1129685"/>
                  <a:gd name="connsiteX13" fmla="*/ 1012256 w 1855127"/>
                  <a:gd name="connsiteY13" fmla="*/ 1133311 h 1129685"/>
                  <a:gd name="connsiteX14" fmla="*/ 932335 w 1855127"/>
                  <a:gd name="connsiteY14" fmla="*/ 1002957 h 1129685"/>
                  <a:gd name="connsiteX15" fmla="*/ 809799 w 1855127"/>
                  <a:gd name="connsiteY15" fmla="*/ 880576 h 1129685"/>
                  <a:gd name="connsiteX16" fmla="*/ 711236 w 1855127"/>
                  <a:gd name="connsiteY16" fmla="*/ 973691 h 1129685"/>
                  <a:gd name="connsiteX17" fmla="*/ 580715 w 1855127"/>
                  <a:gd name="connsiteY17" fmla="*/ 827371 h 1129685"/>
                  <a:gd name="connsiteX18" fmla="*/ 490145 w 1855127"/>
                  <a:gd name="connsiteY18" fmla="*/ 704994 h 1129685"/>
                  <a:gd name="connsiteX19" fmla="*/ 314334 w 1855127"/>
                  <a:gd name="connsiteY19" fmla="*/ 670408 h 1129685"/>
                  <a:gd name="connsiteX20" fmla="*/ 183804 w 1855127"/>
                  <a:gd name="connsiteY20" fmla="*/ 659765 h 1129685"/>
                  <a:gd name="connsiteX21" fmla="*/ 66597 w 1855127"/>
                  <a:gd name="connsiteY21" fmla="*/ 556013 h 1129685"/>
                  <a:gd name="connsiteX22" fmla="*/ 0 w 1855127"/>
                  <a:gd name="connsiteY22" fmla="*/ 412355 h 1129685"/>
                  <a:gd name="connsiteX23" fmla="*/ 85241 w 1855127"/>
                  <a:gd name="connsiteY23" fmla="*/ 356488 h 1129685"/>
                  <a:gd name="connsiteX24" fmla="*/ 90570 w 1855127"/>
                  <a:gd name="connsiteY24" fmla="*/ 351168 h 1129685"/>
                  <a:gd name="connsiteX25" fmla="*/ 372938 w 1855127"/>
                  <a:gd name="connsiteY25" fmla="*/ 0 h 1129685"/>
                  <a:gd name="connsiteX26" fmla="*/ 655297 w 1855127"/>
                  <a:gd name="connsiteY26" fmla="*/ 210168 h 1129685"/>
                  <a:gd name="connsiteX27" fmla="*/ 676614 w 1855127"/>
                  <a:gd name="connsiteY27" fmla="*/ 218149 h 11296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855127" h="1129685">
                    <a:moveTo>
                      <a:pt x="676614" y="218149"/>
                    </a:moveTo>
                    <a:lnTo>
                      <a:pt x="761854" y="244749"/>
                    </a:lnTo>
                    <a:lnTo>
                      <a:pt x="831116" y="103753"/>
                    </a:lnTo>
                    <a:lnTo>
                      <a:pt x="1291950" y="457583"/>
                    </a:lnTo>
                    <a:lnTo>
                      <a:pt x="1297279" y="460241"/>
                    </a:lnTo>
                    <a:lnTo>
                      <a:pt x="1643571" y="598579"/>
                    </a:lnTo>
                    <a:lnTo>
                      <a:pt x="1750128" y="598579"/>
                    </a:lnTo>
                    <a:lnTo>
                      <a:pt x="1819381" y="633165"/>
                    </a:lnTo>
                    <a:lnTo>
                      <a:pt x="1856677" y="704994"/>
                    </a:lnTo>
                    <a:lnTo>
                      <a:pt x="1856677" y="808747"/>
                    </a:lnTo>
                    <a:lnTo>
                      <a:pt x="1678202" y="877919"/>
                    </a:lnTo>
                    <a:lnTo>
                      <a:pt x="1555666" y="923147"/>
                    </a:lnTo>
                    <a:lnTo>
                      <a:pt x="1310593" y="1008277"/>
                    </a:lnTo>
                    <a:lnTo>
                      <a:pt x="1012256" y="1133311"/>
                    </a:lnTo>
                    <a:lnTo>
                      <a:pt x="932335" y="1002957"/>
                    </a:lnTo>
                    <a:lnTo>
                      <a:pt x="809799" y="880576"/>
                    </a:lnTo>
                    <a:lnTo>
                      <a:pt x="711236" y="973691"/>
                    </a:lnTo>
                    <a:lnTo>
                      <a:pt x="580715" y="827371"/>
                    </a:lnTo>
                    <a:lnTo>
                      <a:pt x="490145" y="704994"/>
                    </a:lnTo>
                    <a:lnTo>
                      <a:pt x="314334" y="670408"/>
                    </a:lnTo>
                    <a:lnTo>
                      <a:pt x="183804" y="659765"/>
                    </a:lnTo>
                    <a:lnTo>
                      <a:pt x="66597" y="556013"/>
                    </a:lnTo>
                    <a:lnTo>
                      <a:pt x="0" y="412355"/>
                    </a:lnTo>
                    <a:lnTo>
                      <a:pt x="85241" y="356488"/>
                    </a:lnTo>
                    <a:lnTo>
                      <a:pt x="90570" y="351168"/>
                    </a:lnTo>
                    <a:lnTo>
                      <a:pt x="372938" y="0"/>
                    </a:lnTo>
                    <a:lnTo>
                      <a:pt x="655297" y="210168"/>
                    </a:lnTo>
                    <a:lnTo>
                      <a:pt x="676614" y="218149"/>
                    </a:lnTo>
                  </a:path>
                </a:pathLst>
              </a:custGeom>
              <a:grpFill/>
              <a:ln w="8875" cap="rnd">
                <a:solidFill>
                  <a:schemeClr val="bg1"/>
                </a:solidFill>
                <a:prstDash val="solid"/>
                <a:round/>
              </a:ln>
            </p:spPr>
            <p:txBody>
              <a:bodyPr rtlCol="0" anchor="ctr"/>
              <a:lstStyle/>
              <a:p>
                <a:endParaRPr lang="en-US"/>
              </a:p>
            </p:txBody>
          </p:sp>
          <p:sp>
            <p:nvSpPr>
              <p:cNvPr id="14" name="Freeform: Shape 13">
                <a:extLst>
                  <a:ext uri="{FF2B5EF4-FFF2-40B4-BE49-F238E27FC236}">
                    <a16:creationId xmlns:a16="http://schemas.microsoft.com/office/drawing/2014/main" id="{6B31748C-CABD-4E27-B657-87052C717D56}"/>
                  </a:ext>
                </a:extLst>
              </p:cNvPr>
              <p:cNvSpPr/>
              <p:nvPr/>
            </p:nvSpPr>
            <p:spPr>
              <a:xfrm>
                <a:off x="6883876" y="2447264"/>
                <a:ext cx="1270635" cy="863131"/>
              </a:xfrm>
              <a:custGeom>
                <a:avLst/>
                <a:gdLst>
                  <a:gd name="connsiteX0" fmla="*/ 1270633 w 1270635"/>
                  <a:gd name="connsiteY0" fmla="*/ 321906 h 863130"/>
                  <a:gd name="connsiteX1" fmla="*/ 1132118 w 1270635"/>
                  <a:gd name="connsiteY1" fmla="*/ 670413 h 863130"/>
                  <a:gd name="connsiteX2" fmla="*/ 1233347 w 1270635"/>
                  <a:gd name="connsiteY2" fmla="*/ 806094 h 863130"/>
                  <a:gd name="connsiteX3" fmla="*/ 1212039 w 1270635"/>
                  <a:gd name="connsiteY3" fmla="*/ 864619 h 863130"/>
                  <a:gd name="connsiteX4" fmla="*/ 1204045 w 1270635"/>
                  <a:gd name="connsiteY4" fmla="*/ 830033 h 863130"/>
                  <a:gd name="connsiteX5" fmla="*/ 1124125 w 1270635"/>
                  <a:gd name="connsiteY5" fmla="*/ 670413 h 863130"/>
                  <a:gd name="connsiteX6" fmla="*/ 823113 w 1270635"/>
                  <a:gd name="connsiteY6" fmla="*/ 755542 h 863130"/>
                  <a:gd name="connsiteX7" fmla="*/ 777833 w 1270635"/>
                  <a:gd name="connsiteY7" fmla="*/ 771508 h 863130"/>
                  <a:gd name="connsiteX8" fmla="*/ 705906 w 1270635"/>
                  <a:gd name="connsiteY8" fmla="*/ 774166 h 863130"/>
                  <a:gd name="connsiteX9" fmla="*/ 681934 w 1270635"/>
                  <a:gd name="connsiteY9" fmla="*/ 774166 h 863130"/>
                  <a:gd name="connsiteX10" fmla="*/ 396910 w 1270635"/>
                  <a:gd name="connsiteY10" fmla="*/ 798109 h 863130"/>
                  <a:gd name="connsiteX11" fmla="*/ 407560 w 1270635"/>
                  <a:gd name="connsiteY11" fmla="*/ 689037 h 863130"/>
                  <a:gd name="connsiteX12" fmla="*/ 348956 w 1270635"/>
                  <a:gd name="connsiteY12" fmla="*/ 699675 h 863130"/>
                  <a:gd name="connsiteX13" fmla="*/ 186469 w 1270635"/>
                  <a:gd name="connsiteY13" fmla="*/ 736923 h 863130"/>
                  <a:gd name="connsiteX14" fmla="*/ 146509 w 1270635"/>
                  <a:gd name="connsiteY14" fmla="*/ 739580 h 863130"/>
                  <a:gd name="connsiteX15" fmla="*/ 130530 w 1270635"/>
                  <a:gd name="connsiteY15" fmla="*/ 712980 h 863130"/>
                  <a:gd name="connsiteX16" fmla="*/ 53274 w 1270635"/>
                  <a:gd name="connsiteY16" fmla="*/ 587941 h 863130"/>
                  <a:gd name="connsiteX17" fmla="*/ 0 w 1270635"/>
                  <a:gd name="connsiteY17" fmla="*/ 417678 h 863130"/>
                  <a:gd name="connsiteX18" fmla="*/ 111887 w 1270635"/>
                  <a:gd name="connsiteY18" fmla="*/ 324564 h 863130"/>
                  <a:gd name="connsiteX19" fmla="*/ 410224 w 1270635"/>
                  <a:gd name="connsiteY19" fmla="*/ 199529 h 863130"/>
                  <a:gd name="connsiteX20" fmla="*/ 655297 w 1270635"/>
                  <a:gd name="connsiteY20" fmla="*/ 114400 h 863130"/>
                  <a:gd name="connsiteX21" fmla="*/ 777833 w 1270635"/>
                  <a:gd name="connsiteY21" fmla="*/ 69172 h 863130"/>
                  <a:gd name="connsiteX22" fmla="*/ 956308 w 1270635"/>
                  <a:gd name="connsiteY22" fmla="*/ 0 h 863130"/>
                  <a:gd name="connsiteX23" fmla="*/ 990939 w 1270635"/>
                  <a:gd name="connsiteY23" fmla="*/ 178244 h 863130"/>
                  <a:gd name="connsiteX24" fmla="*/ 1273298 w 1270635"/>
                  <a:gd name="connsiteY24" fmla="*/ 319244 h 863130"/>
                  <a:gd name="connsiteX25" fmla="*/ 1270633 w 1270635"/>
                  <a:gd name="connsiteY25" fmla="*/ 321906 h 863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70635" h="863130">
                    <a:moveTo>
                      <a:pt x="1270633" y="321906"/>
                    </a:moveTo>
                    <a:lnTo>
                      <a:pt x="1132118" y="670413"/>
                    </a:lnTo>
                    <a:lnTo>
                      <a:pt x="1233347" y="806094"/>
                    </a:lnTo>
                    <a:lnTo>
                      <a:pt x="1212039" y="864619"/>
                    </a:lnTo>
                    <a:lnTo>
                      <a:pt x="1204045" y="830033"/>
                    </a:lnTo>
                    <a:lnTo>
                      <a:pt x="1124125" y="670413"/>
                    </a:lnTo>
                    <a:lnTo>
                      <a:pt x="823113" y="755542"/>
                    </a:lnTo>
                    <a:lnTo>
                      <a:pt x="777833" y="771508"/>
                    </a:lnTo>
                    <a:lnTo>
                      <a:pt x="705906" y="774166"/>
                    </a:lnTo>
                    <a:lnTo>
                      <a:pt x="681934" y="774166"/>
                    </a:lnTo>
                    <a:lnTo>
                      <a:pt x="396910" y="798109"/>
                    </a:lnTo>
                    <a:lnTo>
                      <a:pt x="407560" y="689037"/>
                    </a:lnTo>
                    <a:lnTo>
                      <a:pt x="348956" y="699675"/>
                    </a:lnTo>
                    <a:lnTo>
                      <a:pt x="186469" y="736923"/>
                    </a:lnTo>
                    <a:lnTo>
                      <a:pt x="146509" y="739580"/>
                    </a:lnTo>
                    <a:lnTo>
                      <a:pt x="130530" y="712980"/>
                    </a:lnTo>
                    <a:lnTo>
                      <a:pt x="53274" y="587941"/>
                    </a:lnTo>
                    <a:lnTo>
                      <a:pt x="0" y="417678"/>
                    </a:lnTo>
                    <a:lnTo>
                      <a:pt x="111887" y="324564"/>
                    </a:lnTo>
                    <a:lnTo>
                      <a:pt x="410224" y="199529"/>
                    </a:lnTo>
                    <a:lnTo>
                      <a:pt x="655297" y="114400"/>
                    </a:lnTo>
                    <a:lnTo>
                      <a:pt x="777833" y="69172"/>
                    </a:lnTo>
                    <a:lnTo>
                      <a:pt x="956308" y="0"/>
                    </a:lnTo>
                    <a:lnTo>
                      <a:pt x="990939" y="178244"/>
                    </a:lnTo>
                    <a:lnTo>
                      <a:pt x="1273298" y="319244"/>
                    </a:lnTo>
                    <a:lnTo>
                      <a:pt x="1270633" y="321906"/>
                    </a:lnTo>
                  </a:path>
                </a:pathLst>
              </a:custGeom>
              <a:grpFill/>
              <a:ln w="8875" cap="rnd">
                <a:solidFill>
                  <a:schemeClr val="bg1"/>
                </a:solidFill>
                <a:prstDash val="solid"/>
                <a:round/>
              </a:ln>
            </p:spPr>
            <p:txBody>
              <a:bodyPr rtlCol="0" anchor="ctr"/>
              <a:lstStyle/>
              <a:p>
                <a:endParaRPr lang="en-US"/>
              </a:p>
            </p:txBody>
          </p:sp>
          <p:sp>
            <p:nvSpPr>
              <p:cNvPr id="15" name="Freeform: Shape 14">
                <a:extLst>
                  <a:ext uri="{FF2B5EF4-FFF2-40B4-BE49-F238E27FC236}">
                    <a16:creationId xmlns:a16="http://schemas.microsoft.com/office/drawing/2014/main" id="{F3EB3B22-B1D7-4E26-AFD4-BFE4BB3F3E57}"/>
                  </a:ext>
                </a:extLst>
              </p:cNvPr>
              <p:cNvSpPr/>
              <p:nvPr/>
            </p:nvSpPr>
            <p:spPr>
              <a:xfrm>
                <a:off x="6793306" y="3136301"/>
                <a:ext cx="571786" cy="748893"/>
              </a:xfrm>
              <a:custGeom>
                <a:avLst/>
                <a:gdLst>
                  <a:gd name="connsiteX0" fmla="*/ 498130 w 571785"/>
                  <a:gd name="connsiteY0" fmla="*/ 0 h 748892"/>
                  <a:gd name="connsiteX1" fmla="*/ 487480 w 571785"/>
                  <a:gd name="connsiteY1" fmla="*/ 109072 h 748892"/>
                  <a:gd name="connsiteX2" fmla="*/ 514117 w 571785"/>
                  <a:gd name="connsiteY2" fmla="*/ 250073 h 748892"/>
                  <a:gd name="connsiteX3" fmla="*/ 572721 w 571785"/>
                  <a:gd name="connsiteY3" fmla="*/ 486841 h 748892"/>
                  <a:gd name="connsiteX4" fmla="*/ 532761 w 571785"/>
                  <a:gd name="connsiteY4" fmla="*/ 524089 h 748892"/>
                  <a:gd name="connsiteX5" fmla="*/ 460843 w 571785"/>
                  <a:gd name="connsiteY5" fmla="*/ 643808 h 748892"/>
                  <a:gd name="connsiteX6" fmla="*/ 434206 w 571785"/>
                  <a:gd name="connsiteY6" fmla="*/ 643808 h 748892"/>
                  <a:gd name="connsiteX7" fmla="*/ 391581 w 571785"/>
                  <a:gd name="connsiteY7" fmla="*/ 750223 h 748892"/>
                  <a:gd name="connsiteX8" fmla="*/ 327648 w 571785"/>
                  <a:gd name="connsiteY8" fmla="*/ 707651 h 748892"/>
                  <a:gd name="connsiteX9" fmla="*/ 314334 w 571785"/>
                  <a:gd name="connsiteY9" fmla="*/ 712975 h 748892"/>
                  <a:gd name="connsiteX10" fmla="*/ 226420 w 571785"/>
                  <a:gd name="connsiteY10" fmla="*/ 662427 h 748892"/>
                  <a:gd name="connsiteX11" fmla="*/ 0 w 571785"/>
                  <a:gd name="connsiteY11" fmla="*/ 266035 h 748892"/>
                  <a:gd name="connsiteX12" fmla="*/ 50619 w 571785"/>
                  <a:gd name="connsiteY12" fmla="*/ 242092 h 748892"/>
                  <a:gd name="connsiteX13" fmla="*/ 5329 w 571785"/>
                  <a:gd name="connsiteY13" fmla="*/ 164939 h 748892"/>
                  <a:gd name="connsiteX14" fmla="*/ 82576 w 571785"/>
                  <a:gd name="connsiteY14" fmla="*/ 98429 h 748892"/>
                  <a:gd name="connsiteX15" fmla="*/ 221100 w 571785"/>
                  <a:gd name="connsiteY15" fmla="*/ 23943 h 748892"/>
                  <a:gd name="connsiteX16" fmla="*/ 237079 w 571785"/>
                  <a:gd name="connsiteY16" fmla="*/ 50543 h 748892"/>
                  <a:gd name="connsiteX17" fmla="*/ 277039 w 571785"/>
                  <a:gd name="connsiteY17" fmla="*/ 47886 h 748892"/>
                  <a:gd name="connsiteX18" fmla="*/ 439526 w 571785"/>
                  <a:gd name="connsiteY18" fmla="*/ 10638 h 748892"/>
                  <a:gd name="connsiteX19" fmla="*/ 498130 w 571785"/>
                  <a:gd name="connsiteY19" fmla="*/ 0 h 7488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71785" h="748892">
                    <a:moveTo>
                      <a:pt x="498130" y="0"/>
                    </a:moveTo>
                    <a:lnTo>
                      <a:pt x="487480" y="109072"/>
                    </a:lnTo>
                    <a:lnTo>
                      <a:pt x="514117" y="250073"/>
                    </a:lnTo>
                    <a:lnTo>
                      <a:pt x="572721" y="486841"/>
                    </a:lnTo>
                    <a:lnTo>
                      <a:pt x="532761" y="524089"/>
                    </a:lnTo>
                    <a:lnTo>
                      <a:pt x="460843" y="643808"/>
                    </a:lnTo>
                    <a:lnTo>
                      <a:pt x="434206" y="643808"/>
                    </a:lnTo>
                    <a:lnTo>
                      <a:pt x="391581" y="750223"/>
                    </a:lnTo>
                    <a:lnTo>
                      <a:pt x="327648" y="707651"/>
                    </a:lnTo>
                    <a:lnTo>
                      <a:pt x="314334" y="712975"/>
                    </a:lnTo>
                    <a:lnTo>
                      <a:pt x="226420" y="662427"/>
                    </a:lnTo>
                    <a:lnTo>
                      <a:pt x="0" y="266035"/>
                    </a:lnTo>
                    <a:lnTo>
                      <a:pt x="50619" y="242092"/>
                    </a:lnTo>
                    <a:lnTo>
                      <a:pt x="5329" y="164939"/>
                    </a:lnTo>
                    <a:lnTo>
                      <a:pt x="82576" y="98429"/>
                    </a:lnTo>
                    <a:lnTo>
                      <a:pt x="221100" y="23943"/>
                    </a:lnTo>
                    <a:lnTo>
                      <a:pt x="237079" y="50543"/>
                    </a:lnTo>
                    <a:lnTo>
                      <a:pt x="277039" y="47886"/>
                    </a:lnTo>
                    <a:lnTo>
                      <a:pt x="439526" y="10638"/>
                    </a:lnTo>
                    <a:lnTo>
                      <a:pt x="498130" y="0"/>
                    </a:lnTo>
                  </a:path>
                </a:pathLst>
              </a:custGeom>
              <a:grpFill/>
              <a:ln w="8875" cap="rnd">
                <a:solidFill>
                  <a:schemeClr val="bg1"/>
                </a:solidFill>
                <a:prstDash val="solid"/>
                <a:round/>
              </a:ln>
            </p:spPr>
            <p:txBody>
              <a:bodyPr rtlCol="0" anchor="ctr"/>
              <a:lstStyle/>
              <a:p>
                <a:endParaRPr lang="en-US"/>
              </a:p>
            </p:txBody>
          </p:sp>
          <p:sp>
            <p:nvSpPr>
              <p:cNvPr id="16" name="Freeform: Shape 15">
                <a:extLst>
                  <a:ext uri="{FF2B5EF4-FFF2-40B4-BE49-F238E27FC236}">
                    <a16:creationId xmlns:a16="http://schemas.microsoft.com/office/drawing/2014/main" id="{9C4CFD74-2A8C-41F5-9452-F78D16039C1D}"/>
                  </a:ext>
                </a:extLst>
              </p:cNvPr>
              <p:cNvSpPr/>
              <p:nvPr/>
            </p:nvSpPr>
            <p:spPr>
              <a:xfrm>
                <a:off x="6902528" y="3886523"/>
                <a:ext cx="1003802" cy="1028141"/>
              </a:xfrm>
              <a:custGeom>
                <a:avLst/>
                <a:gdLst>
                  <a:gd name="connsiteX0" fmla="*/ 799141 w 1003801"/>
                  <a:gd name="connsiteY0" fmla="*/ 505465 h 1028140"/>
                  <a:gd name="connsiteX1" fmla="*/ 1012247 w 1003801"/>
                  <a:gd name="connsiteY1" fmla="*/ 851314 h 1028140"/>
                  <a:gd name="connsiteX2" fmla="*/ 1006918 w 1003801"/>
                  <a:gd name="connsiteY2" fmla="*/ 853976 h 1028140"/>
                  <a:gd name="connsiteX3" fmla="*/ 972287 w 1003801"/>
                  <a:gd name="connsiteY3" fmla="*/ 888557 h 1028140"/>
                  <a:gd name="connsiteX4" fmla="*/ 831107 w 1003801"/>
                  <a:gd name="connsiteY4" fmla="*/ 1029553 h 1028140"/>
                  <a:gd name="connsiteX5" fmla="*/ 372929 w 1003801"/>
                  <a:gd name="connsiteY5" fmla="*/ 923143 h 1028140"/>
                  <a:gd name="connsiteX6" fmla="*/ 335633 w 1003801"/>
                  <a:gd name="connsiteY6" fmla="*/ 923143 h 1028140"/>
                  <a:gd name="connsiteX7" fmla="*/ 269036 w 1003801"/>
                  <a:gd name="connsiteY7" fmla="*/ 896538 h 1028140"/>
                  <a:gd name="connsiteX8" fmla="*/ 159823 w 1003801"/>
                  <a:gd name="connsiteY8" fmla="*/ 853976 h 1028140"/>
                  <a:gd name="connsiteX9" fmla="*/ 18643 w 1003801"/>
                  <a:gd name="connsiteY9" fmla="*/ 782142 h 1028140"/>
                  <a:gd name="connsiteX10" fmla="*/ 0 w 1003801"/>
                  <a:gd name="connsiteY10" fmla="*/ 838009 h 1028140"/>
                  <a:gd name="connsiteX11" fmla="*/ 37287 w 1003801"/>
                  <a:gd name="connsiteY11" fmla="*/ 675727 h 1028140"/>
                  <a:gd name="connsiteX12" fmla="*/ 55939 w 1003801"/>
                  <a:gd name="connsiteY12" fmla="*/ 630503 h 1028140"/>
                  <a:gd name="connsiteX13" fmla="*/ 205112 w 1003801"/>
                  <a:gd name="connsiteY13" fmla="*/ 218149 h 1028140"/>
                  <a:gd name="connsiteX14" fmla="*/ 282359 w 1003801"/>
                  <a:gd name="connsiteY14" fmla="*/ 0 h 1028140"/>
                  <a:gd name="connsiteX15" fmla="*/ 463499 w 1003801"/>
                  <a:gd name="connsiteY15" fmla="*/ 114391 h 1028140"/>
                  <a:gd name="connsiteX16" fmla="*/ 562062 w 1003801"/>
                  <a:gd name="connsiteY16" fmla="*/ 191544 h 1028140"/>
                  <a:gd name="connsiteX17" fmla="*/ 615337 w 1003801"/>
                  <a:gd name="connsiteY17" fmla="*/ 234106 h 1028140"/>
                  <a:gd name="connsiteX18" fmla="*/ 799141 w 1003801"/>
                  <a:gd name="connsiteY18" fmla="*/ 505465 h 1028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003801" h="1028140">
                    <a:moveTo>
                      <a:pt x="799141" y="505465"/>
                    </a:moveTo>
                    <a:lnTo>
                      <a:pt x="1012247" y="851314"/>
                    </a:lnTo>
                    <a:lnTo>
                      <a:pt x="1006918" y="853976"/>
                    </a:lnTo>
                    <a:lnTo>
                      <a:pt x="972287" y="888557"/>
                    </a:lnTo>
                    <a:lnTo>
                      <a:pt x="831107" y="1029553"/>
                    </a:lnTo>
                    <a:lnTo>
                      <a:pt x="372929" y="923143"/>
                    </a:lnTo>
                    <a:lnTo>
                      <a:pt x="335633" y="923143"/>
                    </a:lnTo>
                    <a:lnTo>
                      <a:pt x="269036" y="896538"/>
                    </a:lnTo>
                    <a:lnTo>
                      <a:pt x="159823" y="853976"/>
                    </a:lnTo>
                    <a:lnTo>
                      <a:pt x="18643" y="782142"/>
                    </a:lnTo>
                    <a:lnTo>
                      <a:pt x="0" y="838009"/>
                    </a:lnTo>
                    <a:lnTo>
                      <a:pt x="37287" y="675727"/>
                    </a:lnTo>
                    <a:lnTo>
                      <a:pt x="55939" y="630503"/>
                    </a:lnTo>
                    <a:lnTo>
                      <a:pt x="205112" y="218149"/>
                    </a:lnTo>
                    <a:lnTo>
                      <a:pt x="282359" y="0"/>
                    </a:lnTo>
                    <a:lnTo>
                      <a:pt x="463499" y="114391"/>
                    </a:lnTo>
                    <a:lnTo>
                      <a:pt x="562062" y="191544"/>
                    </a:lnTo>
                    <a:lnTo>
                      <a:pt x="615337" y="234106"/>
                    </a:lnTo>
                    <a:lnTo>
                      <a:pt x="799141" y="505465"/>
                    </a:lnTo>
                  </a:path>
                </a:pathLst>
              </a:custGeom>
              <a:grpFill/>
              <a:ln w="8875" cap="rnd">
                <a:solidFill>
                  <a:schemeClr val="bg1"/>
                </a:solidFill>
                <a:prstDash val="solid"/>
                <a:round/>
              </a:ln>
            </p:spPr>
            <p:txBody>
              <a:bodyPr rtlCol="0" anchor="ctr"/>
              <a:lstStyle/>
              <a:p>
                <a:endParaRPr lang="en-US"/>
              </a:p>
            </p:txBody>
          </p:sp>
          <p:sp>
            <p:nvSpPr>
              <p:cNvPr id="17" name="Freeform: Shape 16">
                <a:extLst>
                  <a:ext uri="{FF2B5EF4-FFF2-40B4-BE49-F238E27FC236}">
                    <a16:creationId xmlns:a16="http://schemas.microsoft.com/office/drawing/2014/main" id="{1E400588-CC6F-4764-96AC-46C3478CAF98}"/>
                  </a:ext>
                </a:extLst>
              </p:cNvPr>
              <p:cNvSpPr/>
              <p:nvPr/>
            </p:nvSpPr>
            <p:spPr>
              <a:xfrm>
                <a:off x="6191283" y="3402335"/>
                <a:ext cx="991095" cy="1612023"/>
              </a:xfrm>
              <a:custGeom>
                <a:avLst/>
                <a:gdLst>
                  <a:gd name="connsiteX0" fmla="*/ 828443 w 991095"/>
                  <a:gd name="connsiteY0" fmla="*/ 396393 h 1612023"/>
                  <a:gd name="connsiteX1" fmla="*/ 916357 w 991095"/>
                  <a:gd name="connsiteY1" fmla="*/ 446940 h 1612023"/>
                  <a:gd name="connsiteX2" fmla="*/ 929671 w 991095"/>
                  <a:gd name="connsiteY2" fmla="*/ 441617 h 1612023"/>
                  <a:gd name="connsiteX3" fmla="*/ 993604 w 991095"/>
                  <a:gd name="connsiteY3" fmla="*/ 484188 h 1612023"/>
                  <a:gd name="connsiteX4" fmla="*/ 916357 w 991095"/>
                  <a:gd name="connsiteY4" fmla="*/ 702337 h 1612023"/>
                  <a:gd name="connsiteX5" fmla="*/ 767183 w 991095"/>
                  <a:gd name="connsiteY5" fmla="*/ 1114691 h 1612023"/>
                  <a:gd name="connsiteX6" fmla="*/ 748531 w 991095"/>
                  <a:gd name="connsiteY6" fmla="*/ 1159916 h 1612023"/>
                  <a:gd name="connsiteX7" fmla="*/ 711245 w 991095"/>
                  <a:gd name="connsiteY7" fmla="*/ 1322197 h 1612023"/>
                  <a:gd name="connsiteX8" fmla="*/ 623339 w 991095"/>
                  <a:gd name="connsiteY8" fmla="*/ 1582913 h 1612023"/>
                  <a:gd name="connsiteX9" fmla="*/ 583379 w 991095"/>
                  <a:gd name="connsiteY9" fmla="*/ 1604199 h 1612023"/>
                  <a:gd name="connsiteX10" fmla="*/ 554077 w 991095"/>
                  <a:gd name="connsiteY10" fmla="*/ 1620161 h 1612023"/>
                  <a:gd name="connsiteX11" fmla="*/ 519446 w 991095"/>
                  <a:gd name="connsiteY11" fmla="*/ 1479160 h 1612023"/>
                  <a:gd name="connsiteX12" fmla="*/ 383587 w 991095"/>
                  <a:gd name="connsiteY12" fmla="*/ 1245049 h 1612023"/>
                  <a:gd name="connsiteX13" fmla="*/ 383587 w 991095"/>
                  <a:gd name="connsiteY13" fmla="*/ 1173220 h 1612023"/>
                  <a:gd name="connsiteX14" fmla="*/ 338307 w 991095"/>
                  <a:gd name="connsiteY14" fmla="*/ 1096068 h 1612023"/>
                  <a:gd name="connsiteX15" fmla="*/ 154503 w 991095"/>
                  <a:gd name="connsiteY15" fmla="*/ 771504 h 1612023"/>
                  <a:gd name="connsiteX16" fmla="*/ 0 w 991095"/>
                  <a:gd name="connsiteY16" fmla="*/ 468222 h 1612023"/>
                  <a:gd name="connsiteX17" fmla="*/ 229094 w 991095"/>
                  <a:gd name="connsiteY17" fmla="*/ 391073 h 1612023"/>
                  <a:gd name="connsiteX18" fmla="*/ 380932 w 991095"/>
                  <a:gd name="connsiteY18" fmla="*/ 260716 h 1612023"/>
                  <a:gd name="connsiteX19" fmla="*/ 412889 w 991095"/>
                  <a:gd name="connsiteY19" fmla="*/ 223468 h 1612023"/>
                  <a:gd name="connsiteX20" fmla="*/ 580715 w 991095"/>
                  <a:gd name="connsiteY20" fmla="*/ 10643 h 1612023"/>
                  <a:gd name="connsiteX21" fmla="*/ 602022 w 991095"/>
                  <a:gd name="connsiteY21" fmla="*/ 0 h 1612023"/>
                  <a:gd name="connsiteX22" fmla="*/ 828443 w 991095"/>
                  <a:gd name="connsiteY22" fmla="*/ 396393 h 16120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91095" h="1612023">
                    <a:moveTo>
                      <a:pt x="828443" y="396393"/>
                    </a:moveTo>
                    <a:lnTo>
                      <a:pt x="916357" y="446940"/>
                    </a:lnTo>
                    <a:lnTo>
                      <a:pt x="929671" y="441617"/>
                    </a:lnTo>
                    <a:lnTo>
                      <a:pt x="993604" y="484188"/>
                    </a:lnTo>
                    <a:lnTo>
                      <a:pt x="916357" y="702337"/>
                    </a:lnTo>
                    <a:lnTo>
                      <a:pt x="767183" y="1114691"/>
                    </a:lnTo>
                    <a:lnTo>
                      <a:pt x="748531" y="1159916"/>
                    </a:lnTo>
                    <a:lnTo>
                      <a:pt x="711245" y="1322197"/>
                    </a:lnTo>
                    <a:lnTo>
                      <a:pt x="623339" y="1582913"/>
                    </a:lnTo>
                    <a:lnTo>
                      <a:pt x="583379" y="1604199"/>
                    </a:lnTo>
                    <a:lnTo>
                      <a:pt x="554077" y="1620161"/>
                    </a:lnTo>
                    <a:lnTo>
                      <a:pt x="519446" y="1479160"/>
                    </a:lnTo>
                    <a:lnTo>
                      <a:pt x="383587" y="1245049"/>
                    </a:lnTo>
                    <a:lnTo>
                      <a:pt x="383587" y="1173220"/>
                    </a:lnTo>
                    <a:lnTo>
                      <a:pt x="338307" y="1096068"/>
                    </a:lnTo>
                    <a:lnTo>
                      <a:pt x="154503" y="771504"/>
                    </a:lnTo>
                    <a:lnTo>
                      <a:pt x="0" y="468222"/>
                    </a:lnTo>
                    <a:lnTo>
                      <a:pt x="229094" y="391073"/>
                    </a:lnTo>
                    <a:lnTo>
                      <a:pt x="380932" y="260716"/>
                    </a:lnTo>
                    <a:lnTo>
                      <a:pt x="412889" y="223468"/>
                    </a:lnTo>
                    <a:lnTo>
                      <a:pt x="580715" y="10643"/>
                    </a:lnTo>
                    <a:lnTo>
                      <a:pt x="602022" y="0"/>
                    </a:lnTo>
                    <a:lnTo>
                      <a:pt x="828443" y="396393"/>
                    </a:lnTo>
                  </a:path>
                </a:pathLst>
              </a:custGeom>
              <a:grpFill/>
              <a:ln w="8875" cap="rnd">
                <a:solidFill>
                  <a:schemeClr val="bg1"/>
                </a:solidFill>
                <a:prstDash val="solid"/>
                <a:round/>
              </a:ln>
            </p:spPr>
            <p:txBody>
              <a:bodyPr rtlCol="0" anchor="ctr"/>
              <a:lstStyle/>
              <a:p>
                <a:endParaRPr lang="en-US"/>
              </a:p>
            </p:txBody>
          </p:sp>
          <p:sp>
            <p:nvSpPr>
              <p:cNvPr id="18" name="Freeform: Shape 17">
                <a:extLst>
                  <a:ext uri="{FF2B5EF4-FFF2-40B4-BE49-F238E27FC236}">
                    <a16:creationId xmlns:a16="http://schemas.microsoft.com/office/drawing/2014/main" id="{C0906100-1402-4C6A-852B-A287D31A42A4}"/>
                  </a:ext>
                </a:extLst>
              </p:cNvPr>
              <p:cNvSpPr/>
              <p:nvPr/>
            </p:nvSpPr>
            <p:spPr>
              <a:xfrm>
                <a:off x="4899342" y="2386078"/>
                <a:ext cx="1664532" cy="2183213"/>
              </a:xfrm>
              <a:custGeom>
                <a:avLst/>
                <a:gdLst>
                  <a:gd name="connsiteX0" fmla="*/ 1196051 w 1664531"/>
                  <a:gd name="connsiteY0" fmla="*/ 750223 h 2183212"/>
                  <a:gd name="connsiteX1" fmla="*/ 1267969 w 1664531"/>
                  <a:gd name="connsiteY1" fmla="*/ 1359445 h 2183212"/>
                  <a:gd name="connsiteX2" fmla="*/ 1291941 w 1664531"/>
                  <a:gd name="connsiteY2" fmla="*/ 1484479 h 2183212"/>
                  <a:gd name="connsiteX3" fmla="*/ 1446444 w 1664531"/>
                  <a:gd name="connsiteY3" fmla="*/ 1787762 h 2183212"/>
                  <a:gd name="connsiteX4" fmla="*/ 1630248 w 1664531"/>
                  <a:gd name="connsiteY4" fmla="*/ 2112325 h 2183212"/>
                  <a:gd name="connsiteX5" fmla="*/ 1675528 w 1664531"/>
                  <a:gd name="connsiteY5" fmla="*/ 2189478 h 2183212"/>
                  <a:gd name="connsiteX6" fmla="*/ 1398499 w 1664531"/>
                  <a:gd name="connsiteY6" fmla="*/ 2130949 h 2183212"/>
                  <a:gd name="connsiteX7" fmla="*/ 1134783 w 1664531"/>
                  <a:gd name="connsiteY7" fmla="*/ 1989948 h 2183212"/>
                  <a:gd name="connsiteX8" fmla="*/ 1089494 w 1664531"/>
                  <a:gd name="connsiteY8" fmla="*/ 1894176 h 2183212"/>
                  <a:gd name="connsiteX9" fmla="*/ 1166749 w 1664531"/>
                  <a:gd name="connsiteY9" fmla="*/ 1529708 h 2183212"/>
                  <a:gd name="connsiteX10" fmla="*/ 1150762 w 1664531"/>
                  <a:gd name="connsiteY10" fmla="*/ 1495122 h 2183212"/>
                  <a:gd name="connsiteX11" fmla="*/ 1118795 w 1664531"/>
                  <a:gd name="connsiteY11" fmla="*/ 1503103 h 2183212"/>
                  <a:gd name="connsiteX12" fmla="*/ 988274 w 1664531"/>
                  <a:gd name="connsiteY12" fmla="*/ 1872891 h 2183212"/>
                  <a:gd name="connsiteX13" fmla="*/ 857744 w 1664531"/>
                  <a:gd name="connsiteY13" fmla="*/ 1912800 h 2183212"/>
                  <a:gd name="connsiteX14" fmla="*/ 615337 w 1664531"/>
                  <a:gd name="connsiteY14" fmla="*/ 1843629 h 2183212"/>
                  <a:gd name="connsiteX15" fmla="*/ 735208 w 1664531"/>
                  <a:gd name="connsiteY15" fmla="*/ 1492460 h 2183212"/>
                  <a:gd name="connsiteX16" fmla="*/ 780497 w 1664531"/>
                  <a:gd name="connsiteY16" fmla="*/ 1489803 h 2183212"/>
                  <a:gd name="connsiteX17" fmla="*/ 807135 w 1664531"/>
                  <a:gd name="connsiteY17" fmla="*/ 1399350 h 2183212"/>
                  <a:gd name="connsiteX18" fmla="*/ 767174 w 1664531"/>
                  <a:gd name="connsiteY18" fmla="*/ 1391369 h 2183212"/>
                  <a:gd name="connsiteX19" fmla="*/ 780497 w 1664531"/>
                  <a:gd name="connsiteY19" fmla="*/ 1346140 h 2183212"/>
                  <a:gd name="connsiteX20" fmla="*/ 740537 w 1664531"/>
                  <a:gd name="connsiteY20" fmla="*/ 1324859 h 2183212"/>
                  <a:gd name="connsiteX21" fmla="*/ 673940 w 1664531"/>
                  <a:gd name="connsiteY21" fmla="*/ 1340821 h 2183212"/>
                  <a:gd name="connsiteX22" fmla="*/ 673940 w 1664531"/>
                  <a:gd name="connsiteY22" fmla="*/ 1311559 h 2183212"/>
                  <a:gd name="connsiteX23" fmla="*/ 612672 w 1664531"/>
                  <a:gd name="connsiteY23" fmla="*/ 1300916 h 2183212"/>
                  <a:gd name="connsiteX24" fmla="*/ 498130 w 1664531"/>
                  <a:gd name="connsiteY24" fmla="*/ 1330178 h 2183212"/>
                  <a:gd name="connsiteX25" fmla="*/ 490145 w 1664531"/>
                  <a:gd name="connsiteY25" fmla="*/ 1159916 h 2183212"/>
                  <a:gd name="connsiteX26" fmla="*/ 495465 w 1664531"/>
                  <a:gd name="connsiteY26" fmla="*/ 1058824 h 2183212"/>
                  <a:gd name="connsiteX27" fmla="*/ 388916 w 1664531"/>
                  <a:gd name="connsiteY27" fmla="*/ 1056163 h 2183212"/>
                  <a:gd name="connsiteX28" fmla="*/ 287688 w 1664531"/>
                  <a:gd name="connsiteY28" fmla="*/ 1024239 h 2183212"/>
                  <a:gd name="connsiteX29" fmla="*/ 183804 w 1664531"/>
                  <a:gd name="connsiteY29" fmla="*/ 803428 h 2183212"/>
                  <a:gd name="connsiteX30" fmla="*/ 0 w 1664531"/>
                  <a:gd name="connsiteY30" fmla="*/ 675732 h 2183212"/>
                  <a:gd name="connsiteX31" fmla="*/ 29302 w 1664531"/>
                  <a:gd name="connsiteY31" fmla="*/ 593260 h 2183212"/>
                  <a:gd name="connsiteX32" fmla="*/ 111878 w 1664531"/>
                  <a:gd name="connsiteY32" fmla="*/ 284659 h 2183212"/>
                  <a:gd name="connsiteX33" fmla="*/ 186469 w 1664531"/>
                  <a:gd name="connsiteY33" fmla="*/ 151639 h 2183212"/>
                  <a:gd name="connsiteX34" fmla="*/ 77247 w 1664531"/>
                  <a:gd name="connsiteY34" fmla="*/ 63848 h 2183212"/>
                  <a:gd name="connsiteX35" fmla="*/ 114542 w 1664531"/>
                  <a:gd name="connsiteY35" fmla="*/ 0 h 2183212"/>
                  <a:gd name="connsiteX36" fmla="*/ 271709 w 1664531"/>
                  <a:gd name="connsiteY36" fmla="*/ 31924 h 2183212"/>
                  <a:gd name="connsiteX37" fmla="*/ 716565 w 1664531"/>
                  <a:gd name="connsiteY37" fmla="*/ 332545 h 2183212"/>
                  <a:gd name="connsiteX38" fmla="*/ 820449 w 1664531"/>
                  <a:gd name="connsiteY38" fmla="*/ 433636 h 2183212"/>
                  <a:gd name="connsiteX39" fmla="*/ 924342 w 1664531"/>
                  <a:gd name="connsiteY39" fmla="*/ 606560 h 2183212"/>
                  <a:gd name="connsiteX40" fmla="*/ 977616 w 1664531"/>
                  <a:gd name="connsiteY40" fmla="*/ 702337 h 2183212"/>
                  <a:gd name="connsiteX41" fmla="*/ 1193386 w 1664531"/>
                  <a:gd name="connsiteY41" fmla="*/ 734261 h 2183212"/>
                  <a:gd name="connsiteX42" fmla="*/ 1196051 w 1664531"/>
                  <a:gd name="connsiteY42" fmla="*/ 750223 h 2183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664531" h="2183212">
                    <a:moveTo>
                      <a:pt x="1196051" y="750223"/>
                    </a:moveTo>
                    <a:lnTo>
                      <a:pt x="1267969" y="1359445"/>
                    </a:lnTo>
                    <a:lnTo>
                      <a:pt x="1291941" y="1484479"/>
                    </a:lnTo>
                    <a:lnTo>
                      <a:pt x="1446444" y="1787762"/>
                    </a:lnTo>
                    <a:lnTo>
                      <a:pt x="1630248" y="2112325"/>
                    </a:lnTo>
                    <a:lnTo>
                      <a:pt x="1675528" y="2189478"/>
                    </a:lnTo>
                    <a:lnTo>
                      <a:pt x="1398499" y="2130949"/>
                    </a:lnTo>
                    <a:lnTo>
                      <a:pt x="1134783" y="1989948"/>
                    </a:lnTo>
                    <a:lnTo>
                      <a:pt x="1089494" y="1894176"/>
                    </a:lnTo>
                    <a:lnTo>
                      <a:pt x="1166749" y="1529708"/>
                    </a:lnTo>
                    <a:lnTo>
                      <a:pt x="1150762" y="1495122"/>
                    </a:lnTo>
                    <a:lnTo>
                      <a:pt x="1118795" y="1503103"/>
                    </a:lnTo>
                    <a:lnTo>
                      <a:pt x="988274" y="1872891"/>
                    </a:lnTo>
                    <a:lnTo>
                      <a:pt x="857744" y="1912800"/>
                    </a:lnTo>
                    <a:lnTo>
                      <a:pt x="615337" y="1843629"/>
                    </a:lnTo>
                    <a:lnTo>
                      <a:pt x="735208" y="1492460"/>
                    </a:lnTo>
                    <a:lnTo>
                      <a:pt x="780497" y="1489803"/>
                    </a:lnTo>
                    <a:lnTo>
                      <a:pt x="807135" y="1399350"/>
                    </a:lnTo>
                    <a:lnTo>
                      <a:pt x="767174" y="1391369"/>
                    </a:lnTo>
                    <a:lnTo>
                      <a:pt x="780497" y="1346140"/>
                    </a:lnTo>
                    <a:lnTo>
                      <a:pt x="740537" y="1324859"/>
                    </a:lnTo>
                    <a:lnTo>
                      <a:pt x="673940" y="1340821"/>
                    </a:lnTo>
                    <a:lnTo>
                      <a:pt x="673940" y="1311559"/>
                    </a:lnTo>
                    <a:lnTo>
                      <a:pt x="612672" y="1300916"/>
                    </a:lnTo>
                    <a:lnTo>
                      <a:pt x="498130" y="1330178"/>
                    </a:lnTo>
                    <a:lnTo>
                      <a:pt x="490145" y="1159916"/>
                    </a:lnTo>
                    <a:lnTo>
                      <a:pt x="495465" y="1058824"/>
                    </a:lnTo>
                    <a:lnTo>
                      <a:pt x="388916" y="1056163"/>
                    </a:lnTo>
                    <a:lnTo>
                      <a:pt x="287688" y="1024239"/>
                    </a:lnTo>
                    <a:lnTo>
                      <a:pt x="183804" y="803428"/>
                    </a:lnTo>
                    <a:lnTo>
                      <a:pt x="0" y="675732"/>
                    </a:lnTo>
                    <a:lnTo>
                      <a:pt x="29302" y="593260"/>
                    </a:lnTo>
                    <a:lnTo>
                      <a:pt x="111878" y="284659"/>
                    </a:lnTo>
                    <a:lnTo>
                      <a:pt x="186469" y="151639"/>
                    </a:lnTo>
                    <a:lnTo>
                      <a:pt x="77247" y="63848"/>
                    </a:lnTo>
                    <a:lnTo>
                      <a:pt x="114542" y="0"/>
                    </a:lnTo>
                    <a:lnTo>
                      <a:pt x="271709" y="31924"/>
                    </a:lnTo>
                    <a:lnTo>
                      <a:pt x="716565" y="332545"/>
                    </a:lnTo>
                    <a:lnTo>
                      <a:pt x="820449" y="433636"/>
                    </a:lnTo>
                    <a:lnTo>
                      <a:pt x="924342" y="606560"/>
                    </a:lnTo>
                    <a:lnTo>
                      <a:pt x="977616" y="702337"/>
                    </a:lnTo>
                    <a:lnTo>
                      <a:pt x="1193386" y="734261"/>
                    </a:lnTo>
                    <a:lnTo>
                      <a:pt x="1196051" y="750223"/>
                    </a:lnTo>
                  </a:path>
                </a:pathLst>
              </a:custGeom>
              <a:grpFill/>
              <a:ln w="8875" cap="rnd">
                <a:solidFill>
                  <a:schemeClr val="bg1"/>
                </a:solidFill>
                <a:prstDash val="solid"/>
                <a:round/>
              </a:ln>
            </p:spPr>
            <p:txBody>
              <a:bodyPr rtlCol="0" anchor="ctr"/>
              <a:lstStyle/>
              <a:p>
                <a:endParaRPr lang="en-US"/>
              </a:p>
            </p:txBody>
          </p:sp>
        </p:grpSp>
        <p:grpSp>
          <p:nvGrpSpPr>
            <p:cNvPr id="25" name="Group 24">
              <a:extLst>
                <a:ext uri="{FF2B5EF4-FFF2-40B4-BE49-F238E27FC236}">
                  <a16:creationId xmlns:a16="http://schemas.microsoft.com/office/drawing/2014/main" id="{4DAEED65-A54F-45D4-AD80-0D260788F468}"/>
                </a:ext>
              </a:extLst>
            </p:cNvPr>
            <p:cNvGrpSpPr/>
            <p:nvPr/>
          </p:nvGrpSpPr>
          <p:grpSpPr>
            <a:xfrm>
              <a:off x="1950527" y="2615650"/>
              <a:ext cx="1753430" cy="2555833"/>
              <a:chOff x="1950527" y="2615650"/>
              <a:chExt cx="1753430" cy="2555833"/>
            </a:xfrm>
          </p:grpSpPr>
          <p:sp>
            <p:nvSpPr>
              <p:cNvPr id="23" name="Freeform: Shape 22">
                <a:extLst>
                  <a:ext uri="{FF2B5EF4-FFF2-40B4-BE49-F238E27FC236}">
                    <a16:creationId xmlns:a16="http://schemas.microsoft.com/office/drawing/2014/main" id="{777A8A38-9FC7-4818-BA6D-63DCF0D78660}"/>
                  </a:ext>
                </a:extLst>
              </p:cNvPr>
              <p:cNvSpPr/>
              <p:nvPr/>
            </p:nvSpPr>
            <p:spPr>
              <a:xfrm>
                <a:off x="1950527" y="2615650"/>
                <a:ext cx="1628339" cy="1733642"/>
              </a:xfrm>
              <a:custGeom>
                <a:avLst/>
                <a:gdLst>
                  <a:gd name="connsiteX0" fmla="*/ 1321588 w 1346002"/>
                  <a:gd name="connsiteY0" fmla="*/ 1549911 h 1638947"/>
                  <a:gd name="connsiteX1" fmla="*/ 1343813 w 1346002"/>
                  <a:gd name="connsiteY1" fmla="*/ 1610236 h 1638947"/>
                  <a:gd name="connsiteX2" fmla="*/ 1273963 w 1346002"/>
                  <a:gd name="connsiteY2" fmla="*/ 1629286 h 1638947"/>
                  <a:gd name="connsiteX3" fmla="*/ 988213 w 1346002"/>
                  <a:gd name="connsiteY3" fmla="*/ 1457836 h 1638947"/>
                  <a:gd name="connsiteX4" fmla="*/ 845338 w 1346002"/>
                  <a:gd name="connsiteY4" fmla="*/ 1426086 h 1638947"/>
                  <a:gd name="connsiteX5" fmla="*/ 162713 w 1346002"/>
                  <a:gd name="connsiteY5" fmla="*/ 1324486 h 1638947"/>
                  <a:gd name="connsiteX6" fmla="*/ 67463 w 1346002"/>
                  <a:gd name="connsiteY6" fmla="*/ 1045086 h 1638947"/>
                  <a:gd name="connsiteX7" fmla="*/ 10313 w 1346002"/>
                  <a:gd name="connsiteY7" fmla="*/ 108461 h 1638947"/>
                  <a:gd name="connsiteX8" fmla="*/ 283363 w 1346002"/>
                  <a:gd name="connsiteY8" fmla="*/ 57661 h 1638947"/>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845338 w 1346002"/>
                  <a:gd name="connsiteY4" fmla="*/ 142608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55485"/>
                  <a:gd name="connsiteY0" fmla="*/ 1549911 h 1641478"/>
                  <a:gd name="connsiteX1" fmla="*/ 1343813 w 1355485"/>
                  <a:gd name="connsiteY1" fmla="*/ 1610236 h 1641478"/>
                  <a:gd name="connsiteX2" fmla="*/ 1137438 w 1355485"/>
                  <a:gd name="connsiteY2" fmla="*/ 1629286 h 1641478"/>
                  <a:gd name="connsiteX3" fmla="*/ 943763 w 1355485"/>
                  <a:gd name="connsiteY3" fmla="*/ 1422911 h 1641478"/>
                  <a:gd name="connsiteX4" fmla="*/ 762788 w 1355485"/>
                  <a:gd name="connsiteY4" fmla="*/ 1394336 h 1641478"/>
                  <a:gd name="connsiteX5" fmla="*/ 162713 w 1355485"/>
                  <a:gd name="connsiteY5" fmla="*/ 1324486 h 1641478"/>
                  <a:gd name="connsiteX6" fmla="*/ 67463 w 1355485"/>
                  <a:gd name="connsiteY6" fmla="*/ 1045086 h 1641478"/>
                  <a:gd name="connsiteX7" fmla="*/ 10313 w 1355485"/>
                  <a:gd name="connsiteY7" fmla="*/ 108461 h 1641478"/>
                  <a:gd name="connsiteX8" fmla="*/ 283363 w 1355485"/>
                  <a:gd name="connsiteY8" fmla="*/ 57661 h 1641478"/>
                  <a:gd name="connsiteX0" fmla="*/ 1331113 w 1358225"/>
                  <a:gd name="connsiteY0" fmla="*/ 1534036 h 1641946"/>
                  <a:gd name="connsiteX1" fmla="*/ 1343813 w 1358225"/>
                  <a:gd name="connsiteY1" fmla="*/ 1610236 h 1641946"/>
                  <a:gd name="connsiteX2" fmla="*/ 1137438 w 1358225"/>
                  <a:gd name="connsiteY2" fmla="*/ 1629286 h 1641946"/>
                  <a:gd name="connsiteX3" fmla="*/ 943763 w 1358225"/>
                  <a:gd name="connsiteY3" fmla="*/ 1422911 h 1641946"/>
                  <a:gd name="connsiteX4" fmla="*/ 762788 w 1358225"/>
                  <a:gd name="connsiteY4" fmla="*/ 1394336 h 1641946"/>
                  <a:gd name="connsiteX5" fmla="*/ 162713 w 1358225"/>
                  <a:gd name="connsiteY5" fmla="*/ 1324486 h 1641946"/>
                  <a:gd name="connsiteX6" fmla="*/ 67463 w 1358225"/>
                  <a:gd name="connsiteY6" fmla="*/ 1045086 h 1641946"/>
                  <a:gd name="connsiteX7" fmla="*/ 10313 w 1358225"/>
                  <a:gd name="connsiteY7" fmla="*/ 108461 h 1641946"/>
                  <a:gd name="connsiteX8" fmla="*/ 283363 w 1358225"/>
                  <a:gd name="connsiteY8" fmla="*/ 57661 h 1641946"/>
                  <a:gd name="connsiteX0" fmla="*/ 1315238 w 1353973"/>
                  <a:gd name="connsiteY0" fmla="*/ 1540386 h 1641755"/>
                  <a:gd name="connsiteX1" fmla="*/ 1343813 w 1353973"/>
                  <a:gd name="connsiteY1" fmla="*/ 1610236 h 1641755"/>
                  <a:gd name="connsiteX2" fmla="*/ 1137438 w 1353973"/>
                  <a:gd name="connsiteY2" fmla="*/ 1629286 h 1641755"/>
                  <a:gd name="connsiteX3" fmla="*/ 943763 w 1353973"/>
                  <a:gd name="connsiteY3" fmla="*/ 1422911 h 1641755"/>
                  <a:gd name="connsiteX4" fmla="*/ 762788 w 1353973"/>
                  <a:gd name="connsiteY4" fmla="*/ 1394336 h 1641755"/>
                  <a:gd name="connsiteX5" fmla="*/ 162713 w 1353973"/>
                  <a:gd name="connsiteY5" fmla="*/ 1324486 h 1641755"/>
                  <a:gd name="connsiteX6" fmla="*/ 67463 w 1353973"/>
                  <a:gd name="connsiteY6" fmla="*/ 1045086 h 1641755"/>
                  <a:gd name="connsiteX7" fmla="*/ 10313 w 1353973"/>
                  <a:gd name="connsiteY7" fmla="*/ 108461 h 1641755"/>
                  <a:gd name="connsiteX8" fmla="*/ 283363 w 1353973"/>
                  <a:gd name="connsiteY8" fmla="*/ 57661 h 1641755"/>
                  <a:gd name="connsiteX0" fmla="*/ 1321588 w 1355485"/>
                  <a:gd name="connsiteY0" fmla="*/ 1534036 h 1641946"/>
                  <a:gd name="connsiteX1" fmla="*/ 1343813 w 1355485"/>
                  <a:gd name="connsiteY1" fmla="*/ 1610236 h 1641946"/>
                  <a:gd name="connsiteX2" fmla="*/ 1137438 w 1355485"/>
                  <a:gd name="connsiteY2" fmla="*/ 1629286 h 1641946"/>
                  <a:gd name="connsiteX3" fmla="*/ 943763 w 1355485"/>
                  <a:gd name="connsiteY3" fmla="*/ 1422911 h 1641946"/>
                  <a:gd name="connsiteX4" fmla="*/ 762788 w 1355485"/>
                  <a:gd name="connsiteY4" fmla="*/ 1394336 h 1641946"/>
                  <a:gd name="connsiteX5" fmla="*/ 162713 w 1355485"/>
                  <a:gd name="connsiteY5" fmla="*/ 1324486 h 1641946"/>
                  <a:gd name="connsiteX6" fmla="*/ 67463 w 1355485"/>
                  <a:gd name="connsiteY6" fmla="*/ 1045086 h 1641946"/>
                  <a:gd name="connsiteX7" fmla="*/ 10313 w 1355485"/>
                  <a:gd name="connsiteY7" fmla="*/ 108461 h 1641946"/>
                  <a:gd name="connsiteX8" fmla="*/ 283363 w 1355485"/>
                  <a:gd name="connsiteY8" fmla="*/ 57661 h 1641946"/>
                  <a:gd name="connsiteX0" fmla="*/ 1333495 w 1359016"/>
                  <a:gd name="connsiteY0" fmla="*/ 1555467 h 1641320"/>
                  <a:gd name="connsiteX1" fmla="*/ 1343813 w 1359016"/>
                  <a:gd name="connsiteY1" fmla="*/ 1610236 h 1641320"/>
                  <a:gd name="connsiteX2" fmla="*/ 1137438 w 1359016"/>
                  <a:gd name="connsiteY2" fmla="*/ 1629286 h 1641320"/>
                  <a:gd name="connsiteX3" fmla="*/ 943763 w 1359016"/>
                  <a:gd name="connsiteY3" fmla="*/ 1422911 h 1641320"/>
                  <a:gd name="connsiteX4" fmla="*/ 762788 w 1359016"/>
                  <a:gd name="connsiteY4" fmla="*/ 1394336 h 1641320"/>
                  <a:gd name="connsiteX5" fmla="*/ 162713 w 1359016"/>
                  <a:gd name="connsiteY5" fmla="*/ 1324486 h 1641320"/>
                  <a:gd name="connsiteX6" fmla="*/ 67463 w 1359016"/>
                  <a:gd name="connsiteY6" fmla="*/ 1045086 h 1641320"/>
                  <a:gd name="connsiteX7" fmla="*/ 10313 w 1359016"/>
                  <a:gd name="connsiteY7" fmla="*/ 108461 h 1641320"/>
                  <a:gd name="connsiteX8" fmla="*/ 283363 w 1359016"/>
                  <a:gd name="connsiteY8" fmla="*/ 57661 h 1641320"/>
                  <a:gd name="connsiteX0" fmla="*/ 1333495 w 1359016"/>
                  <a:gd name="connsiteY0" fmla="*/ 1516775 h 1602628"/>
                  <a:gd name="connsiteX1" fmla="*/ 1343813 w 1359016"/>
                  <a:gd name="connsiteY1" fmla="*/ 1571544 h 1602628"/>
                  <a:gd name="connsiteX2" fmla="*/ 1137438 w 1359016"/>
                  <a:gd name="connsiteY2" fmla="*/ 1590594 h 1602628"/>
                  <a:gd name="connsiteX3" fmla="*/ 943763 w 1359016"/>
                  <a:gd name="connsiteY3" fmla="*/ 1384219 h 1602628"/>
                  <a:gd name="connsiteX4" fmla="*/ 762788 w 1359016"/>
                  <a:gd name="connsiteY4" fmla="*/ 1355644 h 1602628"/>
                  <a:gd name="connsiteX5" fmla="*/ 162713 w 1359016"/>
                  <a:gd name="connsiteY5" fmla="*/ 1285794 h 1602628"/>
                  <a:gd name="connsiteX6" fmla="*/ 67463 w 1359016"/>
                  <a:gd name="connsiteY6" fmla="*/ 1006394 h 1602628"/>
                  <a:gd name="connsiteX7" fmla="*/ 10313 w 1359016"/>
                  <a:gd name="connsiteY7" fmla="*/ 200738 h 1602628"/>
                  <a:gd name="connsiteX8" fmla="*/ 283363 w 1359016"/>
                  <a:gd name="connsiteY8" fmla="*/ 18969 h 1602628"/>
                  <a:gd name="connsiteX0" fmla="*/ 1337729 w 1363250"/>
                  <a:gd name="connsiteY0" fmla="*/ 1412283 h 1498136"/>
                  <a:gd name="connsiteX1" fmla="*/ 1348047 w 1363250"/>
                  <a:gd name="connsiteY1" fmla="*/ 1467052 h 1498136"/>
                  <a:gd name="connsiteX2" fmla="*/ 1141672 w 1363250"/>
                  <a:gd name="connsiteY2" fmla="*/ 1486102 h 1498136"/>
                  <a:gd name="connsiteX3" fmla="*/ 947997 w 1363250"/>
                  <a:gd name="connsiteY3" fmla="*/ 1279727 h 1498136"/>
                  <a:gd name="connsiteX4" fmla="*/ 767022 w 1363250"/>
                  <a:gd name="connsiteY4" fmla="*/ 1251152 h 1498136"/>
                  <a:gd name="connsiteX5" fmla="*/ 166947 w 1363250"/>
                  <a:gd name="connsiteY5" fmla="*/ 1181302 h 1498136"/>
                  <a:gd name="connsiteX6" fmla="*/ 71697 w 1363250"/>
                  <a:gd name="connsiteY6" fmla="*/ 901902 h 1498136"/>
                  <a:gd name="connsiteX7" fmla="*/ 14547 w 1363250"/>
                  <a:gd name="connsiteY7" fmla="*/ 96246 h 1498136"/>
                  <a:gd name="connsiteX8" fmla="*/ 351890 w 1363250"/>
                  <a:gd name="connsiteY8" fmla="*/ 52590 h 1498136"/>
                  <a:gd name="connsiteX0" fmla="*/ 1337729 w 1347815"/>
                  <a:gd name="connsiteY0" fmla="*/ 1412283 h 1500196"/>
                  <a:gd name="connsiteX1" fmla="*/ 1321097 w 1347815"/>
                  <a:gd name="connsiteY1" fmla="*/ 1474239 h 1500196"/>
                  <a:gd name="connsiteX2" fmla="*/ 1141672 w 1347815"/>
                  <a:gd name="connsiteY2" fmla="*/ 1486102 h 1500196"/>
                  <a:gd name="connsiteX3" fmla="*/ 947997 w 1347815"/>
                  <a:gd name="connsiteY3" fmla="*/ 1279727 h 1500196"/>
                  <a:gd name="connsiteX4" fmla="*/ 767022 w 1347815"/>
                  <a:gd name="connsiteY4" fmla="*/ 1251152 h 1500196"/>
                  <a:gd name="connsiteX5" fmla="*/ 166947 w 1347815"/>
                  <a:gd name="connsiteY5" fmla="*/ 1181302 h 1500196"/>
                  <a:gd name="connsiteX6" fmla="*/ 71697 w 1347815"/>
                  <a:gd name="connsiteY6" fmla="*/ 901902 h 1500196"/>
                  <a:gd name="connsiteX7" fmla="*/ 14547 w 1347815"/>
                  <a:gd name="connsiteY7" fmla="*/ 96246 h 1500196"/>
                  <a:gd name="connsiteX8" fmla="*/ 351890 w 1347815"/>
                  <a:gd name="connsiteY8" fmla="*/ 52590 h 1500196"/>
                  <a:gd name="connsiteX0" fmla="*/ 1344915 w 1352986"/>
                  <a:gd name="connsiteY0" fmla="*/ 1408690 h 1500321"/>
                  <a:gd name="connsiteX1" fmla="*/ 1321097 w 1352986"/>
                  <a:gd name="connsiteY1" fmla="*/ 1474239 h 1500321"/>
                  <a:gd name="connsiteX2" fmla="*/ 1141672 w 1352986"/>
                  <a:gd name="connsiteY2" fmla="*/ 1486102 h 1500321"/>
                  <a:gd name="connsiteX3" fmla="*/ 947997 w 1352986"/>
                  <a:gd name="connsiteY3" fmla="*/ 1279727 h 1500321"/>
                  <a:gd name="connsiteX4" fmla="*/ 767022 w 1352986"/>
                  <a:gd name="connsiteY4" fmla="*/ 1251152 h 1500321"/>
                  <a:gd name="connsiteX5" fmla="*/ 166947 w 1352986"/>
                  <a:gd name="connsiteY5" fmla="*/ 1181302 h 1500321"/>
                  <a:gd name="connsiteX6" fmla="*/ 71697 w 1352986"/>
                  <a:gd name="connsiteY6" fmla="*/ 901902 h 1500321"/>
                  <a:gd name="connsiteX7" fmla="*/ 14547 w 1352986"/>
                  <a:gd name="connsiteY7" fmla="*/ 96246 h 1500321"/>
                  <a:gd name="connsiteX8" fmla="*/ 351890 w 1352986"/>
                  <a:gd name="connsiteY8" fmla="*/ 52590 h 1500321"/>
                  <a:gd name="connsiteX0" fmla="*/ 1339525 w 1349050"/>
                  <a:gd name="connsiteY0" fmla="*/ 1408690 h 1500321"/>
                  <a:gd name="connsiteX1" fmla="*/ 1321097 w 1349050"/>
                  <a:gd name="connsiteY1" fmla="*/ 1474239 h 1500321"/>
                  <a:gd name="connsiteX2" fmla="*/ 1141672 w 1349050"/>
                  <a:gd name="connsiteY2" fmla="*/ 1486102 h 1500321"/>
                  <a:gd name="connsiteX3" fmla="*/ 947997 w 1349050"/>
                  <a:gd name="connsiteY3" fmla="*/ 1279727 h 1500321"/>
                  <a:gd name="connsiteX4" fmla="*/ 767022 w 1349050"/>
                  <a:gd name="connsiteY4" fmla="*/ 1251152 h 1500321"/>
                  <a:gd name="connsiteX5" fmla="*/ 166947 w 1349050"/>
                  <a:gd name="connsiteY5" fmla="*/ 1181302 h 1500321"/>
                  <a:gd name="connsiteX6" fmla="*/ 71697 w 1349050"/>
                  <a:gd name="connsiteY6" fmla="*/ 901902 h 1500321"/>
                  <a:gd name="connsiteX7" fmla="*/ 14547 w 1349050"/>
                  <a:gd name="connsiteY7" fmla="*/ 96246 h 1500321"/>
                  <a:gd name="connsiteX8" fmla="*/ 351890 w 1349050"/>
                  <a:gd name="connsiteY8" fmla="*/ 52590 h 1500321"/>
                  <a:gd name="connsiteX0" fmla="*/ 1337729 w 1347815"/>
                  <a:gd name="connsiteY0" fmla="*/ 1405097 h 1500447"/>
                  <a:gd name="connsiteX1" fmla="*/ 1321097 w 1347815"/>
                  <a:gd name="connsiteY1" fmla="*/ 1474239 h 1500447"/>
                  <a:gd name="connsiteX2" fmla="*/ 1141672 w 1347815"/>
                  <a:gd name="connsiteY2" fmla="*/ 1486102 h 1500447"/>
                  <a:gd name="connsiteX3" fmla="*/ 947997 w 1347815"/>
                  <a:gd name="connsiteY3" fmla="*/ 1279727 h 1500447"/>
                  <a:gd name="connsiteX4" fmla="*/ 767022 w 1347815"/>
                  <a:gd name="connsiteY4" fmla="*/ 1251152 h 1500447"/>
                  <a:gd name="connsiteX5" fmla="*/ 166947 w 1347815"/>
                  <a:gd name="connsiteY5" fmla="*/ 1181302 h 1500447"/>
                  <a:gd name="connsiteX6" fmla="*/ 71697 w 1347815"/>
                  <a:gd name="connsiteY6" fmla="*/ 901902 h 1500447"/>
                  <a:gd name="connsiteX7" fmla="*/ 14547 w 1347815"/>
                  <a:gd name="connsiteY7" fmla="*/ 96246 h 1500447"/>
                  <a:gd name="connsiteX8" fmla="*/ 351890 w 1347815"/>
                  <a:gd name="connsiteY8" fmla="*/ 52590 h 1500447"/>
                  <a:gd name="connsiteX0" fmla="*/ 923777 w 1326583"/>
                  <a:gd name="connsiteY0" fmla="*/ 537771 h 1556078"/>
                  <a:gd name="connsiteX1" fmla="*/ 1321097 w 1326583"/>
                  <a:gd name="connsiteY1" fmla="*/ 1474239 h 1556078"/>
                  <a:gd name="connsiteX2" fmla="*/ 1141672 w 1326583"/>
                  <a:gd name="connsiteY2" fmla="*/ 1486102 h 1556078"/>
                  <a:gd name="connsiteX3" fmla="*/ 947997 w 1326583"/>
                  <a:gd name="connsiteY3" fmla="*/ 1279727 h 1556078"/>
                  <a:gd name="connsiteX4" fmla="*/ 767022 w 1326583"/>
                  <a:gd name="connsiteY4" fmla="*/ 1251152 h 1556078"/>
                  <a:gd name="connsiteX5" fmla="*/ 166947 w 1326583"/>
                  <a:gd name="connsiteY5" fmla="*/ 1181302 h 1556078"/>
                  <a:gd name="connsiteX6" fmla="*/ 71697 w 1326583"/>
                  <a:gd name="connsiteY6" fmla="*/ 901902 h 1556078"/>
                  <a:gd name="connsiteX7" fmla="*/ 14547 w 1326583"/>
                  <a:gd name="connsiteY7" fmla="*/ 96246 h 1556078"/>
                  <a:gd name="connsiteX8" fmla="*/ 351890 w 1326583"/>
                  <a:gd name="connsiteY8" fmla="*/ 52590 h 1556078"/>
                  <a:gd name="connsiteX0" fmla="*/ 923777 w 1143507"/>
                  <a:gd name="connsiteY0" fmla="*/ 537771 h 1492154"/>
                  <a:gd name="connsiteX1" fmla="*/ 1038558 w 1143507"/>
                  <a:gd name="connsiteY1" fmla="*/ 1014293 h 1492154"/>
                  <a:gd name="connsiteX2" fmla="*/ 1141672 w 1143507"/>
                  <a:gd name="connsiteY2" fmla="*/ 1486102 h 1492154"/>
                  <a:gd name="connsiteX3" fmla="*/ 947997 w 1143507"/>
                  <a:gd name="connsiteY3" fmla="*/ 1279727 h 1492154"/>
                  <a:gd name="connsiteX4" fmla="*/ 767022 w 1143507"/>
                  <a:gd name="connsiteY4" fmla="*/ 1251152 h 1492154"/>
                  <a:gd name="connsiteX5" fmla="*/ 166947 w 1143507"/>
                  <a:gd name="connsiteY5" fmla="*/ 1181302 h 1492154"/>
                  <a:gd name="connsiteX6" fmla="*/ 71697 w 1143507"/>
                  <a:gd name="connsiteY6" fmla="*/ 901902 h 1492154"/>
                  <a:gd name="connsiteX7" fmla="*/ 14547 w 1143507"/>
                  <a:gd name="connsiteY7" fmla="*/ 96246 h 1492154"/>
                  <a:gd name="connsiteX8" fmla="*/ 351890 w 1143507"/>
                  <a:gd name="connsiteY8" fmla="*/ 52590 h 1492154"/>
                  <a:gd name="connsiteX0" fmla="*/ 923777 w 1043835"/>
                  <a:gd name="connsiteY0" fmla="*/ 537771 h 1301332"/>
                  <a:gd name="connsiteX1" fmla="*/ 1038558 w 1043835"/>
                  <a:gd name="connsiteY1" fmla="*/ 1014293 h 1301332"/>
                  <a:gd name="connsiteX2" fmla="*/ 1016829 w 1043835"/>
                  <a:gd name="connsiteY2" fmla="*/ 888172 h 1301332"/>
                  <a:gd name="connsiteX3" fmla="*/ 947997 w 1043835"/>
                  <a:gd name="connsiteY3" fmla="*/ 1279727 h 1301332"/>
                  <a:gd name="connsiteX4" fmla="*/ 767022 w 1043835"/>
                  <a:gd name="connsiteY4" fmla="*/ 1251152 h 1301332"/>
                  <a:gd name="connsiteX5" fmla="*/ 166947 w 1043835"/>
                  <a:gd name="connsiteY5" fmla="*/ 1181302 h 1301332"/>
                  <a:gd name="connsiteX6" fmla="*/ 71697 w 1043835"/>
                  <a:gd name="connsiteY6" fmla="*/ 901902 h 1301332"/>
                  <a:gd name="connsiteX7" fmla="*/ 14547 w 1043835"/>
                  <a:gd name="connsiteY7" fmla="*/ 96246 h 1301332"/>
                  <a:gd name="connsiteX8" fmla="*/ 351890 w 1043835"/>
                  <a:gd name="connsiteY8" fmla="*/ 52590 h 1301332"/>
                  <a:gd name="connsiteX0" fmla="*/ 785794 w 1053729"/>
                  <a:gd name="connsiteY0" fmla="*/ 301227 h 1301332"/>
                  <a:gd name="connsiteX1" fmla="*/ 1038558 w 1053729"/>
                  <a:gd name="connsiteY1" fmla="*/ 1014293 h 1301332"/>
                  <a:gd name="connsiteX2" fmla="*/ 1016829 w 1053729"/>
                  <a:gd name="connsiteY2" fmla="*/ 888172 h 1301332"/>
                  <a:gd name="connsiteX3" fmla="*/ 947997 w 1053729"/>
                  <a:gd name="connsiteY3" fmla="*/ 1279727 h 1301332"/>
                  <a:gd name="connsiteX4" fmla="*/ 767022 w 1053729"/>
                  <a:gd name="connsiteY4" fmla="*/ 1251152 h 1301332"/>
                  <a:gd name="connsiteX5" fmla="*/ 166947 w 1053729"/>
                  <a:gd name="connsiteY5" fmla="*/ 1181302 h 1301332"/>
                  <a:gd name="connsiteX6" fmla="*/ 71697 w 1053729"/>
                  <a:gd name="connsiteY6" fmla="*/ 901902 h 1301332"/>
                  <a:gd name="connsiteX7" fmla="*/ 14547 w 1053729"/>
                  <a:gd name="connsiteY7" fmla="*/ 96246 h 1301332"/>
                  <a:gd name="connsiteX8" fmla="*/ 351890 w 1053729"/>
                  <a:gd name="connsiteY8" fmla="*/ 52590 h 1301332"/>
                  <a:gd name="connsiteX0" fmla="*/ 785794 w 1038560"/>
                  <a:gd name="connsiteY0" fmla="*/ 301227 h 1322240"/>
                  <a:gd name="connsiteX1" fmla="*/ 1038558 w 1038560"/>
                  <a:gd name="connsiteY1" fmla="*/ 1014293 h 1322240"/>
                  <a:gd name="connsiteX2" fmla="*/ 780286 w 1038560"/>
                  <a:gd name="connsiteY2" fmla="*/ 599064 h 1322240"/>
                  <a:gd name="connsiteX3" fmla="*/ 947997 w 1038560"/>
                  <a:gd name="connsiteY3" fmla="*/ 1279727 h 1322240"/>
                  <a:gd name="connsiteX4" fmla="*/ 767022 w 1038560"/>
                  <a:gd name="connsiteY4" fmla="*/ 1251152 h 1322240"/>
                  <a:gd name="connsiteX5" fmla="*/ 166947 w 1038560"/>
                  <a:gd name="connsiteY5" fmla="*/ 1181302 h 1322240"/>
                  <a:gd name="connsiteX6" fmla="*/ 71697 w 1038560"/>
                  <a:gd name="connsiteY6" fmla="*/ 901902 h 1322240"/>
                  <a:gd name="connsiteX7" fmla="*/ 14547 w 1038560"/>
                  <a:gd name="connsiteY7" fmla="*/ 96246 h 1322240"/>
                  <a:gd name="connsiteX8" fmla="*/ 351890 w 1038560"/>
                  <a:gd name="connsiteY8" fmla="*/ 52590 h 1322240"/>
                  <a:gd name="connsiteX0" fmla="*/ 358700 w 1048808"/>
                  <a:gd name="connsiteY0" fmla="*/ 38401 h 1322240"/>
                  <a:gd name="connsiteX1" fmla="*/ 1038558 w 1048808"/>
                  <a:gd name="connsiteY1" fmla="*/ 1014293 h 1322240"/>
                  <a:gd name="connsiteX2" fmla="*/ 780286 w 1048808"/>
                  <a:gd name="connsiteY2" fmla="*/ 599064 h 1322240"/>
                  <a:gd name="connsiteX3" fmla="*/ 947997 w 1048808"/>
                  <a:gd name="connsiteY3" fmla="*/ 1279727 h 1322240"/>
                  <a:gd name="connsiteX4" fmla="*/ 767022 w 1048808"/>
                  <a:gd name="connsiteY4" fmla="*/ 1251152 h 1322240"/>
                  <a:gd name="connsiteX5" fmla="*/ 166947 w 1048808"/>
                  <a:gd name="connsiteY5" fmla="*/ 1181302 h 1322240"/>
                  <a:gd name="connsiteX6" fmla="*/ 71697 w 1048808"/>
                  <a:gd name="connsiteY6" fmla="*/ 901902 h 1322240"/>
                  <a:gd name="connsiteX7" fmla="*/ 14547 w 1048808"/>
                  <a:gd name="connsiteY7" fmla="*/ 96246 h 1322240"/>
                  <a:gd name="connsiteX8" fmla="*/ 351890 w 1048808"/>
                  <a:gd name="connsiteY8" fmla="*/ 52590 h 1322240"/>
                  <a:gd name="connsiteX0" fmla="*/ 358700 w 1135777"/>
                  <a:gd name="connsiteY0" fmla="*/ 38401 h 1324182"/>
                  <a:gd name="connsiteX1" fmla="*/ 1038558 w 1135777"/>
                  <a:gd name="connsiteY1" fmla="*/ 1014293 h 1324182"/>
                  <a:gd name="connsiteX2" fmla="*/ 1121961 w 1135777"/>
                  <a:gd name="connsiteY2" fmla="*/ 1308695 h 1324182"/>
                  <a:gd name="connsiteX3" fmla="*/ 947997 w 1135777"/>
                  <a:gd name="connsiteY3" fmla="*/ 1279727 h 1324182"/>
                  <a:gd name="connsiteX4" fmla="*/ 767022 w 1135777"/>
                  <a:gd name="connsiteY4" fmla="*/ 1251152 h 1324182"/>
                  <a:gd name="connsiteX5" fmla="*/ 166947 w 1135777"/>
                  <a:gd name="connsiteY5" fmla="*/ 1181302 h 1324182"/>
                  <a:gd name="connsiteX6" fmla="*/ 71697 w 1135777"/>
                  <a:gd name="connsiteY6" fmla="*/ 901902 h 1324182"/>
                  <a:gd name="connsiteX7" fmla="*/ 14547 w 1135777"/>
                  <a:gd name="connsiteY7" fmla="*/ 96246 h 1324182"/>
                  <a:gd name="connsiteX8" fmla="*/ 351890 w 1135777"/>
                  <a:gd name="connsiteY8" fmla="*/ 52590 h 1324182"/>
                  <a:gd name="connsiteX0" fmla="*/ 358700 w 1284306"/>
                  <a:gd name="connsiteY0" fmla="*/ 38401 h 1335488"/>
                  <a:gd name="connsiteX1" fmla="*/ 1038558 w 1284306"/>
                  <a:gd name="connsiteY1" fmla="*/ 1014293 h 1335488"/>
                  <a:gd name="connsiteX2" fmla="*/ 1121961 w 1284306"/>
                  <a:gd name="connsiteY2" fmla="*/ 1308695 h 1335488"/>
                  <a:gd name="connsiteX3" fmla="*/ 947997 w 1284306"/>
                  <a:gd name="connsiteY3" fmla="*/ 1279727 h 1335488"/>
                  <a:gd name="connsiteX4" fmla="*/ 767022 w 1284306"/>
                  <a:gd name="connsiteY4" fmla="*/ 1251152 h 1335488"/>
                  <a:gd name="connsiteX5" fmla="*/ 166947 w 1284306"/>
                  <a:gd name="connsiteY5" fmla="*/ 1181302 h 1335488"/>
                  <a:gd name="connsiteX6" fmla="*/ 71697 w 1284306"/>
                  <a:gd name="connsiteY6" fmla="*/ 901902 h 1335488"/>
                  <a:gd name="connsiteX7" fmla="*/ 14547 w 1284306"/>
                  <a:gd name="connsiteY7" fmla="*/ 96246 h 1335488"/>
                  <a:gd name="connsiteX8" fmla="*/ 351890 w 1284306"/>
                  <a:gd name="connsiteY8" fmla="*/ 52590 h 1335488"/>
                  <a:gd name="connsiteX0" fmla="*/ 358700 w 1330823"/>
                  <a:gd name="connsiteY0" fmla="*/ 38401 h 1280221"/>
                  <a:gd name="connsiteX1" fmla="*/ 1038558 w 1330823"/>
                  <a:gd name="connsiteY1" fmla="*/ 1014293 h 1280221"/>
                  <a:gd name="connsiteX2" fmla="*/ 1181097 w 1330823"/>
                  <a:gd name="connsiteY2" fmla="*/ 1223276 h 1280221"/>
                  <a:gd name="connsiteX3" fmla="*/ 947997 w 1330823"/>
                  <a:gd name="connsiteY3" fmla="*/ 1279727 h 1280221"/>
                  <a:gd name="connsiteX4" fmla="*/ 767022 w 1330823"/>
                  <a:gd name="connsiteY4" fmla="*/ 1251152 h 1280221"/>
                  <a:gd name="connsiteX5" fmla="*/ 166947 w 1330823"/>
                  <a:gd name="connsiteY5" fmla="*/ 1181302 h 1280221"/>
                  <a:gd name="connsiteX6" fmla="*/ 71697 w 1330823"/>
                  <a:gd name="connsiteY6" fmla="*/ 901902 h 1280221"/>
                  <a:gd name="connsiteX7" fmla="*/ 14547 w 1330823"/>
                  <a:gd name="connsiteY7" fmla="*/ 96246 h 1280221"/>
                  <a:gd name="connsiteX8" fmla="*/ 351890 w 1330823"/>
                  <a:gd name="connsiteY8" fmla="*/ 52590 h 1280221"/>
                  <a:gd name="connsiteX0" fmla="*/ 358700 w 1226490"/>
                  <a:gd name="connsiteY0" fmla="*/ 38401 h 1280221"/>
                  <a:gd name="connsiteX1" fmla="*/ 1143689 w 1226490"/>
                  <a:gd name="connsiteY1" fmla="*/ 882880 h 1280221"/>
                  <a:gd name="connsiteX2" fmla="*/ 1181097 w 1226490"/>
                  <a:gd name="connsiteY2" fmla="*/ 1223276 h 1280221"/>
                  <a:gd name="connsiteX3" fmla="*/ 947997 w 1226490"/>
                  <a:gd name="connsiteY3" fmla="*/ 1279727 h 1280221"/>
                  <a:gd name="connsiteX4" fmla="*/ 767022 w 1226490"/>
                  <a:gd name="connsiteY4" fmla="*/ 1251152 h 1280221"/>
                  <a:gd name="connsiteX5" fmla="*/ 166947 w 1226490"/>
                  <a:gd name="connsiteY5" fmla="*/ 1181302 h 1280221"/>
                  <a:gd name="connsiteX6" fmla="*/ 71697 w 1226490"/>
                  <a:gd name="connsiteY6" fmla="*/ 901902 h 1280221"/>
                  <a:gd name="connsiteX7" fmla="*/ 14547 w 1226490"/>
                  <a:gd name="connsiteY7" fmla="*/ 96246 h 1280221"/>
                  <a:gd name="connsiteX8" fmla="*/ 351890 w 1226490"/>
                  <a:gd name="connsiteY8" fmla="*/ 52590 h 1280221"/>
                  <a:gd name="connsiteX0" fmla="*/ 358700 w 1226490"/>
                  <a:gd name="connsiteY0" fmla="*/ 38401 h 1304311"/>
                  <a:gd name="connsiteX1" fmla="*/ 1143689 w 1226490"/>
                  <a:gd name="connsiteY1" fmla="*/ 882880 h 1304311"/>
                  <a:gd name="connsiteX2" fmla="*/ 1181097 w 1226490"/>
                  <a:gd name="connsiteY2" fmla="*/ 1223276 h 1304311"/>
                  <a:gd name="connsiteX3" fmla="*/ 947997 w 1226490"/>
                  <a:gd name="connsiteY3" fmla="*/ 1279727 h 1304311"/>
                  <a:gd name="connsiteX4" fmla="*/ 767022 w 1226490"/>
                  <a:gd name="connsiteY4" fmla="*/ 1303717 h 1304311"/>
                  <a:gd name="connsiteX5" fmla="*/ 166947 w 1226490"/>
                  <a:gd name="connsiteY5" fmla="*/ 1181302 h 1304311"/>
                  <a:gd name="connsiteX6" fmla="*/ 71697 w 1226490"/>
                  <a:gd name="connsiteY6" fmla="*/ 901902 h 1304311"/>
                  <a:gd name="connsiteX7" fmla="*/ 14547 w 1226490"/>
                  <a:gd name="connsiteY7" fmla="*/ 96246 h 1304311"/>
                  <a:gd name="connsiteX8" fmla="*/ 351890 w 1226490"/>
                  <a:gd name="connsiteY8" fmla="*/ 52590 h 1304311"/>
                  <a:gd name="connsiteX0" fmla="*/ 329954 w 1228429"/>
                  <a:gd name="connsiteY0" fmla="*/ 28819 h 1304311"/>
                  <a:gd name="connsiteX1" fmla="*/ 1143689 w 1228429"/>
                  <a:gd name="connsiteY1" fmla="*/ 882880 h 1304311"/>
                  <a:gd name="connsiteX2" fmla="*/ 1181097 w 1228429"/>
                  <a:gd name="connsiteY2" fmla="*/ 1223276 h 1304311"/>
                  <a:gd name="connsiteX3" fmla="*/ 947997 w 1228429"/>
                  <a:gd name="connsiteY3" fmla="*/ 1279727 h 1304311"/>
                  <a:gd name="connsiteX4" fmla="*/ 767022 w 1228429"/>
                  <a:gd name="connsiteY4" fmla="*/ 1303717 h 1304311"/>
                  <a:gd name="connsiteX5" fmla="*/ 166947 w 1228429"/>
                  <a:gd name="connsiteY5" fmla="*/ 1181302 h 1304311"/>
                  <a:gd name="connsiteX6" fmla="*/ 71697 w 1228429"/>
                  <a:gd name="connsiteY6" fmla="*/ 901902 h 1304311"/>
                  <a:gd name="connsiteX7" fmla="*/ 14547 w 1228429"/>
                  <a:gd name="connsiteY7" fmla="*/ 96246 h 1304311"/>
                  <a:gd name="connsiteX8" fmla="*/ 351890 w 1228429"/>
                  <a:gd name="connsiteY8" fmla="*/ 52590 h 1304311"/>
                  <a:gd name="connsiteX0" fmla="*/ 313185 w 1229566"/>
                  <a:gd name="connsiteY0" fmla="*/ 33610 h 1304311"/>
                  <a:gd name="connsiteX1" fmla="*/ 1143689 w 1229566"/>
                  <a:gd name="connsiteY1" fmla="*/ 882880 h 1304311"/>
                  <a:gd name="connsiteX2" fmla="*/ 1181097 w 1229566"/>
                  <a:gd name="connsiteY2" fmla="*/ 1223276 h 1304311"/>
                  <a:gd name="connsiteX3" fmla="*/ 947997 w 1229566"/>
                  <a:gd name="connsiteY3" fmla="*/ 1279727 h 1304311"/>
                  <a:gd name="connsiteX4" fmla="*/ 767022 w 1229566"/>
                  <a:gd name="connsiteY4" fmla="*/ 1303717 h 1304311"/>
                  <a:gd name="connsiteX5" fmla="*/ 166947 w 1229566"/>
                  <a:gd name="connsiteY5" fmla="*/ 1181302 h 1304311"/>
                  <a:gd name="connsiteX6" fmla="*/ 71697 w 1229566"/>
                  <a:gd name="connsiteY6" fmla="*/ 901902 h 1304311"/>
                  <a:gd name="connsiteX7" fmla="*/ 14547 w 1229566"/>
                  <a:gd name="connsiteY7" fmla="*/ 96246 h 1304311"/>
                  <a:gd name="connsiteX8" fmla="*/ 351890 w 1229566"/>
                  <a:gd name="connsiteY8" fmla="*/ 52590 h 1304311"/>
                  <a:gd name="connsiteX0" fmla="*/ 325163 w 1228754"/>
                  <a:gd name="connsiteY0" fmla="*/ 28819 h 1304311"/>
                  <a:gd name="connsiteX1" fmla="*/ 1143689 w 1228754"/>
                  <a:gd name="connsiteY1" fmla="*/ 882880 h 1304311"/>
                  <a:gd name="connsiteX2" fmla="*/ 1181097 w 1228754"/>
                  <a:gd name="connsiteY2" fmla="*/ 1223276 h 1304311"/>
                  <a:gd name="connsiteX3" fmla="*/ 947997 w 1228754"/>
                  <a:gd name="connsiteY3" fmla="*/ 1279727 h 1304311"/>
                  <a:gd name="connsiteX4" fmla="*/ 767022 w 1228754"/>
                  <a:gd name="connsiteY4" fmla="*/ 1303717 h 1304311"/>
                  <a:gd name="connsiteX5" fmla="*/ 166947 w 1228754"/>
                  <a:gd name="connsiteY5" fmla="*/ 1181302 h 1304311"/>
                  <a:gd name="connsiteX6" fmla="*/ 71697 w 1228754"/>
                  <a:gd name="connsiteY6" fmla="*/ 901902 h 1304311"/>
                  <a:gd name="connsiteX7" fmla="*/ 14547 w 1228754"/>
                  <a:gd name="connsiteY7" fmla="*/ 96246 h 1304311"/>
                  <a:gd name="connsiteX8" fmla="*/ 351890 w 1228754"/>
                  <a:gd name="connsiteY8" fmla="*/ 52590 h 1304311"/>
                  <a:gd name="connsiteX0" fmla="*/ 327559 w 1228591"/>
                  <a:gd name="connsiteY0" fmla="*/ 45588 h 1304311"/>
                  <a:gd name="connsiteX1" fmla="*/ 1143689 w 1228591"/>
                  <a:gd name="connsiteY1" fmla="*/ 882880 h 1304311"/>
                  <a:gd name="connsiteX2" fmla="*/ 1181097 w 1228591"/>
                  <a:gd name="connsiteY2" fmla="*/ 1223276 h 1304311"/>
                  <a:gd name="connsiteX3" fmla="*/ 947997 w 1228591"/>
                  <a:gd name="connsiteY3" fmla="*/ 1279727 h 1304311"/>
                  <a:gd name="connsiteX4" fmla="*/ 767022 w 1228591"/>
                  <a:gd name="connsiteY4" fmla="*/ 1303717 h 1304311"/>
                  <a:gd name="connsiteX5" fmla="*/ 166947 w 1228591"/>
                  <a:gd name="connsiteY5" fmla="*/ 1181302 h 1304311"/>
                  <a:gd name="connsiteX6" fmla="*/ 71697 w 1228591"/>
                  <a:gd name="connsiteY6" fmla="*/ 901902 h 1304311"/>
                  <a:gd name="connsiteX7" fmla="*/ 14547 w 1228591"/>
                  <a:gd name="connsiteY7" fmla="*/ 96246 h 1304311"/>
                  <a:gd name="connsiteX8" fmla="*/ 351890 w 1228591"/>
                  <a:gd name="connsiteY8" fmla="*/ 52590 h 1304311"/>
                  <a:gd name="connsiteX0" fmla="*/ 327559 w 1228591"/>
                  <a:gd name="connsiteY0" fmla="*/ 45588 h 1304311"/>
                  <a:gd name="connsiteX1" fmla="*/ 1143689 w 1228591"/>
                  <a:gd name="connsiteY1" fmla="*/ 882880 h 1304311"/>
                  <a:gd name="connsiteX2" fmla="*/ 1181097 w 1228591"/>
                  <a:gd name="connsiteY2" fmla="*/ 1223276 h 1304311"/>
                  <a:gd name="connsiteX3" fmla="*/ 947997 w 1228591"/>
                  <a:gd name="connsiteY3" fmla="*/ 1279727 h 1304311"/>
                  <a:gd name="connsiteX4" fmla="*/ 767022 w 1228591"/>
                  <a:gd name="connsiteY4" fmla="*/ 1303717 h 1304311"/>
                  <a:gd name="connsiteX5" fmla="*/ 166947 w 1228591"/>
                  <a:gd name="connsiteY5" fmla="*/ 1181302 h 1304311"/>
                  <a:gd name="connsiteX6" fmla="*/ 71697 w 1228591"/>
                  <a:gd name="connsiteY6" fmla="*/ 901902 h 1304311"/>
                  <a:gd name="connsiteX7" fmla="*/ 14547 w 1228591"/>
                  <a:gd name="connsiteY7" fmla="*/ 96246 h 1304311"/>
                  <a:gd name="connsiteX8" fmla="*/ 351890 w 1228591"/>
                  <a:gd name="connsiteY8" fmla="*/ 52590 h 1304311"/>
                  <a:gd name="connsiteX0" fmla="*/ 327559 w 1228591"/>
                  <a:gd name="connsiteY0" fmla="*/ 51913 h 1310636"/>
                  <a:gd name="connsiteX1" fmla="*/ 1143689 w 1228591"/>
                  <a:gd name="connsiteY1" fmla="*/ 889205 h 1310636"/>
                  <a:gd name="connsiteX2" fmla="*/ 1181097 w 1228591"/>
                  <a:gd name="connsiteY2" fmla="*/ 1229601 h 1310636"/>
                  <a:gd name="connsiteX3" fmla="*/ 947997 w 1228591"/>
                  <a:gd name="connsiteY3" fmla="*/ 1286052 h 1310636"/>
                  <a:gd name="connsiteX4" fmla="*/ 767022 w 1228591"/>
                  <a:gd name="connsiteY4" fmla="*/ 1310042 h 1310636"/>
                  <a:gd name="connsiteX5" fmla="*/ 166947 w 1228591"/>
                  <a:gd name="connsiteY5" fmla="*/ 1187627 h 1310636"/>
                  <a:gd name="connsiteX6" fmla="*/ 71697 w 1228591"/>
                  <a:gd name="connsiteY6" fmla="*/ 908227 h 1310636"/>
                  <a:gd name="connsiteX7" fmla="*/ 14547 w 1228591"/>
                  <a:gd name="connsiteY7" fmla="*/ 102571 h 1310636"/>
                  <a:gd name="connsiteX8" fmla="*/ 325539 w 1228591"/>
                  <a:gd name="connsiteY8" fmla="*/ 46937 h 1310636"/>
                  <a:gd name="connsiteX0" fmla="*/ 327559 w 1228591"/>
                  <a:gd name="connsiteY0" fmla="*/ 49317 h 1308040"/>
                  <a:gd name="connsiteX1" fmla="*/ 1143689 w 1228591"/>
                  <a:gd name="connsiteY1" fmla="*/ 886609 h 1308040"/>
                  <a:gd name="connsiteX2" fmla="*/ 1181097 w 1228591"/>
                  <a:gd name="connsiteY2" fmla="*/ 1227005 h 1308040"/>
                  <a:gd name="connsiteX3" fmla="*/ 947997 w 1228591"/>
                  <a:gd name="connsiteY3" fmla="*/ 1283456 h 1308040"/>
                  <a:gd name="connsiteX4" fmla="*/ 767022 w 1228591"/>
                  <a:gd name="connsiteY4" fmla="*/ 1307446 h 1308040"/>
                  <a:gd name="connsiteX5" fmla="*/ 166947 w 1228591"/>
                  <a:gd name="connsiteY5" fmla="*/ 1185031 h 1308040"/>
                  <a:gd name="connsiteX6" fmla="*/ 71697 w 1228591"/>
                  <a:gd name="connsiteY6" fmla="*/ 905631 h 1308040"/>
                  <a:gd name="connsiteX7" fmla="*/ 14547 w 1228591"/>
                  <a:gd name="connsiteY7" fmla="*/ 99975 h 1308040"/>
                  <a:gd name="connsiteX8" fmla="*/ 330330 w 1228591"/>
                  <a:gd name="connsiteY8" fmla="*/ 49132 h 1308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8591" h="1308040">
                    <a:moveTo>
                      <a:pt x="327559" y="49317"/>
                    </a:moveTo>
                    <a:cubicBezTo>
                      <a:pt x="349827" y="65678"/>
                      <a:pt x="1001433" y="690328"/>
                      <a:pt x="1143689" y="886609"/>
                    </a:cubicBezTo>
                    <a:cubicBezTo>
                      <a:pt x="1285945" y="1082890"/>
                      <a:pt x="1213712" y="1160864"/>
                      <a:pt x="1181097" y="1227005"/>
                    </a:cubicBezTo>
                    <a:cubicBezTo>
                      <a:pt x="1148482" y="1293146"/>
                      <a:pt x="1017010" y="1270049"/>
                      <a:pt x="947997" y="1283456"/>
                    </a:cubicBezTo>
                    <a:cubicBezTo>
                      <a:pt x="878984" y="1296863"/>
                      <a:pt x="906722" y="1311150"/>
                      <a:pt x="767022" y="1307446"/>
                    </a:cubicBezTo>
                    <a:cubicBezTo>
                      <a:pt x="627322" y="1303742"/>
                      <a:pt x="282835" y="1252000"/>
                      <a:pt x="166947" y="1185031"/>
                    </a:cubicBezTo>
                    <a:cubicBezTo>
                      <a:pt x="51059" y="1118062"/>
                      <a:pt x="97097" y="1086474"/>
                      <a:pt x="71697" y="905631"/>
                    </a:cubicBezTo>
                    <a:cubicBezTo>
                      <a:pt x="46297" y="724788"/>
                      <a:pt x="-32152" y="241527"/>
                      <a:pt x="14547" y="99975"/>
                    </a:cubicBezTo>
                    <a:cubicBezTo>
                      <a:pt x="61246" y="-41577"/>
                      <a:pt x="211796" y="-7754"/>
                      <a:pt x="330330" y="49132"/>
                    </a:cubicBezTo>
                  </a:path>
                </a:pathLst>
              </a:custGeom>
              <a:noFill/>
              <a:ln w="57150">
                <a:solidFill>
                  <a:schemeClr val="bg1">
                    <a:lumMod val="50000"/>
                  </a:schemeClr>
                </a:solidFill>
              </a:ln>
            </p:spPr>
            <p:txBody>
              <a:bodyPr rtlCol="0" anchor="ctr" anchorCtr="0"/>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srgbClr val="525252"/>
                  </a:solidFill>
                  <a:effectLst/>
                  <a:uLnTx/>
                  <a:uFillTx/>
                  <a:latin typeface="Arial" panose="020B0604020202020204" pitchFamily="34" charset="0"/>
                  <a:ea typeface="+mn-ea"/>
                  <a:cs typeface="Arial" panose="020B0604020202020204" pitchFamily="34" charset="0"/>
                </a:endParaRPr>
              </a:p>
            </p:txBody>
          </p:sp>
          <p:sp>
            <p:nvSpPr>
              <p:cNvPr id="24" name="Freeform: Shape 23">
                <a:extLst>
                  <a:ext uri="{FF2B5EF4-FFF2-40B4-BE49-F238E27FC236}">
                    <a16:creationId xmlns:a16="http://schemas.microsoft.com/office/drawing/2014/main" id="{67BBEA4B-E298-4D6B-86B3-DBA0E931A1E6}"/>
                  </a:ext>
                </a:extLst>
              </p:cNvPr>
              <p:cNvSpPr/>
              <p:nvPr/>
            </p:nvSpPr>
            <p:spPr>
              <a:xfrm rot="5400000">
                <a:off x="2940194" y="4407721"/>
                <a:ext cx="816363" cy="711162"/>
              </a:xfrm>
              <a:custGeom>
                <a:avLst/>
                <a:gdLst>
                  <a:gd name="connsiteX0" fmla="*/ 0 w 615950"/>
                  <a:gd name="connsiteY0" fmla="*/ 536575 h 536575"/>
                  <a:gd name="connsiteX1" fmla="*/ 457200 w 615950"/>
                  <a:gd name="connsiteY1" fmla="*/ 273050 h 536575"/>
                  <a:gd name="connsiteX2" fmla="*/ 615950 w 615950"/>
                  <a:gd name="connsiteY2" fmla="*/ 0 h 536575"/>
                </a:gdLst>
                <a:ahLst/>
                <a:cxnLst>
                  <a:cxn ang="0">
                    <a:pos x="connsiteX0" y="connsiteY0"/>
                  </a:cxn>
                  <a:cxn ang="0">
                    <a:pos x="connsiteX1" y="connsiteY1"/>
                  </a:cxn>
                  <a:cxn ang="0">
                    <a:pos x="connsiteX2" y="connsiteY2"/>
                  </a:cxn>
                </a:cxnLst>
                <a:rect l="l" t="t" r="r" b="b"/>
                <a:pathLst>
                  <a:path w="615950" h="536575">
                    <a:moveTo>
                      <a:pt x="0" y="536575"/>
                    </a:moveTo>
                    <a:cubicBezTo>
                      <a:pt x="177271" y="449527"/>
                      <a:pt x="354542" y="362479"/>
                      <a:pt x="457200" y="273050"/>
                    </a:cubicBezTo>
                    <a:cubicBezTo>
                      <a:pt x="559858" y="183621"/>
                      <a:pt x="587904" y="91810"/>
                      <a:pt x="615950" y="0"/>
                    </a:cubicBezTo>
                  </a:path>
                </a:pathLst>
              </a:custGeom>
              <a:noFill/>
              <a:ln w="57150">
                <a:solidFill>
                  <a:schemeClr val="bg1">
                    <a:lumMod val="50000"/>
                  </a:schemeClr>
                </a:solidFill>
              </a:ln>
            </p:spPr>
            <p:txBody>
              <a:bodyPr rtlCol="0" anchor="ctr" anchorCtr="0"/>
              <a:lstStyle/>
              <a:p>
                <a:pPr marL="0" indent="0" algn="ctr" defTabSz="914400" fontAlgn="base">
                  <a:lnSpc>
                    <a:spcPct val="100000"/>
                  </a:lnSpc>
                  <a:spcBef>
                    <a:spcPct val="0"/>
                  </a:spcBef>
                  <a:spcAft>
                    <a:spcPct val="0"/>
                  </a:spcAft>
                  <a:buClrTx/>
                  <a:buNone/>
                </a:pPr>
                <a:endParaRPr lang="nl-NL" sz="1800" dirty="0">
                  <a:solidFill>
                    <a:srgbClr val="525252"/>
                  </a:solidFill>
                  <a:latin typeface="Arial" panose="020B0604020202020204" pitchFamily="34" charset="0"/>
                  <a:cs typeface="Arial" panose="020B0604020202020204" pitchFamily="34" charset="0"/>
                </a:endParaRPr>
              </a:p>
            </p:txBody>
          </p:sp>
        </p:grpSp>
      </p:grpSp>
      <p:sp>
        <p:nvSpPr>
          <p:cNvPr id="27" name="Freeform: Shape 26">
            <a:extLst>
              <a:ext uri="{FF2B5EF4-FFF2-40B4-BE49-F238E27FC236}">
                <a16:creationId xmlns:a16="http://schemas.microsoft.com/office/drawing/2014/main" id="{CAD01702-85BD-41CB-93B7-95C67C5C5DFA}"/>
              </a:ext>
            </a:extLst>
          </p:cNvPr>
          <p:cNvSpPr/>
          <p:nvPr/>
        </p:nvSpPr>
        <p:spPr>
          <a:xfrm rot="21278193">
            <a:off x="2915360" y="2897499"/>
            <a:ext cx="176456" cy="1078095"/>
          </a:xfrm>
          <a:custGeom>
            <a:avLst/>
            <a:gdLst>
              <a:gd name="connsiteX0" fmla="*/ 78377 w 113509"/>
              <a:gd name="connsiteY0" fmla="*/ 1053737 h 1053737"/>
              <a:gd name="connsiteX1" fmla="*/ 113212 w 113509"/>
              <a:gd name="connsiteY1" fmla="*/ 644434 h 1053737"/>
              <a:gd name="connsiteX2" fmla="*/ 60960 w 113509"/>
              <a:gd name="connsiteY2" fmla="*/ 487680 h 1053737"/>
              <a:gd name="connsiteX3" fmla="*/ 0 w 113509"/>
              <a:gd name="connsiteY3" fmla="*/ 0 h 1053737"/>
            </a:gdLst>
            <a:ahLst/>
            <a:cxnLst>
              <a:cxn ang="0">
                <a:pos x="connsiteX0" y="connsiteY0"/>
              </a:cxn>
              <a:cxn ang="0">
                <a:pos x="connsiteX1" y="connsiteY1"/>
              </a:cxn>
              <a:cxn ang="0">
                <a:pos x="connsiteX2" y="connsiteY2"/>
              </a:cxn>
              <a:cxn ang="0">
                <a:pos x="connsiteX3" y="connsiteY3"/>
              </a:cxn>
            </a:cxnLst>
            <a:rect l="l" t="t" r="r" b="b"/>
            <a:pathLst>
              <a:path w="113509" h="1053737">
                <a:moveTo>
                  <a:pt x="78377" y="1053737"/>
                </a:moveTo>
                <a:cubicBezTo>
                  <a:pt x="97246" y="896257"/>
                  <a:pt x="116115" y="738777"/>
                  <a:pt x="113212" y="644434"/>
                </a:cubicBezTo>
                <a:cubicBezTo>
                  <a:pt x="110309" y="550091"/>
                  <a:pt x="79829" y="595086"/>
                  <a:pt x="60960" y="487680"/>
                </a:cubicBezTo>
                <a:cubicBezTo>
                  <a:pt x="42091" y="380274"/>
                  <a:pt x="21045" y="190137"/>
                  <a:pt x="0" y="0"/>
                </a:cubicBezTo>
              </a:path>
            </a:pathLst>
          </a:custGeom>
          <a:noFill/>
          <a:ln w="57150">
            <a:solidFill>
              <a:srgbClr val="22777B"/>
            </a:solidFill>
            <a:prstDash val="sysDash"/>
          </a:ln>
        </p:spPr>
        <p:txBody>
          <a:bodyPr rtlCol="0" anchor="ctr"/>
          <a:lstStyle/>
          <a:p>
            <a:pPr algn="ctr"/>
            <a:endParaRPr lang="nl-NL"/>
          </a:p>
        </p:txBody>
      </p:sp>
      <p:grpSp>
        <p:nvGrpSpPr>
          <p:cNvPr id="28" name="Group 27">
            <a:extLst>
              <a:ext uri="{FF2B5EF4-FFF2-40B4-BE49-F238E27FC236}">
                <a16:creationId xmlns:a16="http://schemas.microsoft.com/office/drawing/2014/main" id="{B71D1C70-144E-40F2-8EB1-7B715932870E}"/>
              </a:ext>
            </a:extLst>
          </p:cNvPr>
          <p:cNvGrpSpPr/>
          <p:nvPr/>
        </p:nvGrpSpPr>
        <p:grpSpPr>
          <a:xfrm>
            <a:off x="873656" y="5849875"/>
            <a:ext cx="3655481" cy="710704"/>
            <a:chOff x="4644516" y="6133032"/>
            <a:chExt cx="3655481" cy="710704"/>
          </a:xfrm>
        </p:grpSpPr>
        <p:cxnSp>
          <p:nvCxnSpPr>
            <p:cNvPr id="29" name="Straight Connector 28">
              <a:extLst>
                <a:ext uri="{FF2B5EF4-FFF2-40B4-BE49-F238E27FC236}">
                  <a16:creationId xmlns:a16="http://schemas.microsoft.com/office/drawing/2014/main" id="{63C63697-1FD5-4CD1-9E93-E70DA6DE1ADA}"/>
                </a:ext>
              </a:extLst>
            </p:cNvPr>
            <p:cNvCxnSpPr>
              <a:cxnSpLocks/>
            </p:cNvCxnSpPr>
            <p:nvPr/>
          </p:nvCxnSpPr>
          <p:spPr>
            <a:xfrm flipV="1">
              <a:off x="6345502" y="6277506"/>
              <a:ext cx="292673" cy="2"/>
            </a:xfrm>
            <a:prstGeom prst="line">
              <a:avLst/>
            </a:prstGeom>
            <a:noFill/>
            <a:ln w="63500">
              <a:solidFill>
                <a:schemeClr val="bg1">
                  <a:lumMod val="5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623CE64-133F-4A9D-9733-9E6B61049BDA}"/>
                </a:ext>
              </a:extLst>
            </p:cNvPr>
            <p:cNvCxnSpPr>
              <a:cxnSpLocks/>
            </p:cNvCxnSpPr>
            <p:nvPr/>
          </p:nvCxnSpPr>
          <p:spPr>
            <a:xfrm>
              <a:off x="4644516" y="6276828"/>
              <a:ext cx="292130" cy="0"/>
            </a:xfrm>
            <a:prstGeom prst="line">
              <a:avLst/>
            </a:prstGeom>
            <a:noFill/>
            <a:ln w="635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19C65E9B-86F9-408F-B661-B4E162511B05}"/>
                </a:ext>
              </a:extLst>
            </p:cNvPr>
            <p:cNvSpPr txBox="1"/>
            <p:nvPr/>
          </p:nvSpPr>
          <p:spPr>
            <a:xfrm>
              <a:off x="4906667" y="6133032"/>
              <a:ext cx="1368426" cy="710414"/>
            </a:xfrm>
            <a:prstGeom prst="rect">
              <a:avLst/>
            </a:prstGeom>
            <a:noFill/>
          </p:spPr>
          <p:txBody>
            <a:bodyPr vert="horz" wrap="square" lIns="91440" tIns="45720" rIns="0" bIns="4572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Huidige metrolij</a:t>
              </a: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n</a:t>
              </a:r>
              <a:endPar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endParaRPr>
            </a:p>
          </p:txBody>
        </p:sp>
        <p:sp>
          <p:nvSpPr>
            <p:cNvPr id="32" name="TextBox 31">
              <a:extLst>
                <a:ext uri="{FF2B5EF4-FFF2-40B4-BE49-F238E27FC236}">
                  <a16:creationId xmlns:a16="http://schemas.microsoft.com/office/drawing/2014/main" id="{DE1AA511-4D2B-4880-A601-0F5CAC61A2C9}"/>
                </a:ext>
              </a:extLst>
            </p:cNvPr>
            <p:cNvSpPr txBox="1"/>
            <p:nvPr/>
          </p:nvSpPr>
          <p:spPr>
            <a:xfrm>
              <a:off x="6606564" y="6133322"/>
              <a:ext cx="1693433" cy="710414"/>
            </a:xfrm>
            <a:prstGeom prst="rect">
              <a:avLst/>
            </a:prstGeom>
            <a:noFill/>
          </p:spPr>
          <p:txBody>
            <a:bodyPr vert="horz" wrap="square" lIns="91440" tIns="45720" rIns="0" bIns="45720" rtlCol="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M</a:t>
              </a: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o</a:t>
              </a: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g</a:t>
              </a: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e</a:t>
              </a: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l</a:t>
              </a: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i</a:t>
              </a: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j</a:t>
              </a: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k</a:t>
              </a:r>
              <a:r>
                <a:rPr kumimoji="0" lang="x-none"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e</a:t>
              </a:r>
              <a:r>
                <a:rPr kumimoji="0" lang="nl-NL" sz="1100" b="0" i="0" u="none" strike="noStrike" kern="1200" cap="none" spc="0" normalizeH="0" baseline="0" noProof="0" dirty="0">
                  <a:ln>
                    <a:noFill/>
                  </a:ln>
                  <a:solidFill>
                    <a:srgbClr val="525252"/>
                  </a:solidFill>
                  <a:effectLst/>
                  <a:uLnTx/>
                  <a:uFillTx/>
                  <a:latin typeface="Corbel"/>
                  <a:ea typeface="+mn-ea"/>
                  <a:cs typeface="Arial" panose="020B0604020202020204" pitchFamily="34" charset="0"/>
                </a:rPr>
                <a:t> uitbreidingen</a:t>
              </a:r>
            </a:p>
          </p:txBody>
        </p:sp>
      </p:grpSp>
      <p:sp>
        <p:nvSpPr>
          <p:cNvPr id="33" name="Freeform: Shape 32">
            <a:extLst>
              <a:ext uri="{FF2B5EF4-FFF2-40B4-BE49-F238E27FC236}">
                <a16:creationId xmlns:a16="http://schemas.microsoft.com/office/drawing/2014/main" id="{38DBAE26-806D-4F86-91F2-EE2A4210FB52}"/>
              </a:ext>
            </a:extLst>
          </p:cNvPr>
          <p:cNvSpPr/>
          <p:nvPr/>
        </p:nvSpPr>
        <p:spPr>
          <a:xfrm rot="497679">
            <a:off x="2844885" y="2440279"/>
            <a:ext cx="602991" cy="1530623"/>
          </a:xfrm>
          <a:custGeom>
            <a:avLst/>
            <a:gdLst>
              <a:gd name="connsiteX0" fmla="*/ 78377 w 113509"/>
              <a:gd name="connsiteY0" fmla="*/ 1053737 h 1053737"/>
              <a:gd name="connsiteX1" fmla="*/ 113212 w 113509"/>
              <a:gd name="connsiteY1" fmla="*/ 644434 h 1053737"/>
              <a:gd name="connsiteX2" fmla="*/ 60960 w 113509"/>
              <a:gd name="connsiteY2" fmla="*/ 487680 h 1053737"/>
              <a:gd name="connsiteX3" fmla="*/ 0 w 113509"/>
              <a:gd name="connsiteY3" fmla="*/ 0 h 1053737"/>
            </a:gdLst>
            <a:ahLst/>
            <a:cxnLst>
              <a:cxn ang="0">
                <a:pos x="connsiteX0" y="connsiteY0"/>
              </a:cxn>
              <a:cxn ang="0">
                <a:pos x="connsiteX1" y="connsiteY1"/>
              </a:cxn>
              <a:cxn ang="0">
                <a:pos x="connsiteX2" y="connsiteY2"/>
              </a:cxn>
              <a:cxn ang="0">
                <a:pos x="connsiteX3" y="connsiteY3"/>
              </a:cxn>
            </a:cxnLst>
            <a:rect l="l" t="t" r="r" b="b"/>
            <a:pathLst>
              <a:path w="113509" h="1053737">
                <a:moveTo>
                  <a:pt x="78377" y="1053737"/>
                </a:moveTo>
                <a:cubicBezTo>
                  <a:pt x="97246" y="896257"/>
                  <a:pt x="116115" y="738777"/>
                  <a:pt x="113212" y="644434"/>
                </a:cubicBezTo>
                <a:cubicBezTo>
                  <a:pt x="110309" y="550091"/>
                  <a:pt x="79829" y="595086"/>
                  <a:pt x="60960" y="487680"/>
                </a:cubicBezTo>
                <a:cubicBezTo>
                  <a:pt x="42091" y="380274"/>
                  <a:pt x="21045" y="190137"/>
                  <a:pt x="0" y="0"/>
                </a:cubicBezTo>
              </a:path>
            </a:pathLst>
          </a:custGeom>
          <a:noFill/>
          <a:ln w="57150">
            <a:solidFill>
              <a:srgbClr val="68ABB0"/>
            </a:solidFill>
            <a:prstDash val="sysDash"/>
          </a:ln>
        </p:spPr>
        <p:txBody>
          <a:bodyPr rtlCol="0" anchor="ctr"/>
          <a:lstStyle/>
          <a:p>
            <a:pPr algn="ctr"/>
            <a:endParaRPr lang="nl-NL"/>
          </a:p>
        </p:txBody>
      </p:sp>
      <p:sp>
        <p:nvSpPr>
          <p:cNvPr id="34" name="Oval 33">
            <a:extLst>
              <a:ext uri="{FF2B5EF4-FFF2-40B4-BE49-F238E27FC236}">
                <a16:creationId xmlns:a16="http://schemas.microsoft.com/office/drawing/2014/main" id="{96AACC07-2434-4770-AD0C-E63EDC3A624F}"/>
              </a:ext>
            </a:extLst>
          </p:cNvPr>
          <p:cNvSpPr/>
          <p:nvPr/>
        </p:nvSpPr>
        <p:spPr>
          <a:xfrm>
            <a:off x="2980389" y="3873930"/>
            <a:ext cx="180000" cy="180000"/>
          </a:xfrm>
          <a:prstGeom prst="ellipse">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nvGrpSpPr>
          <p:cNvPr id="47" name="Group 46">
            <a:extLst>
              <a:ext uri="{FF2B5EF4-FFF2-40B4-BE49-F238E27FC236}">
                <a16:creationId xmlns:a16="http://schemas.microsoft.com/office/drawing/2014/main" id="{447D5093-477C-4117-A296-5BBABE788595}"/>
              </a:ext>
            </a:extLst>
          </p:cNvPr>
          <p:cNvGrpSpPr/>
          <p:nvPr/>
        </p:nvGrpSpPr>
        <p:grpSpPr>
          <a:xfrm rot="917454" flipH="1">
            <a:off x="3211622" y="3249536"/>
            <a:ext cx="321075" cy="241918"/>
            <a:chOff x="6960162" y="5223590"/>
            <a:chExt cx="370440" cy="279112"/>
          </a:xfrm>
        </p:grpSpPr>
        <p:sp>
          <p:nvSpPr>
            <p:cNvPr id="50" name="Right Bracket 49">
              <a:extLst>
                <a:ext uri="{FF2B5EF4-FFF2-40B4-BE49-F238E27FC236}">
                  <a16:creationId xmlns:a16="http://schemas.microsoft.com/office/drawing/2014/main" id="{B4246973-DE3C-4DFF-ABF8-9234D572DACB}"/>
                </a:ext>
              </a:extLst>
            </p:cNvPr>
            <p:cNvSpPr/>
            <p:nvPr/>
          </p:nvSpPr>
          <p:spPr>
            <a:xfrm rot="16200000">
              <a:off x="7163387" y="5202927"/>
              <a:ext cx="146552" cy="187878"/>
            </a:xfrm>
            <a:prstGeom prst="rightBracket">
              <a:avLst>
                <a:gd name="adj" fmla="val 19746"/>
              </a:avLst>
            </a:prstGeom>
            <a:ln w="508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525252"/>
                </a:solidFill>
                <a:effectLst/>
                <a:uLnTx/>
                <a:uFillTx/>
                <a:latin typeface="Corbel"/>
                <a:ea typeface="+mn-ea"/>
                <a:cs typeface="+mn-cs"/>
              </a:endParaRPr>
            </a:p>
          </p:txBody>
        </p:sp>
        <p:sp>
          <p:nvSpPr>
            <p:cNvPr id="51" name="Right Bracket 97">
              <a:extLst>
                <a:ext uri="{FF2B5EF4-FFF2-40B4-BE49-F238E27FC236}">
                  <a16:creationId xmlns:a16="http://schemas.microsoft.com/office/drawing/2014/main" id="{E7A94A38-06DF-4B02-9E50-FFE8E63B4189}"/>
                </a:ext>
              </a:extLst>
            </p:cNvPr>
            <p:cNvSpPr/>
            <p:nvPr/>
          </p:nvSpPr>
          <p:spPr>
            <a:xfrm rot="16200000">
              <a:off x="7078503" y="5264382"/>
              <a:ext cx="146552" cy="189277"/>
            </a:xfrm>
            <a:custGeom>
              <a:avLst/>
              <a:gdLst>
                <a:gd name="connsiteX0" fmla="*/ 0 w 146552"/>
                <a:gd name="connsiteY0" fmla="*/ 0 h 187878"/>
                <a:gd name="connsiteX1" fmla="*/ 146552 w 146552"/>
                <a:gd name="connsiteY1" fmla="*/ 28938 h 187878"/>
                <a:gd name="connsiteX2" fmla="*/ 146552 w 146552"/>
                <a:gd name="connsiteY2" fmla="*/ 158940 h 187878"/>
                <a:gd name="connsiteX3" fmla="*/ 0 w 146552"/>
                <a:gd name="connsiteY3" fmla="*/ 187878 h 187878"/>
                <a:gd name="connsiteX4" fmla="*/ 0 w 146552"/>
                <a:gd name="connsiteY4" fmla="*/ 0 h 187878"/>
                <a:gd name="connsiteX0" fmla="*/ 0 w 146552"/>
                <a:gd name="connsiteY0" fmla="*/ 0 h 187878"/>
                <a:gd name="connsiteX1" fmla="*/ 146552 w 146552"/>
                <a:gd name="connsiteY1" fmla="*/ 28938 h 187878"/>
                <a:gd name="connsiteX2" fmla="*/ 146552 w 146552"/>
                <a:gd name="connsiteY2" fmla="*/ 158940 h 187878"/>
                <a:gd name="connsiteX3" fmla="*/ 0 w 146552"/>
                <a:gd name="connsiteY3" fmla="*/ 187878 h 187878"/>
                <a:gd name="connsiteX0" fmla="*/ 0 w 146552"/>
                <a:gd name="connsiteY0" fmla="*/ 1399 h 189277"/>
                <a:gd name="connsiteX1" fmla="*/ 146552 w 146552"/>
                <a:gd name="connsiteY1" fmla="*/ 30337 h 189277"/>
                <a:gd name="connsiteX2" fmla="*/ 146552 w 146552"/>
                <a:gd name="connsiteY2" fmla="*/ 160339 h 189277"/>
                <a:gd name="connsiteX3" fmla="*/ 0 w 146552"/>
                <a:gd name="connsiteY3" fmla="*/ 189277 h 189277"/>
                <a:gd name="connsiteX4" fmla="*/ 0 w 146552"/>
                <a:gd name="connsiteY4" fmla="*/ 1399 h 189277"/>
                <a:gd name="connsiteX0" fmla="*/ 38206 w 146552"/>
                <a:gd name="connsiteY0" fmla="*/ 0 h 189277"/>
                <a:gd name="connsiteX1" fmla="*/ 146552 w 146552"/>
                <a:gd name="connsiteY1" fmla="*/ 30337 h 189277"/>
                <a:gd name="connsiteX2" fmla="*/ 146552 w 146552"/>
                <a:gd name="connsiteY2" fmla="*/ 160339 h 189277"/>
                <a:gd name="connsiteX3" fmla="*/ 0 w 146552"/>
                <a:gd name="connsiteY3" fmla="*/ 189277 h 189277"/>
              </a:gdLst>
              <a:ahLst/>
              <a:cxnLst>
                <a:cxn ang="0">
                  <a:pos x="connsiteX0" y="connsiteY0"/>
                </a:cxn>
                <a:cxn ang="0">
                  <a:pos x="connsiteX1" y="connsiteY1"/>
                </a:cxn>
                <a:cxn ang="0">
                  <a:pos x="connsiteX2" y="connsiteY2"/>
                </a:cxn>
                <a:cxn ang="0">
                  <a:pos x="connsiteX3" y="connsiteY3"/>
                </a:cxn>
              </a:cxnLst>
              <a:rect l="l" t="t" r="r" b="b"/>
              <a:pathLst>
                <a:path w="146552" h="189277" stroke="0" extrusionOk="0">
                  <a:moveTo>
                    <a:pt x="0" y="1399"/>
                  </a:moveTo>
                  <a:cubicBezTo>
                    <a:pt x="80938" y="1399"/>
                    <a:pt x="146552" y="14355"/>
                    <a:pt x="146552" y="30337"/>
                  </a:cubicBezTo>
                  <a:lnTo>
                    <a:pt x="146552" y="160339"/>
                  </a:lnTo>
                  <a:cubicBezTo>
                    <a:pt x="146552" y="176321"/>
                    <a:pt x="80938" y="189277"/>
                    <a:pt x="0" y="189277"/>
                  </a:cubicBezTo>
                  <a:lnTo>
                    <a:pt x="0" y="1399"/>
                  </a:lnTo>
                  <a:close/>
                </a:path>
                <a:path w="146552" h="189277" fill="none">
                  <a:moveTo>
                    <a:pt x="38206" y="0"/>
                  </a:moveTo>
                  <a:cubicBezTo>
                    <a:pt x="119144" y="0"/>
                    <a:pt x="146552" y="14355"/>
                    <a:pt x="146552" y="30337"/>
                  </a:cubicBezTo>
                  <a:lnTo>
                    <a:pt x="146552" y="160339"/>
                  </a:lnTo>
                  <a:cubicBezTo>
                    <a:pt x="146552" y="176321"/>
                    <a:pt x="80938" y="189277"/>
                    <a:pt x="0" y="189277"/>
                  </a:cubicBezTo>
                </a:path>
              </a:pathLst>
            </a:custGeom>
            <a:ln w="508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srgbClr val="525252"/>
                </a:solidFill>
                <a:effectLst/>
                <a:uLnTx/>
                <a:uFillTx/>
                <a:latin typeface="Corbel"/>
                <a:ea typeface="+mn-ea"/>
                <a:cs typeface="+mn-cs"/>
              </a:endParaRPr>
            </a:p>
          </p:txBody>
        </p:sp>
        <p:sp>
          <p:nvSpPr>
            <p:cNvPr id="52" name="Right Bracket 51">
              <a:extLst>
                <a:ext uri="{FF2B5EF4-FFF2-40B4-BE49-F238E27FC236}">
                  <a16:creationId xmlns:a16="http://schemas.microsoft.com/office/drawing/2014/main" id="{940A1ED0-BF5A-4A44-B5F8-A4EAD67CBB97}"/>
                </a:ext>
              </a:extLst>
            </p:cNvPr>
            <p:cNvSpPr/>
            <p:nvPr/>
          </p:nvSpPr>
          <p:spPr>
            <a:xfrm rot="16200000">
              <a:off x="6980825" y="5335487"/>
              <a:ext cx="146552" cy="187878"/>
            </a:xfrm>
            <a:prstGeom prst="rightBracket">
              <a:avLst>
                <a:gd name="adj" fmla="val 19746"/>
              </a:avLst>
            </a:prstGeom>
            <a:ln w="508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525252"/>
                </a:solidFill>
                <a:effectLst/>
                <a:uLnTx/>
                <a:uFillTx/>
                <a:latin typeface="Corbel"/>
                <a:ea typeface="+mn-ea"/>
                <a:cs typeface="+mn-cs"/>
              </a:endParaRPr>
            </a:p>
          </p:txBody>
        </p:sp>
      </p:grpSp>
      <p:sp>
        <p:nvSpPr>
          <p:cNvPr id="48" name="Rectangle 31">
            <a:extLst>
              <a:ext uri="{FF2B5EF4-FFF2-40B4-BE49-F238E27FC236}">
                <a16:creationId xmlns:a16="http://schemas.microsoft.com/office/drawing/2014/main" id="{E6F3EC07-4674-4749-AD6F-2D14B4BB175C}"/>
              </a:ext>
            </a:extLst>
          </p:cNvPr>
          <p:cNvSpPr/>
          <p:nvPr/>
        </p:nvSpPr>
        <p:spPr>
          <a:xfrm rot="3143911" flipH="1">
            <a:off x="3223346" y="3247306"/>
            <a:ext cx="328019" cy="107810"/>
          </a:xfrm>
          <a:custGeom>
            <a:avLst/>
            <a:gdLst>
              <a:gd name="connsiteX0" fmla="*/ 0 w 354806"/>
              <a:gd name="connsiteY0" fmla="*/ 0 h 141892"/>
              <a:gd name="connsiteX1" fmla="*/ 354806 w 354806"/>
              <a:gd name="connsiteY1" fmla="*/ 0 h 141892"/>
              <a:gd name="connsiteX2" fmla="*/ 354806 w 354806"/>
              <a:gd name="connsiteY2" fmla="*/ 141892 h 141892"/>
              <a:gd name="connsiteX3" fmla="*/ 0 w 354806"/>
              <a:gd name="connsiteY3" fmla="*/ 141892 h 141892"/>
              <a:gd name="connsiteX4" fmla="*/ 0 w 354806"/>
              <a:gd name="connsiteY4" fmla="*/ 0 h 141892"/>
              <a:gd name="connsiteX0" fmla="*/ 0 w 354806"/>
              <a:gd name="connsiteY0" fmla="*/ 0 h 141892"/>
              <a:gd name="connsiteX1" fmla="*/ 298078 w 354806"/>
              <a:gd name="connsiteY1" fmla="*/ 35834 h 141892"/>
              <a:gd name="connsiteX2" fmla="*/ 354806 w 354806"/>
              <a:gd name="connsiteY2" fmla="*/ 141892 h 141892"/>
              <a:gd name="connsiteX3" fmla="*/ 0 w 354806"/>
              <a:gd name="connsiteY3" fmla="*/ 141892 h 141892"/>
              <a:gd name="connsiteX4" fmla="*/ 0 w 354806"/>
              <a:gd name="connsiteY4" fmla="*/ 0 h 141892"/>
              <a:gd name="connsiteX0" fmla="*/ 0 w 354806"/>
              <a:gd name="connsiteY0" fmla="*/ 0 h 141892"/>
              <a:gd name="connsiteX1" fmla="*/ 231567 w 354806"/>
              <a:gd name="connsiteY1" fmla="*/ 8078 h 141892"/>
              <a:gd name="connsiteX2" fmla="*/ 354806 w 354806"/>
              <a:gd name="connsiteY2" fmla="*/ 141892 h 141892"/>
              <a:gd name="connsiteX3" fmla="*/ 0 w 354806"/>
              <a:gd name="connsiteY3" fmla="*/ 141892 h 141892"/>
              <a:gd name="connsiteX4" fmla="*/ 0 w 354806"/>
              <a:gd name="connsiteY4" fmla="*/ 0 h 141892"/>
              <a:gd name="connsiteX0" fmla="*/ 0 w 369025"/>
              <a:gd name="connsiteY0" fmla="*/ 0 h 141892"/>
              <a:gd name="connsiteX1" fmla="*/ 231567 w 369025"/>
              <a:gd name="connsiteY1" fmla="*/ 8078 h 141892"/>
              <a:gd name="connsiteX2" fmla="*/ 369025 w 369025"/>
              <a:gd name="connsiteY2" fmla="*/ 103323 h 141892"/>
              <a:gd name="connsiteX3" fmla="*/ 0 w 369025"/>
              <a:gd name="connsiteY3" fmla="*/ 141892 h 141892"/>
              <a:gd name="connsiteX4" fmla="*/ 0 w 369025"/>
              <a:gd name="connsiteY4" fmla="*/ 0 h 141892"/>
              <a:gd name="connsiteX0" fmla="*/ 0 w 369025"/>
              <a:gd name="connsiteY0" fmla="*/ 0 h 125592"/>
              <a:gd name="connsiteX1" fmla="*/ 231567 w 369025"/>
              <a:gd name="connsiteY1" fmla="*/ 8078 h 125592"/>
              <a:gd name="connsiteX2" fmla="*/ 369025 w 369025"/>
              <a:gd name="connsiteY2" fmla="*/ 103323 h 125592"/>
              <a:gd name="connsiteX3" fmla="*/ 94956 w 369025"/>
              <a:gd name="connsiteY3" fmla="*/ 125592 h 125592"/>
              <a:gd name="connsiteX4" fmla="*/ 0 w 369025"/>
              <a:gd name="connsiteY4" fmla="*/ 0 h 125592"/>
              <a:gd name="connsiteX0" fmla="*/ 0 w 369025"/>
              <a:gd name="connsiteY0" fmla="*/ 0 h 125592"/>
              <a:gd name="connsiteX1" fmla="*/ 231567 w 369025"/>
              <a:gd name="connsiteY1" fmla="*/ 8078 h 125592"/>
              <a:gd name="connsiteX2" fmla="*/ 369025 w 369025"/>
              <a:gd name="connsiteY2" fmla="*/ 103323 h 125592"/>
              <a:gd name="connsiteX3" fmla="*/ 94956 w 369025"/>
              <a:gd name="connsiteY3" fmla="*/ 125592 h 125592"/>
              <a:gd name="connsiteX4" fmla="*/ 0 w 369025"/>
              <a:gd name="connsiteY4" fmla="*/ 0 h 125592"/>
              <a:gd name="connsiteX0" fmla="*/ 0 w 369025"/>
              <a:gd name="connsiteY0" fmla="*/ 0 h 126959"/>
              <a:gd name="connsiteX1" fmla="*/ 231567 w 369025"/>
              <a:gd name="connsiteY1" fmla="*/ 8078 h 126959"/>
              <a:gd name="connsiteX2" fmla="*/ 369025 w 369025"/>
              <a:gd name="connsiteY2" fmla="*/ 103323 h 126959"/>
              <a:gd name="connsiteX3" fmla="*/ 116210 w 369025"/>
              <a:gd name="connsiteY3" fmla="*/ 126959 h 126959"/>
              <a:gd name="connsiteX4" fmla="*/ 0 w 369025"/>
              <a:gd name="connsiteY4" fmla="*/ 0 h 126959"/>
              <a:gd name="connsiteX0" fmla="*/ 0 w 363196"/>
              <a:gd name="connsiteY0" fmla="*/ 834 h 118881"/>
              <a:gd name="connsiteX1" fmla="*/ 225738 w 363196"/>
              <a:gd name="connsiteY1" fmla="*/ 0 h 118881"/>
              <a:gd name="connsiteX2" fmla="*/ 363196 w 363196"/>
              <a:gd name="connsiteY2" fmla="*/ 95245 h 118881"/>
              <a:gd name="connsiteX3" fmla="*/ 110381 w 363196"/>
              <a:gd name="connsiteY3" fmla="*/ 118881 h 118881"/>
              <a:gd name="connsiteX4" fmla="*/ 0 w 363196"/>
              <a:gd name="connsiteY4" fmla="*/ 834 h 118881"/>
              <a:gd name="connsiteX0" fmla="*/ 0 w 373481"/>
              <a:gd name="connsiteY0" fmla="*/ 834 h 118881"/>
              <a:gd name="connsiteX1" fmla="*/ 225738 w 373481"/>
              <a:gd name="connsiteY1" fmla="*/ 0 h 118881"/>
              <a:gd name="connsiteX2" fmla="*/ 373481 w 373481"/>
              <a:gd name="connsiteY2" fmla="*/ 101242 h 118881"/>
              <a:gd name="connsiteX3" fmla="*/ 110381 w 373481"/>
              <a:gd name="connsiteY3" fmla="*/ 118881 h 118881"/>
              <a:gd name="connsiteX4" fmla="*/ 0 w 373481"/>
              <a:gd name="connsiteY4" fmla="*/ 834 h 118881"/>
              <a:gd name="connsiteX0" fmla="*/ 0 w 362853"/>
              <a:gd name="connsiteY0" fmla="*/ 834 h 118881"/>
              <a:gd name="connsiteX1" fmla="*/ 225738 w 362853"/>
              <a:gd name="connsiteY1" fmla="*/ 0 h 118881"/>
              <a:gd name="connsiteX2" fmla="*/ 362853 w 362853"/>
              <a:gd name="connsiteY2" fmla="*/ 100558 h 118881"/>
              <a:gd name="connsiteX3" fmla="*/ 110381 w 362853"/>
              <a:gd name="connsiteY3" fmla="*/ 118881 h 118881"/>
              <a:gd name="connsiteX4" fmla="*/ 0 w 362853"/>
              <a:gd name="connsiteY4" fmla="*/ 834 h 118881"/>
              <a:gd name="connsiteX0" fmla="*/ 0 w 384449"/>
              <a:gd name="connsiteY0" fmla="*/ 4780 h 118881"/>
              <a:gd name="connsiteX1" fmla="*/ 247334 w 384449"/>
              <a:gd name="connsiteY1" fmla="*/ 0 h 118881"/>
              <a:gd name="connsiteX2" fmla="*/ 384449 w 384449"/>
              <a:gd name="connsiteY2" fmla="*/ 100558 h 118881"/>
              <a:gd name="connsiteX3" fmla="*/ 131977 w 384449"/>
              <a:gd name="connsiteY3" fmla="*/ 118881 h 118881"/>
              <a:gd name="connsiteX4" fmla="*/ 0 w 384449"/>
              <a:gd name="connsiteY4" fmla="*/ 4780 h 118881"/>
              <a:gd name="connsiteX0" fmla="*/ 0 w 378452"/>
              <a:gd name="connsiteY0" fmla="*/ 0 h 124386"/>
              <a:gd name="connsiteX1" fmla="*/ 241337 w 378452"/>
              <a:gd name="connsiteY1" fmla="*/ 5505 h 124386"/>
              <a:gd name="connsiteX2" fmla="*/ 378452 w 378452"/>
              <a:gd name="connsiteY2" fmla="*/ 106063 h 124386"/>
              <a:gd name="connsiteX3" fmla="*/ 125980 w 378452"/>
              <a:gd name="connsiteY3" fmla="*/ 124386 h 124386"/>
              <a:gd name="connsiteX4" fmla="*/ 0 w 378452"/>
              <a:gd name="connsiteY4" fmla="*/ 0 h 124386"/>
              <a:gd name="connsiteX0" fmla="*/ 0 w 378452"/>
              <a:gd name="connsiteY0" fmla="*/ 0 h 124386"/>
              <a:gd name="connsiteX1" fmla="*/ 241337 w 378452"/>
              <a:gd name="connsiteY1" fmla="*/ 5505 h 124386"/>
              <a:gd name="connsiteX2" fmla="*/ 378452 w 378452"/>
              <a:gd name="connsiteY2" fmla="*/ 106063 h 124386"/>
              <a:gd name="connsiteX3" fmla="*/ 125980 w 378452"/>
              <a:gd name="connsiteY3" fmla="*/ 124386 h 124386"/>
              <a:gd name="connsiteX4" fmla="*/ 0 w 378452"/>
              <a:gd name="connsiteY4" fmla="*/ 0 h 12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52" h="124386">
                <a:moveTo>
                  <a:pt x="0" y="0"/>
                </a:moveTo>
                <a:lnTo>
                  <a:pt x="241337" y="5505"/>
                </a:lnTo>
                <a:lnTo>
                  <a:pt x="378452" y="106063"/>
                </a:lnTo>
                <a:lnTo>
                  <a:pt x="125980" y="124386"/>
                </a:lnTo>
                <a:cubicBezTo>
                  <a:pt x="93980" y="54756"/>
                  <a:pt x="41080" y="44605"/>
                  <a:pt x="0" y="0"/>
                </a:cubicBezTo>
                <a:close/>
              </a:path>
            </a:pathLst>
          </a:custGeom>
          <a:solidFill>
            <a:schemeClr val="accent2">
              <a:lumMod val="60000"/>
              <a:lumOff val="40000"/>
            </a:schemeClr>
          </a:solidFill>
          <a:ln>
            <a:solidFill>
              <a:schemeClr val="accent2">
                <a:lumMod val="60000"/>
                <a:lumOff val="40000"/>
              </a:schemeClr>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49" name="Rectangle 32">
            <a:extLst>
              <a:ext uri="{FF2B5EF4-FFF2-40B4-BE49-F238E27FC236}">
                <a16:creationId xmlns:a16="http://schemas.microsoft.com/office/drawing/2014/main" id="{5A72B01F-2FA3-4B4F-82C7-9864E9531E98}"/>
              </a:ext>
            </a:extLst>
          </p:cNvPr>
          <p:cNvSpPr/>
          <p:nvPr/>
        </p:nvSpPr>
        <p:spPr>
          <a:xfrm rot="3148863" flipH="1">
            <a:off x="3152696" y="3286297"/>
            <a:ext cx="283316" cy="131958"/>
          </a:xfrm>
          <a:custGeom>
            <a:avLst/>
            <a:gdLst>
              <a:gd name="connsiteX0" fmla="*/ 0 w 248742"/>
              <a:gd name="connsiteY0" fmla="*/ 0 h 151427"/>
              <a:gd name="connsiteX1" fmla="*/ 248742 w 248742"/>
              <a:gd name="connsiteY1" fmla="*/ 0 h 151427"/>
              <a:gd name="connsiteX2" fmla="*/ 248742 w 248742"/>
              <a:gd name="connsiteY2" fmla="*/ 151427 h 151427"/>
              <a:gd name="connsiteX3" fmla="*/ 0 w 248742"/>
              <a:gd name="connsiteY3" fmla="*/ 151427 h 151427"/>
              <a:gd name="connsiteX4" fmla="*/ 0 w 248742"/>
              <a:gd name="connsiteY4" fmla="*/ 0 h 151427"/>
              <a:gd name="connsiteX0" fmla="*/ 0 w 273202"/>
              <a:gd name="connsiteY0" fmla="*/ 4082 h 155509"/>
              <a:gd name="connsiteX1" fmla="*/ 273202 w 273202"/>
              <a:gd name="connsiteY1" fmla="*/ 0 h 155509"/>
              <a:gd name="connsiteX2" fmla="*/ 248742 w 273202"/>
              <a:gd name="connsiteY2" fmla="*/ 155509 h 155509"/>
              <a:gd name="connsiteX3" fmla="*/ 0 w 273202"/>
              <a:gd name="connsiteY3" fmla="*/ 155509 h 155509"/>
              <a:gd name="connsiteX4" fmla="*/ 0 w 273202"/>
              <a:gd name="connsiteY4" fmla="*/ 4082 h 155509"/>
              <a:gd name="connsiteX0" fmla="*/ 0 w 273202"/>
              <a:gd name="connsiteY0" fmla="*/ 4082 h 155509"/>
              <a:gd name="connsiteX1" fmla="*/ 273202 w 273202"/>
              <a:gd name="connsiteY1" fmla="*/ 0 h 155509"/>
              <a:gd name="connsiteX2" fmla="*/ 222940 w 273202"/>
              <a:gd name="connsiteY2" fmla="*/ 136736 h 155509"/>
              <a:gd name="connsiteX3" fmla="*/ 0 w 273202"/>
              <a:gd name="connsiteY3" fmla="*/ 155509 h 155509"/>
              <a:gd name="connsiteX4" fmla="*/ 0 w 273202"/>
              <a:gd name="connsiteY4" fmla="*/ 4082 h 155509"/>
              <a:gd name="connsiteX0" fmla="*/ 0 w 273202"/>
              <a:gd name="connsiteY0" fmla="*/ 4082 h 155509"/>
              <a:gd name="connsiteX1" fmla="*/ 273202 w 273202"/>
              <a:gd name="connsiteY1" fmla="*/ 0 h 155509"/>
              <a:gd name="connsiteX2" fmla="*/ 205566 w 273202"/>
              <a:gd name="connsiteY2" fmla="*/ 141284 h 155509"/>
              <a:gd name="connsiteX3" fmla="*/ 0 w 273202"/>
              <a:gd name="connsiteY3" fmla="*/ 155509 h 155509"/>
              <a:gd name="connsiteX4" fmla="*/ 0 w 273202"/>
              <a:gd name="connsiteY4" fmla="*/ 4082 h 155509"/>
              <a:gd name="connsiteX0" fmla="*/ 49795 w 322997"/>
              <a:gd name="connsiteY0" fmla="*/ 4082 h 141284"/>
              <a:gd name="connsiteX1" fmla="*/ 322997 w 322997"/>
              <a:gd name="connsiteY1" fmla="*/ 0 h 141284"/>
              <a:gd name="connsiteX2" fmla="*/ 255361 w 322997"/>
              <a:gd name="connsiteY2" fmla="*/ 141284 h 141284"/>
              <a:gd name="connsiteX3" fmla="*/ 0 w 322997"/>
              <a:gd name="connsiteY3" fmla="*/ 133735 h 141284"/>
              <a:gd name="connsiteX4" fmla="*/ 49795 w 322997"/>
              <a:gd name="connsiteY4" fmla="*/ 4082 h 141284"/>
              <a:gd name="connsiteX0" fmla="*/ 49795 w 322997"/>
              <a:gd name="connsiteY0" fmla="*/ 4082 h 141284"/>
              <a:gd name="connsiteX1" fmla="*/ 322997 w 322997"/>
              <a:gd name="connsiteY1" fmla="*/ 0 h 141284"/>
              <a:gd name="connsiteX2" fmla="*/ 255361 w 322997"/>
              <a:gd name="connsiteY2" fmla="*/ 141284 h 141284"/>
              <a:gd name="connsiteX3" fmla="*/ 0 w 322997"/>
              <a:gd name="connsiteY3" fmla="*/ 133735 h 141284"/>
              <a:gd name="connsiteX4" fmla="*/ 49795 w 322997"/>
              <a:gd name="connsiteY4" fmla="*/ 4082 h 141284"/>
              <a:gd name="connsiteX0" fmla="*/ 49795 w 322997"/>
              <a:gd name="connsiteY0" fmla="*/ 4082 h 152246"/>
              <a:gd name="connsiteX1" fmla="*/ 322997 w 322997"/>
              <a:gd name="connsiteY1" fmla="*/ 0 h 152246"/>
              <a:gd name="connsiteX2" fmla="*/ 248948 w 322997"/>
              <a:gd name="connsiteY2" fmla="*/ 152246 h 152246"/>
              <a:gd name="connsiteX3" fmla="*/ 0 w 322997"/>
              <a:gd name="connsiteY3" fmla="*/ 133735 h 152246"/>
              <a:gd name="connsiteX4" fmla="*/ 49795 w 322997"/>
              <a:gd name="connsiteY4" fmla="*/ 4082 h 152246"/>
              <a:gd name="connsiteX0" fmla="*/ 53002 w 326204"/>
              <a:gd name="connsiteY0" fmla="*/ 4082 h 152246"/>
              <a:gd name="connsiteX1" fmla="*/ 326204 w 326204"/>
              <a:gd name="connsiteY1" fmla="*/ 0 h 152246"/>
              <a:gd name="connsiteX2" fmla="*/ 252155 w 326204"/>
              <a:gd name="connsiteY2" fmla="*/ 152246 h 152246"/>
              <a:gd name="connsiteX3" fmla="*/ 0 w 326204"/>
              <a:gd name="connsiteY3" fmla="*/ 139216 h 152246"/>
              <a:gd name="connsiteX4" fmla="*/ 53002 w 326204"/>
              <a:gd name="connsiteY4" fmla="*/ 4082 h 152246"/>
              <a:gd name="connsiteX0" fmla="*/ 53673 w 326875"/>
              <a:gd name="connsiteY0" fmla="*/ 4082 h 152246"/>
              <a:gd name="connsiteX1" fmla="*/ 326875 w 326875"/>
              <a:gd name="connsiteY1" fmla="*/ 0 h 152246"/>
              <a:gd name="connsiteX2" fmla="*/ 252826 w 326875"/>
              <a:gd name="connsiteY2" fmla="*/ 152246 h 152246"/>
              <a:gd name="connsiteX3" fmla="*/ 0 w 326875"/>
              <a:gd name="connsiteY3" fmla="*/ 127788 h 152246"/>
              <a:gd name="connsiteX4" fmla="*/ 53673 w 326875"/>
              <a:gd name="connsiteY4" fmla="*/ 4082 h 152246"/>
              <a:gd name="connsiteX0" fmla="*/ 53673 w 326875"/>
              <a:gd name="connsiteY0" fmla="*/ 4082 h 152246"/>
              <a:gd name="connsiteX1" fmla="*/ 326875 w 326875"/>
              <a:gd name="connsiteY1" fmla="*/ 0 h 152246"/>
              <a:gd name="connsiteX2" fmla="*/ 252826 w 326875"/>
              <a:gd name="connsiteY2" fmla="*/ 152246 h 152246"/>
              <a:gd name="connsiteX3" fmla="*/ 0 w 326875"/>
              <a:gd name="connsiteY3" fmla="*/ 127788 h 152246"/>
              <a:gd name="connsiteX4" fmla="*/ 53673 w 326875"/>
              <a:gd name="connsiteY4" fmla="*/ 4082 h 152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875" h="152246">
                <a:moveTo>
                  <a:pt x="53673" y="4082"/>
                </a:moveTo>
                <a:lnTo>
                  <a:pt x="326875" y="0"/>
                </a:lnTo>
                <a:lnTo>
                  <a:pt x="252826" y="152246"/>
                </a:lnTo>
                <a:cubicBezTo>
                  <a:pt x="168551" y="144093"/>
                  <a:pt x="20051" y="138832"/>
                  <a:pt x="0" y="127788"/>
                </a:cubicBezTo>
                <a:cubicBezTo>
                  <a:pt x="55487" y="55823"/>
                  <a:pt x="37075" y="47300"/>
                  <a:pt x="53673" y="4082"/>
                </a:cubicBezTo>
                <a:close/>
              </a:path>
            </a:pathLst>
          </a:custGeom>
          <a:solidFill>
            <a:schemeClr val="accent2">
              <a:lumMod val="60000"/>
              <a:lumOff val="40000"/>
            </a:schemeClr>
          </a:solidFill>
          <a:ln>
            <a:solidFill>
              <a:schemeClr val="accent2">
                <a:lumMod val="60000"/>
                <a:lumOff val="40000"/>
              </a:schemeClr>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46" name="Rectangle 34">
            <a:extLst>
              <a:ext uri="{FF2B5EF4-FFF2-40B4-BE49-F238E27FC236}">
                <a16:creationId xmlns:a16="http://schemas.microsoft.com/office/drawing/2014/main" id="{E4248C9F-2811-4355-B687-504BE681BB90}"/>
              </a:ext>
            </a:extLst>
          </p:cNvPr>
          <p:cNvSpPr/>
          <p:nvPr/>
        </p:nvSpPr>
        <p:spPr>
          <a:xfrm rot="2641509" flipH="1">
            <a:off x="3370911" y="3348884"/>
            <a:ext cx="182996" cy="130884"/>
          </a:xfrm>
          <a:custGeom>
            <a:avLst/>
            <a:gdLst>
              <a:gd name="connsiteX0" fmla="*/ 0 w 194986"/>
              <a:gd name="connsiteY0" fmla="*/ 0 h 133265"/>
              <a:gd name="connsiteX1" fmla="*/ 194986 w 194986"/>
              <a:gd name="connsiteY1" fmla="*/ 0 h 133265"/>
              <a:gd name="connsiteX2" fmla="*/ 194986 w 194986"/>
              <a:gd name="connsiteY2" fmla="*/ 133265 h 133265"/>
              <a:gd name="connsiteX3" fmla="*/ 0 w 194986"/>
              <a:gd name="connsiteY3" fmla="*/ 133265 h 133265"/>
              <a:gd name="connsiteX4" fmla="*/ 0 w 194986"/>
              <a:gd name="connsiteY4" fmla="*/ 0 h 133265"/>
              <a:gd name="connsiteX0" fmla="*/ 0 w 194987"/>
              <a:gd name="connsiteY0" fmla="*/ 0 h 133265"/>
              <a:gd name="connsiteX1" fmla="*/ 194986 w 194987"/>
              <a:gd name="connsiteY1" fmla="*/ 0 h 133265"/>
              <a:gd name="connsiteX2" fmla="*/ 194987 w 194987"/>
              <a:gd name="connsiteY2" fmla="*/ 133265 h 133265"/>
              <a:gd name="connsiteX3" fmla="*/ 0 w 194987"/>
              <a:gd name="connsiteY3" fmla="*/ 133265 h 133265"/>
              <a:gd name="connsiteX4" fmla="*/ 0 w 194987"/>
              <a:gd name="connsiteY4" fmla="*/ 0 h 133265"/>
              <a:gd name="connsiteX0" fmla="*/ 0 w 194986"/>
              <a:gd name="connsiteY0" fmla="*/ 0 h 133265"/>
              <a:gd name="connsiteX1" fmla="*/ 194986 w 194986"/>
              <a:gd name="connsiteY1" fmla="*/ 0 h 133265"/>
              <a:gd name="connsiteX2" fmla="*/ 118359 w 194986"/>
              <a:gd name="connsiteY2" fmla="*/ 119610 h 133265"/>
              <a:gd name="connsiteX3" fmla="*/ 0 w 194986"/>
              <a:gd name="connsiteY3" fmla="*/ 133265 h 133265"/>
              <a:gd name="connsiteX4" fmla="*/ 0 w 194986"/>
              <a:gd name="connsiteY4" fmla="*/ 0 h 133265"/>
              <a:gd name="connsiteX0" fmla="*/ 0 w 194986"/>
              <a:gd name="connsiteY0" fmla="*/ 0 h 133265"/>
              <a:gd name="connsiteX1" fmla="*/ 194986 w 194986"/>
              <a:gd name="connsiteY1" fmla="*/ 0 h 133265"/>
              <a:gd name="connsiteX2" fmla="*/ 118359 w 194986"/>
              <a:gd name="connsiteY2" fmla="*/ 119610 h 133265"/>
              <a:gd name="connsiteX3" fmla="*/ 0 w 194986"/>
              <a:gd name="connsiteY3" fmla="*/ 133265 h 133265"/>
              <a:gd name="connsiteX4" fmla="*/ 0 w 194986"/>
              <a:gd name="connsiteY4" fmla="*/ 0 h 133265"/>
              <a:gd name="connsiteX0" fmla="*/ 0 w 180878"/>
              <a:gd name="connsiteY0" fmla="*/ 33034 h 166299"/>
              <a:gd name="connsiteX1" fmla="*/ 180878 w 180878"/>
              <a:gd name="connsiteY1" fmla="*/ 0 h 166299"/>
              <a:gd name="connsiteX2" fmla="*/ 118359 w 180878"/>
              <a:gd name="connsiteY2" fmla="*/ 152644 h 166299"/>
              <a:gd name="connsiteX3" fmla="*/ 0 w 180878"/>
              <a:gd name="connsiteY3" fmla="*/ 166299 h 166299"/>
              <a:gd name="connsiteX4" fmla="*/ 0 w 180878"/>
              <a:gd name="connsiteY4" fmla="*/ 33034 h 166299"/>
              <a:gd name="connsiteX0" fmla="*/ 0 w 180878"/>
              <a:gd name="connsiteY0" fmla="*/ 33034 h 152644"/>
              <a:gd name="connsiteX1" fmla="*/ 180878 w 180878"/>
              <a:gd name="connsiteY1" fmla="*/ 0 h 152644"/>
              <a:gd name="connsiteX2" fmla="*/ 118359 w 180878"/>
              <a:gd name="connsiteY2" fmla="*/ 152644 h 152644"/>
              <a:gd name="connsiteX3" fmla="*/ 18905 w 180878"/>
              <a:gd name="connsiteY3" fmla="*/ 136254 h 152644"/>
              <a:gd name="connsiteX4" fmla="*/ 0 w 180878"/>
              <a:gd name="connsiteY4" fmla="*/ 33034 h 152644"/>
              <a:gd name="connsiteX0" fmla="*/ 0 w 183424"/>
              <a:gd name="connsiteY0" fmla="*/ 33034 h 136254"/>
              <a:gd name="connsiteX1" fmla="*/ 180878 w 183424"/>
              <a:gd name="connsiteY1" fmla="*/ 0 h 136254"/>
              <a:gd name="connsiteX2" fmla="*/ 156705 w 183424"/>
              <a:gd name="connsiteY2" fmla="*/ 133825 h 136254"/>
              <a:gd name="connsiteX3" fmla="*/ 18905 w 183424"/>
              <a:gd name="connsiteY3" fmla="*/ 136254 h 136254"/>
              <a:gd name="connsiteX4" fmla="*/ 0 w 183424"/>
              <a:gd name="connsiteY4" fmla="*/ 33034 h 136254"/>
              <a:gd name="connsiteX0" fmla="*/ 0 w 180878"/>
              <a:gd name="connsiteY0" fmla="*/ 33034 h 136254"/>
              <a:gd name="connsiteX1" fmla="*/ 180878 w 180878"/>
              <a:gd name="connsiteY1" fmla="*/ 0 h 136254"/>
              <a:gd name="connsiteX2" fmla="*/ 156705 w 180878"/>
              <a:gd name="connsiteY2" fmla="*/ 133825 h 136254"/>
              <a:gd name="connsiteX3" fmla="*/ 18905 w 180878"/>
              <a:gd name="connsiteY3" fmla="*/ 136254 h 136254"/>
              <a:gd name="connsiteX4" fmla="*/ 0 w 180878"/>
              <a:gd name="connsiteY4" fmla="*/ 33034 h 136254"/>
              <a:gd name="connsiteX0" fmla="*/ 30604 w 161973"/>
              <a:gd name="connsiteY0" fmla="*/ 46067 h 136254"/>
              <a:gd name="connsiteX1" fmla="*/ 161973 w 161973"/>
              <a:gd name="connsiteY1" fmla="*/ 0 h 136254"/>
              <a:gd name="connsiteX2" fmla="*/ 137800 w 161973"/>
              <a:gd name="connsiteY2" fmla="*/ 133825 h 136254"/>
              <a:gd name="connsiteX3" fmla="*/ 0 w 161973"/>
              <a:gd name="connsiteY3" fmla="*/ 136254 h 136254"/>
              <a:gd name="connsiteX4" fmla="*/ 30604 w 161973"/>
              <a:gd name="connsiteY4" fmla="*/ 46067 h 136254"/>
              <a:gd name="connsiteX0" fmla="*/ 44154 w 175523"/>
              <a:gd name="connsiteY0" fmla="*/ 46067 h 133825"/>
              <a:gd name="connsiteX1" fmla="*/ 175523 w 175523"/>
              <a:gd name="connsiteY1" fmla="*/ 0 h 133825"/>
              <a:gd name="connsiteX2" fmla="*/ 151350 w 175523"/>
              <a:gd name="connsiteY2" fmla="*/ 133825 h 133825"/>
              <a:gd name="connsiteX3" fmla="*/ 0 w 175523"/>
              <a:gd name="connsiteY3" fmla="*/ 127393 h 133825"/>
              <a:gd name="connsiteX4" fmla="*/ 44154 w 175523"/>
              <a:gd name="connsiteY4" fmla="*/ 46067 h 133825"/>
              <a:gd name="connsiteX0" fmla="*/ 44154 w 189551"/>
              <a:gd name="connsiteY0" fmla="*/ 46067 h 127393"/>
              <a:gd name="connsiteX1" fmla="*/ 175523 w 189551"/>
              <a:gd name="connsiteY1" fmla="*/ 0 h 127393"/>
              <a:gd name="connsiteX2" fmla="*/ 187353 w 189551"/>
              <a:gd name="connsiteY2" fmla="*/ 103801 h 127393"/>
              <a:gd name="connsiteX3" fmla="*/ 0 w 189551"/>
              <a:gd name="connsiteY3" fmla="*/ 127393 h 127393"/>
              <a:gd name="connsiteX4" fmla="*/ 44154 w 189551"/>
              <a:gd name="connsiteY4" fmla="*/ 46067 h 127393"/>
              <a:gd name="connsiteX0" fmla="*/ 32389 w 177786"/>
              <a:gd name="connsiteY0" fmla="*/ 46067 h 149222"/>
              <a:gd name="connsiteX1" fmla="*/ 163758 w 177786"/>
              <a:gd name="connsiteY1" fmla="*/ 0 h 149222"/>
              <a:gd name="connsiteX2" fmla="*/ 175588 w 177786"/>
              <a:gd name="connsiteY2" fmla="*/ 103801 h 149222"/>
              <a:gd name="connsiteX3" fmla="*/ 0 w 177786"/>
              <a:gd name="connsiteY3" fmla="*/ 149222 h 149222"/>
              <a:gd name="connsiteX4" fmla="*/ 32389 w 177786"/>
              <a:gd name="connsiteY4" fmla="*/ 46067 h 149222"/>
              <a:gd name="connsiteX0" fmla="*/ 19420 w 164817"/>
              <a:gd name="connsiteY0" fmla="*/ 46067 h 151007"/>
              <a:gd name="connsiteX1" fmla="*/ 150789 w 164817"/>
              <a:gd name="connsiteY1" fmla="*/ 0 h 151007"/>
              <a:gd name="connsiteX2" fmla="*/ 162619 w 164817"/>
              <a:gd name="connsiteY2" fmla="*/ 103801 h 151007"/>
              <a:gd name="connsiteX3" fmla="*/ 0 w 164817"/>
              <a:gd name="connsiteY3" fmla="*/ 151007 h 151007"/>
              <a:gd name="connsiteX4" fmla="*/ 19420 w 164817"/>
              <a:gd name="connsiteY4" fmla="*/ 46067 h 151007"/>
              <a:gd name="connsiteX0" fmla="*/ 19420 w 164817"/>
              <a:gd name="connsiteY0" fmla="*/ 46067 h 151007"/>
              <a:gd name="connsiteX1" fmla="*/ 150789 w 164817"/>
              <a:gd name="connsiteY1" fmla="*/ 0 h 151007"/>
              <a:gd name="connsiteX2" fmla="*/ 162619 w 164817"/>
              <a:gd name="connsiteY2" fmla="*/ 103801 h 151007"/>
              <a:gd name="connsiteX3" fmla="*/ 91869 w 164817"/>
              <a:gd name="connsiteY3" fmla="*/ 88175 h 151007"/>
              <a:gd name="connsiteX4" fmla="*/ 0 w 164817"/>
              <a:gd name="connsiteY4" fmla="*/ 151007 h 151007"/>
              <a:gd name="connsiteX5" fmla="*/ 19420 w 164817"/>
              <a:gd name="connsiteY5" fmla="*/ 46067 h 151007"/>
              <a:gd name="connsiteX0" fmla="*/ 19420 w 174815"/>
              <a:gd name="connsiteY0" fmla="*/ 46067 h 151007"/>
              <a:gd name="connsiteX1" fmla="*/ 150789 w 174815"/>
              <a:gd name="connsiteY1" fmla="*/ 0 h 151007"/>
              <a:gd name="connsiteX2" fmla="*/ 173243 w 174815"/>
              <a:gd name="connsiteY2" fmla="*/ 94381 h 151007"/>
              <a:gd name="connsiteX3" fmla="*/ 91869 w 174815"/>
              <a:gd name="connsiteY3" fmla="*/ 88175 h 151007"/>
              <a:gd name="connsiteX4" fmla="*/ 0 w 174815"/>
              <a:gd name="connsiteY4" fmla="*/ 151007 h 151007"/>
              <a:gd name="connsiteX5" fmla="*/ 19420 w 174815"/>
              <a:gd name="connsiteY5" fmla="*/ 46067 h 151007"/>
              <a:gd name="connsiteX0" fmla="*/ 19420 w 196614"/>
              <a:gd name="connsiteY0" fmla="*/ 46067 h 151007"/>
              <a:gd name="connsiteX1" fmla="*/ 150789 w 196614"/>
              <a:gd name="connsiteY1" fmla="*/ 0 h 151007"/>
              <a:gd name="connsiteX2" fmla="*/ 195632 w 196614"/>
              <a:gd name="connsiteY2" fmla="*/ 106790 h 151007"/>
              <a:gd name="connsiteX3" fmla="*/ 91869 w 196614"/>
              <a:gd name="connsiteY3" fmla="*/ 88175 h 151007"/>
              <a:gd name="connsiteX4" fmla="*/ 0 w 196614"/>
              <a:gd name="connsiteY4" fmla="*/ 151007 h 151007"/>
              <a:gd name="connsiteX5" fmla="*/ 19420 w 196614"/>
              <a:gd name="connsiteY5" fmla="*/ 46067 h 151007"/>
              <a:gd name="connsiteX0" fmla="*/ 19420 w 211131"/>
              <a:gd name="connsiteY0" fmla="*/ 46067 h 151007"/>
              <a:gd name="connsiteX1" fmla="*/ 150789 w 211131"/>
              <a:gd name="connsiteY1" fmla="*/ 0 h 151007"/>
              <a:gd name="connsiteX2" fmla="*/ 210343 w 211131"/>
              <a:gd name="connsiteY2" fmla="*/ 129802 h 151007"/>
              <a:gd name="connsiteX3" fmla="*/ 91869 w 211131"/>
              <a:gd name="connsiteY3" fmla="*/ 88175 h 151007"/>
              <a:gd name="connsiteX4" fmla="*/ 0 w 211131"/>
              <a:gd name="connsiteY4" fmla="*/ 151007 h 151007"/>
              <a:gd name="connsiteX5" fmla="*/ 19420 w 211131"/>
              <a:gd name="connsiteY5" fmla="*/ 46067 h 15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131" h="151007">
                <a:moveTo>
                  <a:pt x="19420" y="46067"/>
                </a:moveTo>
                <a:lnTo>
                  <a:pt x="150789" y="0"/>
                </a:lnTo>
                <a:cubicBezTo>
                  <a:pt x="150789" y="44422"/>
                  <a:pt x="219181" y="88928"/>
                  <a:pt x="210343" y="129802"/>
                </a:cubicBezTo>
                <a:cubicBezTo>
                  <a:pt x="187333" y="137368"/>
                  <a:pt x="114879" y="80609"/>
                  <a:pt x="91869" y="88175"/>
                </a:cubicBezTo>
                <a:lnTo>
                  <a:pt x="0" y="151007"/>
                </a:lnTo>
                <a:lnTo>
                  <a:pt x="19420" y="46067"/>
                </a:lnTo>
                <a:close/>
              </a:path>
            </a:pathLst>
          </a:custGeom>
          <a:solidFill>
            <a:schemeClr val="accent2">
              <a:lumMod val="60000"/>
              <a:lumOff val="40000"/>
            </a:schemeClr>
          </a:solidFill>
          <a:ln>
            <a:solidFill>
              <a:schemeClr val="accent2">
                <a:lumMod val="60000"/>
                <a:lumOff val="40000"/>
              </a:schemeClr>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3" name="Speech Bubble: Rectangle 52">
            <a:extLst>
              <a:ext uri="{FF2B5EF4-FFF2-40B4-BE49-F238E27FC236}">
                <a16:creationId xmlns:a16="http://schemas.microsoft.com/office/drawing/2014/main" id="{2A446466-0E9E-46EA-BD4F-F907600863FD}"/>
              </a:ext>
            </a:extLst>
          </p:cNvPr>
          <p:cNvSpPr/>
          <p:nvPr/>
        </p:nvSpPr>
        <p:spPr>
          <a:xfrm>
            <a:off x="3490977" y="2705100"/>
            <a:ext cx="1146786" cy="512994"/>
          </a:xfrm>
          <a:prstGeom prst="wedgeRectCallout">
            <a:avLst>
              <a:gd name="adj1" fmla="val -44089"/>
              <a:gd name="adj2" fmla="val 71784"/>
            </a:avLst>
          </a:prstGeom>
          <a:solidFill>
            <a:schemeClr val="bg1">
              <a:lumMod val="50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Tunnel is bij de lange en korte variant optioneel</a:t>
            </a:r>
          </a:p>
        </p:txBody>
      </p:sp>
      <p:grpSp>
        <p:nvGrpSpPr>
          <p:cNvPr id="63" name="Group 62">
            <a:extLst>
              <a:ext uri="{FF2B5EF4-FFF2-40B4-BE49-F238E27FC236}">
                <a16:creationId xmlns:a16="http://schemas.microsoft.com/office/drawing/2014/main" id="{DF88F580-449A-490A-9F5D-2113FC9E01A7}"/>
              </a:ext>
            </a:extLst>
          </p:cNvPr>
          <p:cNvGrpSpPr/>
          <p:nvPr/>
        </p:nvGrpSpPr>
        <p:grpSpPr>
          <a:xfrm>
            <a:off x="2801480" y="3253829"/>
            <a:ext cx="399585" cy="244766"/>
            <a:chOff x="3153175" y="3241332"/>
            <a:chExt cx="399585" cy="244766"/>
          </a:xfrm>
        </p:grpSpPr>
        <p:grpSp>
          <p:nvGrpSpPr>
            <p:cNvPr id="55" name="Group 54">
              <a:extLst>
                <a:ext uri="{FF2B5EF4-FFF2-40B4-BE49-F238E27FC236}">
                  <a16:creationId xmlns:a16="http://schemas.microsoft.com/office/drawing/2014/main" id="{15E45800-FACC-4ED4-ADE1-2F69744232F1}"/>
                </a:ext>
              </a:extLst>
            </p:cNvPr>
            <p:cNvGrpSpPr/>
            <p:nvPr/>
          </p:nvGrpSpPr>
          <p:grpSpPr>
            <a:xfrm rot="1329137" flipH="1">
              <a:off x="3153175" y="3241332"/>
              <a:ext cx="381127" cy="244766"/>
              <a:chOff x="6061748" y="5165798"/>
              <a:chExt cx="439726" cy="282396"/>
            </a:xfrm>
          </p:grpSpPr>
          <p:grpSp>
            <p:nvGrpSpPr>
              <p:cNvPr id="57" name="Group 56">
                <a:extLst>
                  <a:ext uri="{FF2B5EF4-FFF2-40B4-BE49-F238E27FC236}">
                    <a16:creationId xmlns:a16="http://schemas.microsoft.com/office/drawing/2014/main" id="{75C2EAFA-DDB8-4AAA-A365-FB2D63545982}"/>
                  </a:ext>
                </a:extLst>
              </p:cNvPr>
              <p:cNvGrpSpPr/>
              <p:nvPr/>
            </p:nvGrpSpPr>
            <p:grpSpPr>
              <a:xfrm rot="411683">
                <a:off x="6061748" y="5169082"/>
                <a:ext cx="370440" cy="279112"/>
                <a:chOff x="6960162" y="5223590"/>
                <a:chExt cx="370440" cy="279112"/>
              </a:xfrm>
            </p:grpSpPr>
            <p:sp>
              <p:nvSpPr>
                <p:cNvPr id="60" name="Right Bracket 59">
                  <a:extLst>
                    <a:ext uri="{FF2B5EF4-FFF2-40B4-BE49-F238E27FC236}">
                      <a16:creationId xmlns:a16="http://schemas.microsoft.com/office/drawing/2014/main" id="{683CC738-796E-416B-B705-F9C64B3027C7}"/>
                    </a:ext>
                  </a:extLst>
                </p:cNvPr>
                <p:cNvSpPr/>
                <p:nvPr/>
              </p:nvSpPr>
              <p:spPr>
                <a:xfrm rot="16200000">
                  <a:off x="7163387" y="5202927"/>
                  <a:ext cx="146552" cy="187878"/>
                </a:xfrm>
                <a:prstGeom prst="rightBracket">
                  <a:avLst>
                    <a:gd name="adj" fmla="val 19746"/>
                  </a:avLst>
                </a:prstGeom>
                <a:noFill/>
                <a:ln w="50800">
                  <a:solidFill>
                    <a:srgbClr val="22777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a:ln>
                      <a:noFill/>
                    </a:ln>
                    <a:solidFill>
                      <a:srgbClr val="525252"/>
                    </a:solidFill>
                    <a:effectLst/>
                    <a:uLnTx/>
                    <a:uFillTx/>
                    <a:latin typeface="Corbel"/>
                    <a:ea typeface="+mn-ea"/>
                    <a:cs typeface="+mn-cs"/>
                  </a:endParaRPr>
                </a:p>
              </p:txBody>
            </p:sp>
            <p:sp>
              <p:nvSpPr>
                <p:cNvPr id="61" name="Right Bracket 97">
                  <a:extLst>
                    <a:ext uri="{FF2B5EF4-FFF2-40B4-BE49-F238E27FC236}">
                      <a16:creationId xmlns:a16="http://schemas.microsoft.com/office/drawing/2014/main" id="{811AA57B-6AF1-4136-99A5-A3C00F78FAF3}"/>
                    </a:ext>
                  </a:extLst>
                </p:cNvPr>
                <p:cNvSpPr/>
                <p:nvPr/>
              </p:nvSpPr>
              <p:spPr>
                <a:xfrm rot="16200000">
                  <a:off x="7078503" y="5264382"/>
                  <a:ext cx="146552" cy="189277"/>
                </a:xfrm>
                <a:custGeom>
                  <a:avLst/>
                  <a:gdLst>
                    <a:gd name="connsiteX0" fmla="*/ 0 w 146552"/>
                    <a:gd name="connsiteY0" fmla="*/ 0 h 187878"/>
                    <a:gd name="connsiteX1" fmla="*/ 146552 w 146552"/>
                    <a:gd name="connsiteY1" fmla="*/ 28938 h 187878"/>
                    <a:gd name="connsiteX2" fmla="*/ 146552 w 146552"/>
                    <a:gd name="connsiteY2" fmla="*/ 158940 h 187878"/>
                    <a:gd name="connsiteX3" fmla="*/ 0 w 146552"/>
                    <a:gd name="connsiteY3" fmla="*/ 187878 h 187878"/>
                    <a:gd name="connsiteX4" fmla="*/ 0 w 146552"/>
                    <a:gd name="connsiteY4" fmla="*/ 0 h 187878"/>
                    <a:gd name="connsiteX0" fmla="*/ 0 w 146552"/>
                    <a:gd name="connsiteY0" fmla="*/ 0 h 187878"/>
                    <a:gd name="connsiteX1" fmla="*/ 146552 w 146552"/>
                    <a:gd name="connsiteY1" fmla="*/ 28938 h 187878"/>
                    <a:gd name="connsiteX2" fmla="*/ 146552 w 146552"/>
                    <a:gd name="connsiteY2" fmla="*/ 158940 h 187878"/>
                    <a:gd name="connsiteX3" fmla="*/ 0 w 146552"/>
                    <a:gd name="connsiteY3" fmla="*/ 187878 h 187878"/>
                    <a:gd name="connsiteX0" fmla="*/ 0 w 146552"/>
                    <a:gd name="connsiteY0" fmla="*/ 1399 h 189277"/>
                    <a:gd name="connsiteX1" fmla="*/ 146552 w 146552"/>
                    <a:gd name="connsiteY1" fmla="*/ 30337 h 189277"/>
                    <a:gd name="connsiteX2" fmla="*/ 146552 w 146552"/>
                    <a:gd name="connsiteY2" fmla="*/ 160339 h 189277"/>
                    <a:gd name="connsiteX3" fmla="*/ 0 w 146552"/>
                    <a:gd name="connsiteY3" fmla="*/ 189277 h 189277"/>
                    <a:gd name="connsiteX4" fmla="*/ 0 w 146552"/>
                    <a:gd name="connsiteY4" fmla="*/ 1399 h 189277"/>
                    <a:gd name="connsiteX0" fmla="*/ 38206 w 146552"/>
                    <a:gd name="connsiteY0" fmla="*/ 0 h 189277"/>
                    <a:gd name="connsiteX1" fmla="*/ 146552 w 146552"/>
                    <a:gd name="connsiteY1" fmla="*/ 30337 h 189277"/>
                    <a:gd name="connsiteX2" fmla="*/ 146552 w 146552"/>
                    <a:gd name="connsiteY2" fmla="*/ 160339 h 189277"/>
                    <a:gd name="connsiteX3" fmla="*/ 0 w 146552"/>
                    <a:gd name="connsiteY3" fmla="*/ 189277 h 189277"/>
                  </a:gdLst>
                  <a:ahLst/>
                  <a:cxnLst>
                    <a:cxn ang="0">
                      <a:pos x="connsiteX0" y="connsiteY0"/>
                    </a:cxn>
                    <a:cxn ang="0">
                      <a:pos x="connsiteX1" y="connsiteY1"/>
                    </a:cxn>
                    <a:cxn ang="0">
                      <a:pos x="connsiteX2" y="connsiteY2"/>
                    </a:cxn>
                    <a:cxn ang="0">
                      <a:pos x="connsiteX3" y="connsiteY3"/>
                    </a:cxn>
                  </a:cxnLst>
                  <a:rect l="l" t="t" r="r" b="b"/>
                  <a:pathLst>
                    <a:path w="146552" h="189277" stroke="0" extrusionOk="0">
                      <a:moveTo>
                        <a:pt x="0" y="1399"/>
                      </a:moveTo>
                      <a:cubicBezTo>
                        <a:pt x="80938" y="1399"/>
                        <a:pt x="146552" y="14355"/>
                        <a:pt x="146552" y="30337"/>
                      </a:cubicBezTo>
                      <a:lnTo>
                        <a:pt x="146552" y="160339"/>
                      </a:lnTo>
                      <a:cubicBezTo>
                        <a:pt x="146552" y="176321"/>
                        <a:pt x="80938" y="189277"/>
                        <a:pt x="0" y="189277"/>
                      </a:cubicBezTo>
                      <a:lnTo>
                        <a:pt x="0" y="1399"/>
                      </a:lnTo>
                      <a:close/>
                    </a:path>
                    <a:path w="146552" h="189277" fill="none">
                      <a:moveTo>
                        <a:pt x="38206" y="0"/>
                      </a:moveTo>
                      <a:cubicBezTo>
                        <a:pt x="119144" y="0"/>
                        <a:pt x="146552" y="14355"/>
                        <a:pt x="146552" y="30337"/>
                      </a:cubicBezTo>
                      <a:lnTo>
                        <a:pt x="146552" y="160339"/>
                      </a:lnTo>
                      <a:cubicBezTo>
                        <a:pt x="146552" y="176321"/>
                        <a:pt x="80938" y="189277"/>
                        <a:pt x="0" y="189277"/>
                      </a:cubicBezTo>
                    </a:path>
                  </a:pathLst>
                </a:custGeom>
                <a:noFill/>
                <a:ln w="50800">
                  <a:solidFill>
                    <a:srgbClr val="22777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srgbClr val="525252"/>
                    </a:solidFill>
                    <a:effectLst/>
                    <a:uLnTx/>
                    <a:uFillTx/>
                    <a:latin typeface="Corbel"/>
                    <a:ea typeface="+mn-ea"/>
                    <a:cs typeface="+mn-cs"/>
                  </a:endParaRPr>
                </a:p>
              </p:txBody>
            </p:sp>
            <p:sp>
              <p:nvSpPr>
                <p:cNvPr id="62" name="Right Bracket 61">
                  <a:extLst>
                    <a:ext uri="{FF2B5EF4-FFF2-40B4-BE49-F238E27FC236}">
                      <a16:creationId xmlns:a16="http://schemas.microsoft.com/office/drawing/2014/main" id="{0100A666-463A-4B11-BF1F-F9C89FA83F16}"/>
                    </a:ext>
                  </a:extLst>
                </p:cNvPr>
                <p:cNvSpPr/>
                <p:nvPr/>
              </p:nvSpPr>
              <p:spPr>
                <a:xfrm rot="16200000">
                  <a:off x="6980825" y="5335487"/>
                  <a:ext cx="146552" cy="187878"/>
                </a:xfrm>
                <a:prstGeom prst="rightBracket">
                  <a:avLst>
                    <a:gd name="adj" fmla="val 19746"/>
                  </a:avLst>
                </a:prstGeom>
                <a:noFill/>
                <a:ln w="50800">
                  <a:solidFill>
                    <a:srgbClr val="22777B"/>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srgbClr val="525252"/>
                    </a:solidFill>
                    <a:effectLst/>
                    <a:uLnTx/>
                    <a:uFillTx/>
                    <a:latin typeface="Corbel"/>
                    <a:ea typeface="+mn-ea"/>
                    <a:cs typeface="+mn-cs"/>
                  </a:endParaRPr>
                </a:p>
              </p:txBody>
            </p:sp>
          </p:grpSp>
          <p:sp>
            <p:nvSpPr>
              <p:cNvPr id="58" name="Rectangle 31">
                <a:extLst>
                  <a:ext uri="{FF2B5EF4-FFF2-40B4-BE49-F238E27FC236}">
                    <a16:creationId xmlns:a16="http://schemas.microsoft.com/office/drawing/2014/main" id="{222DD580-17ED-4911-B9C8-C7744F673AB3}"/>
                  </a:ext>
                </a:extLst>
              </p:cNvPr>
              <p:cNvSpPr/>
              <p:nvPr/>
            </p:nvSpPr>
            <p:spPr>
              <a:xfrm rot="19785226">
                <a:off x="6071645" y="5165798"/>
                <a:ext cx="378452" cy="124386"/>
              </a:xfrm>
              <a:custGeom>
                <a:avLst/>
                <a:gdLst>
                  <a:gd name="connsiteX0" fmla="*/ 0 w 354806"/>
                  <a:gd name="connsiteY0" fmla="*/ 0 h 141892"/>
                  <a:gd name="connsiteX1" fmla="*/ 354806 w 354806"/>
                  <a:gd name="connsiteY1" fmla="*/ 0 h 141892"/>
                  <a:gd name="connsiteX2" fmla="*/ 354806 w 354806"/>
                  <a:gd name="connsiteY2" fmla="*/ 141892 h 141892"/>
                  <a:gd name="connsiteX3" fmla="*/ 0 w 354806"/>
                  <a:gd name="connsiteY3" fmla="*/ 141892 h 141892"/>
                  <a:gd name="connsiteX4" fmla="*/ 0 w 354806"/>
                  <a:gd name="connsiteY4" fmla="*/ 0 h 141892"/>
                  <a:gd name="connsiteX0" fmla="*/ 0 w 354806"/>
                  <a:gd name="connsiteY0" fmla="*/ 0 h 141892"/>
                  <a:gd name="connsiteX1" fmla="*/ 298078 w 354806"/>
                  <a:gd name="connsiteY1" fmla="*/ 35834 h 141892"/>
                  <a:gd name="connsiteX2" fmla="*/ 354806 w 354806"/>
                  <a:gd name="connsiteY2" fmla="*/ 141892 h 141892"/>
                  <a:gd name="connsiteX3" fmla="*/ 0 w 354806"/>
                  <a:gd name="connsiteY3" fmla="*/ 141892 h 141892"/>
                  <a:gd name="connsiteX4" fmla="*/ 0 w 354806"/>
                  <a:gd name="connsiteY4" fmla="*/ 0 h 141892"/>
                  <a:gd name="connsiteX0" fmla="*/ 0 w 354806"/>
                  <a:gd name="connsiteY0" fmla="*/ 0 h 141892"/>
                  <a:gd name="connsiteX1" fmla="*/ 231567 w 354806"/>
                  <a:gd name="connsiteY1" fmla="*/ 8078 h 141892"/>
                  <a:gd name="connsiteX2" fmla="*/ 354806 w 354806"/>
                  <a:gd name="connsiteY2" fmla="*/ 141892 h 141892"/>
                  <a:gd name="connsiteX3" fmla="*/ 0 w 354806"/>
                  <a:gd name="connsiteY3" fmla="*/ 141892 h 141892"/>
                  <a:gd name="connsiteX4" fmla="*/ 0 w 354806"/>
                  <a:gd name="connsiteY4" fmla="*/ 0 h 141892"/>
                  <a:gd name="connsiteX0" fmla="*/ 0 w 369025"/>
                  <a:gd name="connsiteY0" fmla="*/ 0 h 141892"/>
                  <a:gd name="connsiteX1" fmla="*/ 231567 w 369025"/>
                  <a:gd name="connsiteY1" fmla="*/ 8078 h 141892"/>
                  <a:gd name="connsiteX2" fmla="*/ 369025 w 369025"/>
                  <a:gd name="connsiteY2" fmla="*/ 103323 h 141892"/>
                  <a:gd name="connsiteX3" fmla="*/ 0 w 369025"/>
                  <a:gd name="connsiteY3" fmla="*/ 141892 h 141892"/>
                  <a:gd name="connsiteX4" fmla="*/ 0 w 369025"/>
                  <a:gd name="connsiteY4" fmla="*/ 0 h 141892"/>
                  <a:gd name="connsiteX0" fmla="*/ 0 w 369025"/>
                  <a:gd name="connsiteY0" fmla="*/ 0 h 125592"/>
                  <a:gd name="connsiteX1" fmla="*/ 231567 w 369025"/>
                  <a:gd name="connsiteY1" fmla="*/ 8078 h 125592"/>
                  <a:gd name="connsiteX2" fmla="*/ 369025 w 369025"/>
                  <a:gd name="connsiteY2" fmla="*/ 103323 h 125592"/>
                  <a:gd name="connsiteX3" fmla="*/ 94956 w 369025"/>
                  <a:gd name="connsiteY3" fmla="*/ 125592 h 125592"/>
                  <a:gd name="connsiteX4" fmla="*/ 0 w 369025"/>
                  <a:gd name="connsiteY4" fmla="*/ 0 h 125592"/>
                  <a:gd name="connsiteX0" fmla="*/ 0 w 369025"/>
                  <a:gd name="connsiteY0" fmla="*/ 0 h 125592"/>
                  <a:gd name="connsiteX1" fmla="*/ 231567 w 369025"/>
                  <a:gd name="connsiteY1" fmla="*/ 8078 h 125592"/>
                  <a:gd name="connsiteX2" fmla="*/ 369025 w 369025"/>
                  <a:gd name="connsiteY2" fmla="*/ 103323 h 125592"/>
                  <a:gd name="connsiteX3" fmla="*/ 94956 w 369025"/>
                  <a:gd name="connsiteY3" fmla="*/ 125592 h 125592"/>
                  <a:gd name="connsiteX4" fmla="*/ 0 w 369025"/>
                  <a:gd name="connsiteY4" fmla="*/ 0 h 125592"/>
                  <a:gd name="connsiteX0" fmla="*/ 0 w 369025"/>
                  <a:gd name="connsiteY0" fmla="*/ 0 h 126959"/>
                  <a:gd name="connsiteX1" fmla="*/ 231567 w 369025"/>
                  <a:gd name="connsiteY1" fmla="*/ 8078 h 126959"/>
                  <a:gd name="connsiteX2" fmla="*/ 369025 w 369025"/>
                  <a:gd name="connsiteY2" fmla="*/ 103323 h 126959"/>
                  <a:gd name="connsiteX3" fmla="*/ 116210 w 369025"/>
                  <a:gd name="connsiteY3" fmla="*/ 126959 h 126959"/>
                  <a:gd name="connsiteX4" fmla="*/ 0 w 369025"/>
                  <a:gd name="connsiteY4" fmla="*/ 0 h 126959"/>
                  <a:gd name="connsiteX0" fmla="*/ 0 w 363196"/>
                  <a:gd name="connsiteY0" fmla="*/ 834 h 118881"/>
                  <a:gd name="connsiteX1" fmla="*/ 225738 w 363196"/>
                  <a:gd name="connsiteY1" fmla="*/ 0 h 118881"/>
                  <a:gd name="connsiteX2" fmla="*/ 363196 w 363196"/>
                  <a:gd name="connsiteY2" fmla="*/ 95245 h 118881"/>
                  <a:gd name="connsiteX3" fmla="*/ 110381 w 363196"/>
                  <a:gd name="connsiteY3" fmla="*/ 118881 h 118881"/>
                  <a:gd name="connsiteX4" fmla="*/ 0 w 363196"/>
                  <a:gd name="connsiteY4" fmla="*/ 834 h 118881"/>
                  <a:gd name="connsiteX0" fmla="*/ 0 w 373481"/>
                  <a:gd name="connsiteY0" fmla="*/ 834 h 118881"/>
                  <a:gd name="connsiteX1" fmla="*/ 225738 w 373481"/>
                  <a:gd name="connsiteY1" fmla="*/ 0 h 118881"/>
                  <a:gd name="connsiteX2" fmla="*/ 373481 w 373481"/>
                  <a:gd name="connsiteY2" fmla="*/ 101242 h 118881"/>
                  <a:gd name="connsiteX3" fmla="*/ 110381 w 373481"/>
                  <a:gd name="connsiteY3" fmla="*/ 118881 h 118881"/>
                  <a:gd name="connsiteX4" fmla="*/ 0 w 373481"/>
                  <a:gd name="connsiteY4" fmla="*/ 834 h 118881"/>
                  <a:gd name="connsiteX0" fmla="*/ 0 w 362853"/>
                  <a:gd name="connsiteY0" fmla="*/ 834 h 118881"/>
                  <a:gd name="connsiteX1" fmla="*/ 225738 w 362853"/>
                  <a:gd name="connsiteY1" fmla="*/ 0 h 118881"/>
                  <a:gd name="connsiteX2" fmla="*/ 362853 w 362853"/>
                  <a:gd name="connsiteY2" fmla="*/ 100558 h 118881"/>
                  <a:gd name="connsiteX3" fmla="*/ 110381 w 362853"/>
                  <a:gd name="connsiteY3" fmla="*/ 118881 h 118881"/>
                  <a:gd name="connsiteX4" fmla="*/ 0 w 362853"/>
                  <a:gd name="connsiteY4" fmla="*/ 834 h 118881"/>
                  <a:gd name="connsiteX0" fmla="*/ 0 w 384449"/>
                  <a:gd name="connsiteY0" fmla="*/ 4780 h 118881"/>
                  <a:gd name="connsiteX1" fmla="*/ 247334 w 384449"/>
                  <a:gd name="connsiteY1" fmla="*/ 0 h 118881"/>
                  <a:gd name="connsiteX2" fmla="*/ 384449 w 384449"/>
                  <a:gd name="connsiteY2" fmla="*/ 100558 h 118881"/>
                  <a:gd name="connsiteX3" fmla="*/ 131977 w 384449"/>
                  <a:gd name="connsiteY3" fmla="*/ 118881 h 118881"/>
                  <a:gd name="connsiteX4" fmla="*/ 0 w 384449"/>
                  <a:gd name="connsiteY4" fmla="*/ 4780 h 118881"/>
                  <a:gd name="connsiteX0" fmla="*/ 0 w 378452"/>
                  <a:gd name="connsiteY0" fmla="*/ 0 h 124386"/>
                  <a:gd name="connsiteX1" fmla="*/ 241337 w 378452"/>
                  <a:gd name="connsiteY1" fmla="*/ 5505 h 124386"/>
                  <a:gd name="connsiteX2" fmla="*/ 378452 w 378452"/>
                  <a:gd name="connsiteY2" fmla="*/ 106063 h 124386"/>
                  <a:gd name="connsiteX3" fmla="*/ 125980 w 378452"/>
                  <a:gd name="connsiteY3" fmla="*/ 124386 h 124386"/>
                  <a:gd name="connsiteX4" fmla="*/ 0 w 378452"/>
                  <a:gd name="connsiteY4" fmla="*/ 0 h 124386"/>
                  <a:gd name="connsiteX0" fmla="*/ 0 w 378452"/>
                  <a:gd name="connsiteY0" fmla="*/ 0 h 124386"/>
                  <a:gd name="connsiteX1" fmla="*/ 241337 w 378452"/>
                  <a:gd name="connsiteY1" fmla="*/ 5505 h 124386"/>
                  <a:gd name="connsiteX2" fmla="*/ 378452 w 378452"/>
                  <a:gd name="connsiteY2" fmla="*/ 106063 h 124386"/>
                  <a:gd name="connsiteX3" fmla="*/ 125980 w 378452"/>
                  <a:gd name="connsiteY3" fmla="*/ 124386 h 124386"/>
                  <a:gd name="connsiteX4" fmla="*/ 0 w 378452"/>
                  <a:gd name="connsiteY4" fmla="*/ 0 h 1243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52" h="124386">
                    <a:moveTo>
                      <a:pt x="0" y="0"/>
                    </a:moveTo>
                    <a:lnTo>
                      <a:pt x="241337" y="5505"/>
                    </a:lnTo>
                    <a:lnTo>
                      <a:pt x="378452" y="106063"/>
                    </a:lnTo>
                    <a:lnTo>
                      <a:pt x="125980" y="124386"/>
                    </a:lnTo>
                    <a:cubicBezTo>
                      <a:pt x="93980" y="54756"/>
                      <a:pt x="41080" y="44605"/>
                      <a:pt x="0" y="0"/>
                    </a:cubicBezTo>
                    <a:close/>
                  </a:path>
                </a:pathLst>
              </a:custGeom>
              <a:solidFill>
                <a:srgbClr val="22777B"/>
              </a:solidFill>
              <a:ln>
                <a:solidFill>
                  <a:srgbClr val="22777B"/>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9" name="Rectangle 32">
                <a:extLst>
                  <a:ext uri="{FF2B5EF4-FFF2-40B4-BE49-F238E27FC236}">
                    <a16:creationId xmlns:a16="http://schemas.microsoft.com/office/drawing/2014/main" id="{227A5EDE-0BD3-4590-9BE0-DE17A6426CD3}"/>
                  </a:ext>
                </a:extLst>
              </p:cNvPr>
              <p:cNvSpPr/>
              <p:nvPr/>
            </p:nvSpPr>
            <p:spPr>
              <a:xfrm rot="19780274">
                <a:off x="6174599" y="5246895"/>
                <a:ext cx="326875" cy="152246"/>
              </a:xfrm>
              <a:custGeom>
                <a:avLst/>
                <a:gdLst>
                  <a:gd name="connsiteX0" fmla="*/ 0 w 248742"/>
                  <a:gd name="connsiteY0" fmla="*/ 0 h 151427"/>
                  <a:gd name="connsiteX1" fmla="*/ 248742 w 248742"/>
                  <a:gd name="connsiteY1" fmla="*/ 0 h 151427"/>
                  <a:gd name="connsiteX2" fmla="*/ 248742 w 248742"/>
                  <a:gd name="connsiteY2" fmla="*/ 151427 h 151427"/>
                  <a:gd name="connsiteX3" fmla="*/ 0 w 248742"/>
                  <a:gd name="connsiteY3" fmla="*/ 151427 h 151427"/>
                  <a:gd name="connsiteX4" fmla="*/ 0 w 248742"/>
                  <a:gd name="connsiteY4" fmla="*/ 0 h 151427"/>
                  <a:gd name="connsiteX0" fmla="*/ 0 w 273202"/>
                  <a:gd name="connsiteY0" fmla="*/ 4082 h 155509"/>
                  <a:gd name="connsiteX1" fmla="*/ 273202 w 273202"/>
                  <a:gd name="connsiteY1" fmla="*/ 0 h 155509"/>
                  <a:gd name="connsiteX2" fmla="*/ 248742 w 273202"/>
                  <a:gd name="connsiteY2" fmla="*/ 155509 h 155509"/>
                  <a:gd name="connsiteX3" fmla="*/ 0 w 273202"/>
                  <a:gd name="connsiteY3" fmla="*/ 155509 h 155509"/>
                  <a:gd name="connsiteX4" fmla="*/ 0 w 273202"/>
                  <a:gd name="connsiteY4" fmla="*/ 4082 h 155509"/>
                  <a:gd name="connsiteX0" fmla="*/ 0 w 273202"/>
                  <a:gd name="connsiteY0" fmla="*/ 4082 h 155509"/>
                  <a:gd name="connsiteX1" fmla="*/ 273202 w 273202"/>
                  <a:gd name="connsiteY1" fmla="*/ 0 h 155509"/>
                  <a:gd name="connsiteX2" fmla="*/ 222940 w 273202"/>
                  <a:gd name="connsiteY2" fmla="*/ 136736 h 155509"/>
                  <a:gd name="connsiteX3" fmla="*/ 0 w 273202"/>
                  <a:gd name="connsiteY3" fmla="*/ 155509 h 155509"/>
                  <a:gd name="connsiteX4" fmla="*/ 0 w 273202"/>
                  <a:gd name="connsiteY4" fmla="*/ 4082 h 155509"/>
                  <a:gd name="connsiteX0" fmla="*/ 0 w 273202"/>
                  <a:gd name="connsiteY0" fmla="*/ 4082 h 155509"/>
                  <a:gd name="connsiteX1" fmla="*/ 273202 w 273202"/>
                  <a:gd name="connsiteY1" fmla="*/ 0 h 155509"/>
                  <a:gd name="connsiteX2" fmla="*/ 205566 w 273202"/>
                  <a:gd name="connsiteY2" fmla="*/ 141284 h 155509"/>
                  <a:gd name="connsiteX3" fmla="*/ 0 w 273202"/>
                  <a:gd name="connsiteY3" fmla="*/ 155509 h 155509"/>
                  <a:gd name="connsiteX4" fmla="*/ 0 w 273202"/>
                  <a:gd name="connsiteY4" fmla="*/ 4082 h 155509"/>
                  <a:gd name="connsiteX0" fmla="*/ 49795 w 322997"/>
                  <a:gd name="connsiteY0" fmla="*/ 4082 h 141284"/>
                  <a:gd name="connsiteX1" fmla="*/ 322997 w 322997"/>
                  <a:gd name="connsiteY1" fmla="*/ 0 h 141284"/>
                  <a:gd name="connsiteX2" fmla="*/ 255361 w 322997"/>
                  <a:gd name="connsiteY2" fmla="*/ 141284 h 141284"/>
                  <a:gd name="connsiteX3" fmla="*/ 0 w 322997"/>
                  <a:gd name="connsiteY3" fmla="*/ 133735 h 141284"/>
                  <a:gd name="connsiteX4" fmla="*/ 49795 w 322997"/>
                  <a:gd name="connsiteY4" fmla="*/ 4082 h 141284"/>
                  <a:gd name="connsiteX0" fmla="*/ 49795 w 322997"/>
                  <a:gd name="connsiteY0" fmla="*/ 4082 h 141284"/>
                  <a:gd name="connsiteX1" fmla="*/ 322997 w 322997"/>
                  <a:gd name="connsiteY1" fmla="*/ 0 h 141284"/>
                  <a:gd name="connsiteX2" fmla="*/ 255361 w 322997"/>
                  <a:gd name="connsiteY2" fmla="*/ 141284 h 141284"/>
                  <a:gd name="connsiteX3" fmla="*/ 0 w 322997"/>
                  <a:gd name="connsiteY3" fmla="*/ 133735 h 141284"/>
                  <a:gd name="connsiteX4" fmla="*/ 49795 w 322997"/>
                  <a:gd name="connsiteY4" fmla="*/ 4082 h 141284"/>
                  <a:gd name="connsiteX0" fmla="*/ 49795 w 322997"/>
                  <a:gd name="connsiteY0" fmla="*/ 4082 h 152246"/>
                  <a:gd name="connsiteX1" fmla="*/ 322997 w 322997"/>
                  <a:gd name="connsiteY1" fmla="*/ 0 h 152246"/>
                  <a:gd name="connsiteX2" fmla="*/ 248948 w 322997"/>
                  <a:gd name="connsiteY2" fmla="*/ 152246 h 152246"/>
                  <a:gd name="connsiteX3" fmla="*/ 0 w 322997"/>
                  <a:gd name="connsiteY3" fmla="*/ 133735 h 152246"/>
                  <a:gd name="connsiteX4" fmla="*/ 49795 w 322997"/>
                  <a:gd name="connsiteY4" fmla="*/ 4082 h 152246"/>
                  <a:gd name="connsiteX0" fmla="*/ 53002 w 326204"/>
                  <a:gd name="connsiteY0" fmla="*/ 4082 h 152246"/>
                  <a:gd name="connsiteX1" fmla="*/ 326204 w 326204"/>
                  <a:gd name="connsiteY1" fmla="*/ 0 h 152246"/>
                  <a:gd name="connsiteX2" fmla="*/ 252155 w 326204"/>
                  <a:gd name="connsiteY2" fmla="*/ 152246 h 152246"/>
                  <a:gd name="connsiteX3" fmla="*/ 0 w 326204"/>
                  <a:gd name="connsiteY3" fmla="*/ 139216 h 152246"/>
                  <a:gd name="connsiteX4" fmla="*/ 53002 w 326204"/>
                  <a:gd name="connsiteY4" fmla="*/ 4082 h 152246"/>
                  <a:gd name="connsiteX0" fmla="*/ 53673 w 326875"/>
                  <a:gd name="connsiteY0" fmla="*/ 4082 h 152246"/>
                  <a:gd name="connsiteX1" fmla="*/ 326875 w 326875"/>
                  <a:gd name="connsiteY1" fmla="*/ 0 h 152246"/>
                  <a:gd name="connsiteX2" fmla="*/ 252826 w 326875"/>
                  <a:gd name="connsiteY2" fmla="*/ 152246 h 152246"/>
                  <a:gd name="connsiteX3" fmla="*/ 0 w 326875"/>
                  <a:gd name="connsiteY3" fmla="*/ 127788 h 152246"/>
                  <a:gd name="connsiteX4" fmla="*/ 53673 w 326875"/>
                  <a:gd name="connsiteY4" fmla="*/ 4082 h 152246"/>
                  <a:gd name="connsiteX0" fmla="*/ 53673 w 326875"/>
                  <a:gd name="connsiteY0" fmla="*/ 4082 h 152246"/>
                  <a:gd name="connsiteX1" fmla="*/ 326875 w 326875"/>
                  <a:gd name="connsiteY1" fmla="*/ 0 h 152246"/>
                  <a:gd name="connsiteX2" fmla="*/ 252826 w 326875"/>
                  <a:gd name="connsiteY2" fmla="*/ 152246 h 152246"/>
                  <a:gd name="connsiteX3" fmla="*/ 0 w 326875"/>
                  <a:gd name="connsiteY3" fmla="*/ 127788 h 152246"/>
                  <a:gd name="connsiteX4" fmla="*/ 53673 w 326875"/>
                  <a:gd name="connsiteY4" fmla="*/ 4082 h 152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875" h="152246">
                    <a:moveTo>
                      <a:pt x="53673" y="4082"/>
                    </a:moveTo>
                    <a:lnTo>
                      <a:pt x="326875" y="0"/>
                    </a:lnTo>
                    <a:lnTo>
                      <a:pt x="252826" y="152246"/>
                    </a:lnTo>
                    <a:cubicBezTo>
                      <a:pt x="168551" y="144093"/>
                      <a:pt x="20051" y="138832"/>
                      <a:pt x="0" y="127788"/>
                    </a:cubicBezTo>
                    <a:cubicBezTo>
                      <a:pt x="55487" y="55823"/>
                      <a:pt x="37075" y="47300"/>
                      <a:pt x="53673" y="4082"/>
                    </a:cubicBezTo>
                    <a:close/>
                  </a:path>
                </a:pathLst>
              </a:custGeom>
              <a:solidFill>
                <a:srgbClr val="22777B"/>
              </a:solidFill>
              <a:ln>
                <a:solidFill>
                  <a:srgbClr val="22777B"/>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grpSp>
        <p:sp>
          <p:nvSpPr>
            <p:cNvPr id="56" name="Rectangle 34">
              <a:extLst>
                <a:ext uri="{FF2B5EF4-FFF2-40B4-BE49-F238E27FC236}">
                  <a16:creationId xmlns:a16="http://schemas.microsoft.com/office/drawing/2014/main" id="{49DA5A39-6BD9-4668-8711-13A79271B1DD}"/>
                </a:ext>
              </a:extLst>
            </p:cNvPr>
            <p:cNvSpPr/>
            <p:nvPr/>
          </p:nvSpPr>
          <p:spPr>
            <a:xfrm rot="2641509" flipH="1">
              <a:off x="3369764" y="3354743"/>
              <a:ext cx="182996" cy="130884"/>
            </a:xfrm>
            <a:custGeom>
              <a:avLst/>
              <a:gdLst>
                <a:gd name="connsiteX0" fmla="*/ 0 w 194986"/>
                <a:gd name="connsiteY0" fmla="*/ 0 h 133265"/>
                <a:gd name="connsiteX1" fmla="*/ 194986 w 194986"/>
                <a:gd name="connsiteY1" fmla="*/ 0 h 133265"/>
                <a:gd name="connsiteX2" fmla="*/ 194986 w 194986"/>
                <a:gd name="connsiteY2" fmla="*/ 133265 h 133265"/>
                <a:gd name="connsiteX3" fmla="*/ 0 w 194986"/>
                <a:gd name="connsiteY3" fmla="*/ 133265 h 133265"/>
                <a:gd name="connsiteX4" fmla="*/ 0 w 194986"/>
                <a:gd name="connsiteY4" fmla="*/ 0 h 133265"/>
                <a:gd name="connsiteX0" fmla="*/ 0 w 194987"/>
                <a:gd name="connsiteY0" fmla="*/ 0 h 133265"/>
                <a:gd name="connsiteX1" fmla="*/ 194986 w 194987"/>
                <a:gd name="connsiteY1" fmla="*/ 0 h 133265"/>
                <a:gd name="connsiteX2" fmla="*/ 194987 w 194987"/>
                <a:gd name="connsiteY2" fmla="*/ 133265 h 133265"/>
                <a:gd name="connsiteX3" fmla="*/ 0 w 194987"/>
                <a:gd name="connsiteY3" fmla="*/ 133265 h 133265"/>
                <a:gd name="connsiteX4" fmla="*/ 0 w 194987"/>
                <a:gd name="connsiteY4" fmla="*/ 0 h 133265"/>
                <a:gd name="connsiteX0" fmla="*/ 0 w 194986"/>
                <a:gd name="connsiteY0" fmla="*/ 0 h 133265"/>
                <a:gd name="connsiteX1" fmla="*/ 194986 w 194986"/>
                <a:gd name="connsiteY1" fmla="*/ 0 h 133265"/>
                <a:gd name="connsiteX2" fmla="*/ 118359 w 194986"/>
                <a:gd name="connsiteY2" fmla="*/ 119610 h 133265"/>
                <a:gd name="connsiteX3" fmla="*/ 0 w 194986"/>
                <a:gd name="connsiteY3" fmla="*/ 133265 h 133265"/>
                <a:gd name="connsiteX4" fmla="*/ 0 w 194986"/>
                <a:gd name="connsiteY4" fmla="*/ 0 h 133265"/>
                <a:gd name="connsiteX0" fmla="*/ 0 w 194986"/>
                <a:gd name="connsiteY0" fmla="*/ 0 h 133265"/>
                <a:gd name="connsiteX1" fmla="*/ 194986 w 194986"/>
                <a:gd name="connsiteY1" fmla="*/ 0 h 133265"/>
                <a:gd name="connsiteX2" fmla="*/ 118359 w 194986"/>
                <a:gd name="connsiteY2" fmla="*/ 119610 h 133265"/>
                <a:gd name="connsiteX3" fmla="*/ 0 w 194986"/>
                <a:gd name="connsiteY3" fmla="*/ 133265 h 133265"/>
                <a:gd name="connsiteX4" fmla="*/ 0 w 194986"/>
                <a:gd name="connsiteY4" fmla="*/ 0 h 133265"/>
                <a:gd name="connsiteX0" fmla="*/ 0 w 180878"/>
                <a:gd name="connsiteY0" fmla="*/ 33034 h 166299"/>
                <a:gd name="connsiteX1" fmla="*/ 180878 w 180878"/>
                <a:gd name="connsiteY1" fmla="*/ 0 h 166299"/>
                <a:gd name="connsiteX2" fmla="*/ 118359 w 180878"/>
                <a:gd name="connsiteY2" fmla="*/ 152644 h 166299"/>
                <a:gd name="connsiteX3" fmla="*/ 0 w 180878"/>
                <a:gd name="connsiteY3" fmla="*/ 166299 h 166299"/>
                <a:gd name="connsiteX4" fmla="*/ 0 w 180878"/>
                <a:gd name="connsiteY4" fmla="*/ 33034 h 166299"/>
                <a:gd name="connsiteX0" fmla="*/ 0 w 180878"/>
                <a:gd name="connsiteY0" fmla="*/ 33034 h 152644"/>
                <a:gd name="connsiteX1" fmla="*/ 180878 w 180878"/>
                <a:gd name="connsiteY1" fmla="*/ 0 h 152644"/>
                <a:gd name="connsiteX2" fmla="*/ 118359 w 180878"/>
                <a:gd name="connsiteY2" fmla="*/ 152644 h 152644"/>
                <a:gd name="connsiteX3" fmla="*/ 18905 w 180878"/>
                <a:gd name="connsiteY3" fmla="*/ 136254 h 152644"/>
                <a:gd name="connsiteX4" fmla="*/ 0 w 180878"/>
                <a:gd name="connsiteY4" fmla="*/ 33034 h 152644"/>
                <a:gd name="connsiteX0" fmla="*/ 0 w 183424"/>
                <a:gd name="connsiteY0" fmla="*/ 33034 h 136254"/>
                <a:gd name="connsiteX1" fmla="*/ 180878 w 183424"/>
                <a:gd name="connsiteY1" fmla="*/ 0 h 136254"/>
                <a:gd name="connsiteX2" fmla="*/ 156705 w 183424"/>
                <a:gd name="connsiteY2" fmla="*/ 133825 h 136254"/>
                <a:gd name="connsiteX3" fmla="*/ 18905 w 183424"/>
                <a:gd name="connsiteY3" fmla="*/ 136254 h 136254"/>
                <a:gd name="connsiteX4" fmla="*/ 0 w 183424"/>
                <a:gd name="connsiteY4" fmla="*/ 33034 h 136254"/>
                <a:gd name="connsiteX0" fmla="*/ 0 w 180878"/>
                <a:gd name="connsiteY0" fmla="*/ 33034 h 136254"/>
                <a:gd name="connsiteX1" fmla="*/ 180878 w 180878"/>
                <a:gd name="connsiteY1" fmla="*/ 0 h 136254"/>
                <a:gd name="connsiteX2" fmla="*/ 156705 w 180878"/>
                <a:gd name="connsiteY2" fmla="*/ 133825 h 136254"/>
                <a:gd name="connsiteX3" fmla="*/ 18905 w 180878"/>
                <a:gd name="connsiteY3" fmla="*/ 136254 h 136254"/>
                <a:gd name="connsiteX4" fmla="*/ 0 w 180878"/>
                <a:gd name="connsiteY4" fmla="*/ 33034 h 136254"/>
                <a:gd name="connsiteX0" fmla="*/ 30604 w 161973"/>
                <a:gd name="connsiteY0" fmla="*/ 46067 h 136254"/>
                <a:gd name="connsiteX1" fmla="*/ 161973 w 161973"/>
                <a:gd name="connsiteY1" fmla="*/ 0 h 136254"/>
                <a:gd name="connsiteX2" fmla="*/ 137800 w 161973"/>
                <a:gd name="connsiteY2" fmla="*/ 133825 h 136254"/>
                <a:gd name="connsiteX3" fmla="*/ 0 w 161973"/>
                <a:gd name="connsiteY3" fmla="*/ 136254 h 136254"/>
                <a:gd name="connsiteX4" fmla="*/ 30604 w 161973"/>
                <a:gd name="connsiteY4" fmla="*/ 46067 h 136254"/>
                <a:gd name="connsiteX0" fmla="*/ 44154 w 175523"/>
                <a:gd name="connsiteY0" fmla="*/ 46067 h 133825"/>
                <a:gd name="connsiteX1" fmla="*/ 175523 w 175523"/>
                <a:gd name="connsiteY1" fmla="*/ 0 h 133825"/>
                <a:gd name="connsiteX2" fmla="*/ 151350 w 175523"/>
                <a:gd name="connsiteY2" fmla="*/ 133825 h 133825"/>
                <a:gd name="connsiteX3" fmla="*/ 0 w 175523"/>
                <a:gd name="connsiteY3" fmla="*/ 127393 h 133825"/>
                <a:gd name="connsiteX4" fmla="*/ 44154 w 175523"/>
                <a:gd name="connsiteY4" fmla="*/ 46067 h 133825"/>
                <a:gd name="connsiteX0" fmla="*/ 44154 w 189551"/>
                <a:gd name="connsiteY0" fmla="*/ 46067 h 127393"/>
                <a:gd name="connsiteX1" fmla="*/ 175523 w 189551"/>
                <a:gd name="connsiteY1" fmla="*/ 0 h 127393"/>
                <a:gd name="connsiteX2" fmla="*/ 187353 w 189551"/>
                <a:gd name="connsiteY2" fmla="*/ 103801 h 127393"/>
                <a:gd name="connsiteX3" fmla="*/ 0 w 189551"/>
                <a:gd name="connsiteY3" fmla="*/ 127393 h 127393"/>
                <a:gd name="connsiteX4" fmla="*/ 44154 w 189551"/>
                <a:gd name="connsiteY4" fmla="*/ 46067 h 127393"/>
                <a:gd name="connsiteX0" fmla="*/ 32389 w 177786"/>
                <a:gd name="connsiteY0" fmla="*/ 46067 h 149222"/>
                <a:gd name="connsiteX1" fmla="*/ 163758 w 177786"/>
                <a:gd name="connsiteY1" fmla="*/ 0 h 149222"/>
                <a:gd name="connsiteX2" fmla="*/ 175588 w 177786"/>
                <a:gd name="connsiteY2" fmla="*/ 103801 h 149222"/>
                <a:gd name="connsiteX3" fmla="*/ 0 w 177786"/>
                <a:gd name="connsiteY3" fmla="*/ 149222 h 149222"/>
                <a:gd name="connsiteX4" fmla="*/ 32389 w 177786"/>
                <a:gd name="connsiteY4" fmla="*/ 46067 h 149222"/>
                <a:gd name="connsiteX0" fmla="*/ 19420 w 164817"/>
                <a:gd name="connsiteY0" fmla="*/ 46067 h 151007"/>
                <a:gd name="connsiteX1" fmla="*/ 150789 w 164817"/>
                <a:gd name="connsiteY1" fmla="*/ 0 h 151007"/>
                <a:gd name="connsiteX2" fmla="*/ 162619 w 164817"/>
                <a:gd name="connsiteY2" fmla="*/ 103801 h 151007"/>
                <a:gd name="connsiteX3" fmla="*/ 0 w 164817"/>
                <a:gd name="connsiteY3" fmla="*/ 151007 h 151007"/>
                <a:gd name="connsiteX4" fmla="*/ 19420 w 164817"/>
                <a:gd name="connsiteY4" fmla="*/ 46067 h 151007"/>
                <a:gd name="connsiteX0" fmla="*/ 19420 w 164817"/>
                <a:gd name="connsiteY0" fmla="*/ 46067 h 151007"/>
                <a:gd name="connsiteX1" fmla="*/ 150789 w 164817"/>
                <a:gd name="connsiteY1" fmla="*/ 0 h 151007"/>
                <a:gd name="connsiteX2" fmla="*/ 162619 w 164817"/>
                <a:gd name="connsiteY2" fmla="*/ 103801 h 151007"/>
                <a:gd name="connsiteX3" fmla="*/ 91869 w 164817"/>
                <a:gd name="connsiteY3" fmla="*/ 88175 h 151007"/>
                <a:gd name="connsiteX4" fmla="*/ 0 w 164817"/>
                <a:gd name="connsiteY4" fmla="*/ 151007 h 151007"/>
                <a:gd name="connsiteX5" fmla="*/ 19420 w 164817"/>
                <a:gd name="connsiteY5" fmla="*/ 46067 h 151007"/>
                <a:gd name="connsiteX0" fmla="*/ 19420 w 174815"/>
                <a:gd name="connsiteY0" fmla="*/ 46067 h 151007"/>
                <a:gd name="connsiteX1" fmla="*/ 150789 w 174815"/>
                <a:gd name="connsiteY1" fmla="*/ 0 h 151007"/>
                <a:gd name="connsiteX2" fmla="*/ 173243 w 174815"/>
                <a:gd name="connsiteY2" fmla="*/ 94381 h 151007"/>
                <a:gd name="connsiteX3" fmla="*/ 91869 w 174815"/>
                <a:gd name="connsiteY3" fmla="*/ 88175 h 151007"/>
                <a:gd name="connsiteX4" fmla="*/ 0 w 174815"/>
                <a:gd name="connsiteY4" fmla="*/ 151007 h 151007"/>
                <a:gd name="connsiteX5" fmla="*/ 19420 w 174815"/>
                <a:gd name="connsiteY5" fmla="*/ 46067 h 151007"/>
                <a:gd name="connsiteX0" fmla="*/ 19420 w 196614"/>
                <a:gd name="connsiteY0" fmla="*/ 46067 h 151007"/>
                <a:gd name="connsiteX1" fmla="*/ 150789 w 196614"/>
                <a:gd name="connsiteY1" fmla="*/ 0 h 151007"/>
                <a:gd name="connsiteX2" fmla="*/ 195632 w 196614"/>
                <a:gd name="connsiteY2" fmla="*/ 106790 h 151007"/>
                <a:gd name="connsiteX3" fmla="*/ 91869 w 196614"/>
                <a:gd name="connsiteY3" fmla="*/ 88175 h 151007"/>
                <a:gd name="connsiteX4" fmla="*/ 0 w 196614"/>
                <a:gd name="connsiteY4" fmla="*/ 151007 h 151007"/>
                <a:gd name="connsiteX5" fmla="*/ 19420 w 196614"/>
                <a:gd name="connsiteY5" fmla="*/ 46067 h 151007"/>
                <a:gd name="connsiteX0" fmla="*/ 19420 w 211131"/>
                <a:gd name="connsiteY0" fmla="*/ 46067 h 151007"/>
                <a:gd name="connsiteX1" fmla="*/ 150789 w 211131"/>
                <a:gd name="connsiteY1" fmla="*/ 0 h 151007"/>
                <a:gd name="connsiteX2" fmla="*/ 210343 w 211131"/>
                <a:gd name="connsiteY2" fmla="*/ 129802 h 151007"/>
                <a:gd name="connsiteX3" fmla="*/ 91869 w 211131"/>
                <a:gd name="connsiteY3" fmla="*/ 88175 h 151007"/>
                <a:gd name="connsiteX4" fmla="*/ 0 w 211131"/>
                <a:gd name="connsiteY4" fmla="*/ 151007 h 151007"/>
                <a:gd name="connsiteX5" fmla="*/ 19420 w 211131"/>
                <a:gd name="connsiteY5" fmla="*/ 46067 h 151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1131" h="151007">
                  <a:moveTo>
                    <a:pt x="19420" y="46067"/>
                  </a:moveTo>
                  <a:lnTo>
                    <a:pt x="150789" y="0"/>
                  </a:lnTo>
                  <a:cubicBezTo>
                    <a:pt x="150789" y="44422"/>
                    <a:pt x="219181" y="88928"/>
                    <a:pt x="210343" y="129802"/>
                  </a:cubicBezTo>
                  <a:cubicBezTo>
                    <a:pt x="187333" y="137368"/>
                    <a:pt x="114879" y="80609"/>
                    <a:pt x="91869" y="88175"/>
                  </a:cubicBezTo>
                  <a:lnTo>
                    <a:pt x="0" y="151007"/>
                  </a:lnTo>
                  <a:lnTo>
                    <a:pt x="19420" y="46067"/>
                  </a:lnTo>
                  <a:close/>
                </a:path>
              </a:pathLst>
            </a:custGeom>
            <a:solidFill>
              <a:srgbClr val="22777B"/>
            </a:solidFill>
            <a:ln>
              <a:solidFill>
                <a:srgbClr val="22777B"/>
              </a:solidFill>
            </a:ln>
          </p:spPr>
          <p:txBody>
            <a:bodyPr lIns="72000" rIns="72000" rtlCol="0" anchor="t">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grpSp>
      <p:sp>
        <p:nvSpPr>
          <p:cNvPr id="64" name="Speech Bubble: Rectangle 63">
            <a:extLst>
              <a:ext uri="{FF2B5EF4-FFF2-40B4-BE49-F238E27FC236}">
                <a16:creationId xmlns:a16="http://schemas.microsoft.com/office/drawing/2014/main" id="{A91B42A5-FBC4-43FC-9205-4D8116C13D41}"/>
              </a:ext>
            </a:extLst>
          </p:cNvPr>
          <p:cNvSpPr/>
          <p:nvPr/>
        </p:nvSpPr>
        <p:spPr>
          <a:xfrm>
            <a:off x="1295400" y="2150556"/>
            <a:ext cx="1364814" cy="512994"/>
          </a:xfrm>
          <a:prstGeom prst="wedgeRectCallout">
            <a:avLst>
              <a:gd name="adj1" fmla="val 62226"/>
              <a:gd name="adj2" fmla="val 40219"/>
            </a:avLst>
          </a:prstGeom>
          <a:solidFill>
            <a:schemeClr val="bg1">
              <a:lumMod val="50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Er kan gekozen worden voor een lange en korte variant</a:t>
            </a:r>
          </a:p>
        </p:txBody>
      </p:sp>
      <p:cxnSp>
        <p:nvCxnSpPr>
          <p:cNvPr id="75" name="Straight Connector 74">
            <a:extLst>
              <a:ext uri="{FF2B5EF4-FFF2-40B4-BE49-F238E27FC236}">
                <a16:creationId xmlns:a16="http://schemas.microsoft.com/office/drawing/2014/main" id="{C870D160-FA7F-45F0-A3FF-AA7FDD44D9D7}"/>
              </a:ext>
            </a:extLst>
          </p:cNvPr>
          <p:cNvCxnSpPr/>
          <p:nvPr/>
        </p:nvCxnSpPr>
        <p:spPr>
          <a:xfrm>
            <a:off x="658813" y="1786307"/>
            <a:ext cx="5319712" cy="0"/>
          </a:xfrm>
          <a:prstGeom prst="line">
            <a:avLst/>
          </a:prstGeom>
          <a:ln w="12700">
            <a:solidFill>
              <a:srgbClr val="22777B"/>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9CF43FA1-F23E-49E1-97EC-816CF415467F}"/>
              </a:ext>
            </a:extLst>
          </p:cNvPr>
          <p:cNvSpPr/>
          <p:nvPr/>
        </p:nvSpPr>
        <p:spPr>
          <a:xfrm>
            <a:off x="658813" y="1617429"/>
            <a:ext cx="5319712" cy="16675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Keuzes</a:t>
            </a:r>
          </a:p>
        </p:txBody>
      </p:sp>
      <p:cxnSp>
        <p:nvCxnSpPr>
          <p:cNvPr id="81" name="Straight Connector 80">
            <a:extLst>
              <a:ext uri="{FF2B5EF4-FFF2-40B4-BE49-F238E27FC236}">
                <a16:creationId xmlns:a16="http://schemas.microsoft.com/office/drawing/2014/main" id="{B54FEEB7-3694-4B01-AF30-5AB8056B32F7}"/>
              </a:ext>
            </a:extLst>
          </p:cNvPr>
          <p:cNvCxnSpPr/>
          <p:nvPr/>
        </p:nvCxnSpPr>
        <p:spPr>
          <a:xfrm>
            <a:off x="6213476" y="1786307"/>
            <a:ext cx="5319712" cy="0"/>
          </a:xfrm>
          <a:prstGeom prst="line">
            <a:avLst/>
          </a:prstGeom>
          <a:ln w="12700">
            <a:solidFill>
              <a:srgbClr val="22777B"/>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1B6D46AA-F2D6-40D2-BA6F-9BCDCA25409C}"/>
              </a:ext>
            </a:extLst>
          </p:cNvPr>
          <p:cNvSpPr/>
          <p:nvPr/>
        </p:nvSpPr>
        <p:spPr>
          <a:xfrm>
            <a:off x="6213476" y="1617429"/>
            <a:ext cx="5319712" cy="16675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a:ln>
                  <a:noFill/>
                </a:ln>
                <a:effectLst/>
                <a:uLnTx/>
                <a:uFillTx/>
                <a:sym typeface="Corbel" panose="020B0503020204020204" pitchFamily="34" charset="0"/>
              </a:rPr>
              <a:t>Scenario’s (</a:t>
            </a:r>
            <a:r>
              <a:rPr kumimoji="0" lang="en-NL" sz="1000" b="1" i="0" u="none" strike="noStrike" kern="1200" cap="none" spc="0" normalizeH="0" baseline="0" noProof="0">
                <a:ln>
                  <a:noFill/>
                </a:ln>
                <a:effectLst/>
                <a:uLnTx/>
                <a:uFillTx/>
                <a:sym typeface="Corbel" panose="020B0503020204020204" pitchFamily="34" charset="0"/>
              </a:rPr>
              <a:t>bedragen in n</a:t>
            </a:r>
            <a:r>
              <a:rPr kumimoji="0" lang="nl-NL" sz="1000" b="1" i="0" u="none" strike="noStrike" kern="1200" cap="none" spc="0" normalizeH="0" baseline="0" noProof="0">
                <a:ln>
                  <a:noFill/>
                </a:ln>
                <a:effectLst/>
                <a:uLnTx/>
                <a:uFillTx/>
                <a:sym typeface="Corbel" panose="020B0503020204020204" pitchFamily="34" charset="0"/>
              </a:rPr>
              <a:t>etto </a:t>
            </a:r>
            <a:r>
              <a:rPr kumimoji="0" lang="en-NL" sz="1000" b="1" i="0" u="none" strike="noStrike" kern="1200" cap="none" spc="0" normalizeH="0" baseline="0" noProof="0">
                <a:ln>
                  <a:noFill/>
                </a:ln>
                <a:effectLst/>
                <a:uLnTx/>
                <a:uFillTx/>
                <a:sym typeface="Corbel" panose="020B0503020204020204" pitchFamily="34" charset="0"/>
              </a:rPr>
              <a:t>c</a:t>
            </a:r>
            <a:r>
              <a:rPr kumimoji="0" lang="nl-NL" sz="1000" b="1" i="0" u="none" strike="noStrike" kern="1200" cap="none" spc="0" normalizeH="0" baseline="0" noProof="0">
                <a:ln>
                  <a:noFill/>
                </a:ln>
                <a:effectLst/>
                <a:uLnTx/>
                <a:uFillTx/>
                <a:sym typeface="Corbel" panose="020B0503020204020204" pitchFamily="34" charset="0"/>
              </a:rPr>
              <a:t>ontante </a:t>
            </a:r>
            <a:r>
              <a:rPr lang="en-NL" sz="1000" b="1" dirty="0">
                <a:sym typeface="Corbel" panose="020B0503020204020204" pitchFamily="34" charset="0"/>
              </a:rPr>
              <a:t>w</a:t>
            </a:r>
            <a:r>
              <a:rPr kumimoji="0" lang="nl-NL" sz="1000" b="1" i="0" u="none" strike="noStrike" kern="1200" cap="none" spc="0" normalizeH="0" baseline="0" noProof="0">
                <a:ln>
                  <a:noFill/>
                </a:ln>
                <a:effectLst/>
                <a:uLnTx/>
                <a:uFillTx/>
                <a:sym typeface="Corbel" panose="020B0503020204020204" pitchFamily="34" charset="0"/>
              </a:rPr>
              <a:t>aarde</a:t>
            </a:r>
            <a:r>
              <a:rPr kumimoji="0" lang="nl-NL" sz="1000" b="1" i="0" u="none" strike="noStrike" kern="1200" cap="none" spc="0" normalizeH="0" baseline="0" noProof="0" dirty="0">
                <a:ln>
                  <a:noFill/>
                </a:ln>
                <a:effectLst/>
                <a:uLnTx/>
                <a:uFillTx/>
                <a:sym typeface="Corbel" panose="020B0503020204020204" pitchFamily="34" charset="0"/>
              </a:rPr>
              <a:t>) </a:t>
            </a:r>
          </a:p>
        </p:txBody>
      </p:sp>
      <p:sp>
        <p:nvSpPr>
          <p:cNvPr id="88" name="Rectangle 87">
            <a:extLst>
              <a:ext uri="{FF2B5EF4-FFF2-40B4-BE49-F238E27FC236}">
                <a16:creationId xmlns:a16="http://schemas.microsoft.com/office/drawing/2014/main" id="{FD44BB91-3485-434E-A717-EEA987ABAF73}"/>
              </a:ext>
            </a:extLst>
          </p:cNvPr>
          <p:cNvSpPr/>
          <p:nvPr/>
        </p:nvSpPr>
        <p:spPr>
          <a:xfrm>
            <a:off x="5591181" y="2674965"/>
            <a:ext cx="1851628" cy="1713794"/>
          </a:xfrm>
          <a:prstGeom prst="rect">
            <a:avLst/>
          </a:prstGeom>
          <a:noFill/>
          <a:ln>
            <a:noFill/>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Lang </a:t>
            </a:r>
          </a:p>
        </p:txBody>
      </p:sp>
      <p:sp>
        <p:nvSpPr>
          <p:cNvPr id="90" name="Left Bracket 89">
            <a:extLst>
              <a:ext uri="{FF2B5EF4-FFF2-40B4-BE49-F238E27FC236}">
                <a16:creationId xmlns:a16="http://schemas.microsoft.com/office/drawing/2014/main" id="{33FFA312-A57C-43B4-87A7-EC49AFCBF9C2}"/>
              </a:ext>
            </a:extLst>
          </p:cNvPr>
          <p:cNvSpPr/>
          <p:nvPr/>
        </p:nvSpPr>
        <p:spPr>
          <a:xfrm>
            <a:off x="7333947" y="2669128"/>
            <a:ext cx="108862" cy="1719633"/>
          </a:xfrm>
          <a:prstGeom prst="leftBracke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89" name="Rectangle 88">
            <a:extLst>
              <a:ext uri="{FF2B5EF4-FFF2-40B4-BE49-F238E27FC236}">
                <a16:creationId xmlns:a16="http://schemas.microsoft.com/office/drawing/2014/main" id="{5FDAEB95-E757-469E-9547-BFAA5CFE21AF}"/>
              </a:ext>
            </a:extLst>
          </p:cNvPr>
          <p:cNvSpPr/>
          <p:nvPr/>
        </p:nvSpPr>
        <p:spPr>
          <a:xfrm>
            <a:off x="5591181" y="4594926"/>
            <a:ext cx="1851628" cy="1713794"/>
          </a:xfrm>
          <a:prstGeom prst="rect">
            <a:avLst/>
          </a:prstGeom>
          <a:noFill/>
          <a:ln>
            <a:noFill/>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Kort </a:t>
            </a:r>
          </a:p>
        </p:txBody>
      </p:sp>
      <p:sp>
        <p:nvSpPr>
          <p:cNvPr id="91" name="Left Bracket 90">
            <a:extLst>
              <a:ext uri="{FF2B5EF4-FFF2-40B4-BE49-F238E27FC236}">
                <a16:creationId xmlns:a16="http://schemas.microsoft.com/office/drawing/2014/main" id="{5AD38B03-9D55-4257-8B21-99E6FC338F11}"/>
              </a:ext>
            </a:extLst>
          </p:cNvPr>
          <p:cNvSpPr/>
          <p:nvPr/>
        </p:nvSpPr>
        <p:spPr>
          <a:xfrm>
            <a:off x="7333947" y="4584403"/>
            <a:ext cx="108862" cy="1719633"/>
          </a:xfrm>
          <a:prstGeom prst="leftBracke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86" name="Rectangle 85">
            <a:extLst>
              <a:ext uri="{FF2B5EF4-FFF2-40B4-BE49-F238E27FC236}">
                <a16:creationId xmlns:a16="http://schemas.microsoft.com/office/drawing/2014/main" id="{9A021BA3-E6F1-4EA6-9E6C-B33509EBF6E0}"/>
              </a:ext>
            </a:extLst>
          </p:cNvPr>
          <p:cNvSpPr/>
          <p:nvPr/>
        </p:nvSpPr>
        <p:spPr>
          <a:xfrm>
            <a:off x="7831893" y="1894987"/>
            <a:ext cx="1789070" cy="434869"/>
          </a:xfrm>
          <a:prstGeom prst="rect">
            <a:avLst/>
          </a:prstGeom>
          <a:noFill/>
          <a:ln>
            <a:noFill/>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Met tunnel</a:t>
            </a:r>
          </a:p>
        </p:txBody>
      </p:sp>
      <p:sp>
        <p:nvSpPr>
          <p:cNvPr id="92" name="Left Bracket 91">
            <a:extLst>
              <a:ext uri="{FF2B5EF4-FFF2-40B4-BE49-F238E27FC236}">
                <a16:creationId xmlns:a16="http://schemas.microsoft.com/office/drawing/2014/main" id="{E7803D52-6B52-41BD-AD98-B1E80E989FAD}"/>
              </a:ext>
            </a:extLst>
          </p:cNvPr>
          <p:cNvSpPr/>
          <p:nvPr/>
        </p:nvSpPr>
        <p:spPr>
          <a:xfrm rot="5400000">
            <a:off x="8671856" y="1453159"/>
            <a:ext cx="104358" cy="1793856"/>
          </a:xfrm>
          <a:prstGeom prst="leftBracke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95" name="Rectangle 94">
            <a:extLst>
              <a:ext uri="{FF2B5EF4-FFF2-40B4-BE49-F238E27FC236}">
                <a16:creationId xmlns:a16="http://schemas.microsoft.com/office/drawing/2014/main" id="{905B6BFB-F9DF-421A-B3AF-EBB950EA0D0B}"/>
              </a:ext>
            </a:extLst>
          </p:cNvPr>
          <p:cNvSpPr/>
          <p:nvPr/>
        </p:nvSpPr>
        <p:spPr>
          <a:xfrm>
            <a:off x="9736183" y="1894987"/>
            <a:ext cx="1789070" cy="434869"/>
          </a:xfrm>
          <a:prstGeom prst="rect">
            <a:avLst/>
          </a:prstGeom>
          <a:noFill/>
          <a:ln>
            <a:noFill/>
          </a:ln>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0" i="0" u="none" strike="noStrike" kern="1200" cap="none" spc="0" normalizeH="0" baseline="0" noProof="0" dirty="0">
                <a:ln>
                  <a:noFill/>
                </a:ln>
                <a:effectLst/>
                <a:uLnTx/>
                <a:uFillTx/>
                <a:latin typeface="Corbel" panose="020B0503020204020204" pitchFamily="34" charset="0"/>
                <a:ea typeface="+mn-ea"/>
                <a:cs typeface="+mn-cs"/>
              </a:rPr>
              <a:t>Zonder tunnel</a:t>
            </a:r>
          </a:p>
        </p:txBody>
      </p:sp>
      <p:sp>
        <p:nvSpPr>
          <p:cNvPr id="96" name="Left Bracket 95">
            <a:extLst>
              <a:ext uri="{FF2B5EF4-FFF2-40B4-BE49-F238E27FC236}">
                <a16:creationId xmlns:a16="http://schemas.microsoft.com/office/drawing/2014/main" id="{3A51BA2F-6174-4900-840E-CB23EF1E87A5}"/>
              </a:ext>
            </a:extLst>
          </p:cNvPr>
          <p:cNvSpPr/>
          <p:nvPr/>
        </p:nvSpPr>
        <p:spPr>
          <a:xfrm rot="5400000">
            <a:off x="10576146" y="1453159"/>
            <a:ext cx="104358" cy="1793856"/>
          </a:xfrm>
          <a:prstGeom prst="leftBracket">
            <a:avLst/>
          </a:prstGeom>
          <a:ln w="12700"/>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00" name="Rectangle 99">
            <a:extLst>
              <a:ext uri="{FF2B5EF4-FFF2-40B4-BE49-F238E27FC236}">
                <a16:creationId xmlns:a16="http://schemas.microsoft.com/office/drawing/2014/main" id="{7BFE53DB-9063-44F6-BB87-C23C64DE419C}"/>
              </a:ext>
            </a:extLst>
          </p:cNvPr>
          <p:cNvSpPr/>
          <p:nvPr/>
        </p:nvSpPr>
        <p:spPr>
          <a:xfrm>
            <a:off x="7833118" y="2669126"/>
            <a:ext cx="1793856" cy="1719634"/>
          </a:xfrm>
          <a:prstGeom prst="rect">
            <a:avLst/>
          </a:prstGeom>
          <a:solidFill>
            <a:schemeClr val="bg1">
              <a:lumMod val="95000"/>
            </a:schemeClr>
          </a:solidFill>
          <a:ln>
            <a:solidFill>
              <a:schemeClr val="bg1">
                <a:lumMod val="65000"/>
              </a:schemeClr>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ang met tunnel</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b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 </a:t>
            </a:r>
            <a:r>
              <a:rPr kumimoji="0" lang="nl-NL" sz="100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ld</a:t>
            </a:r>
            <a:endParaRPr kumimoji="0" lang="nl-NL"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1" name="Rectangle 100">
            <a:extLst>
              <a:ext uri="{FF2B5EF4-FFF2-40B4-BE49-F238E27FC236}">
                <a16:creationId xmlns:a16="http://schemas.microsoft.com/office/drawing/2014/main" id="{EC60561B-3918-441A-AD39-B3840DC64F0E}"/>
              </a:ext>
            </a:extLst>
          </p:cNvPr>
          <p:cNvSpPr/>
          <p:nvPr/>
        </p:nvSpPr>
        <p:spPr>
          <a:xfrm>
            <a:off x="9731397" y="2669126"/>
            <a:ext cx="1793856" cy="1719634"/>
          </a:xfrm>
          <a:prstGeom prst="rect">
            <a:avLst/>
          </a:prstGeom>
          <a:solidFill>
            <a:schemeClr val="bg1">
              <a:lumMod val="95000"/>
            </a:schemeClr>
          </a:solidFill>
          <a:ln>
            <a:solidFill>
              <a:schemeClr val="bg1">
                <a:lumMod val="65000"/>
              </a:schemeClr>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ang zonder tunnel</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b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 </a:t>
            </a:r>
            <a:r>
              <a:rPr kumimoji="0" lang="nl-NL" sz="100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ld</a:t>
            </a:r>
            <a:endParaRPr kumimoji="0" lang="nl-NL"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CC71186F-09C5-4992-94F1-222B2DEDB95F}"/>
              </a:ext>
            </a:extLst>
          </p:cNvPr>
          <p:cNvSpPr/>
          <p:nvPr/>
        </p:nvSpPr>
        <p:spPr>
          <a:xfrm>
            <a:off x="7833118" y="4578937"/>
            <a:ext cx="1793856" cy="1729787"/>
          </a:xfrm>
          <a:prstGeom prst="rect">
            <a:avLst/>
          </a:prstGeom>
          <a:solidFill>
            <a:schemeClr val="bg1">
              <a:lumMod val="95000"/>
            </a:schemeClr>
          </a:solidFill>
          <a:ln>
            <a:solidFill>
              <a:schemeClr val="bg1">
                <a:lumMod val="65000"/>
              </a:schemeClr>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Kort met tunnel</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b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5 </a:t>
            </a:r>
            <a:r>
              <a:rPr kumimoji="0" lang="nl-NL" sz="100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ld</a:t>
            </a:r>
            <a:endParaRPr kumimoji="0" lang="nl-NL"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4" name="Rectangle 103">
            <a:extLst>
              <a:ext uri="{FF2B5EF4-FFF2-40B4-BE49-F238E27FC236}">
                <a16:creationId xmlns:a16="http://schemas.microsoft.com/office/drawing/2014/main" id="{D5017C2E-0583-4296-8922-B812F4AAEF13}"/>
              </a:ext>
            </a:extLst>
          </p:cNvPr>
          <p:cNvSpPr/>
          <p:nvPr/>
        </p:nvSpPr>
        <p:spPr>
          <a:xfrm>
            <a:off x="9731397" y="4578937"/>
            <a:ext cx="1793856" cy="1729787"/>
          </a:xfrm>
          <a:prstGeom prst="rect">
            <a:avLst/>
          </a:prstGeom>
          <a:solidFill>
            <a:schemeClr val="bg1">
              <a:lumMod val="95000"/>
            </a:schemeClr>
          </a:solidFill>
          <a:ln>
            <a:solidFill>
              <a:schemeClr val="bg1">
                <a:lumMod val="65000"/>
              </a:schemeClr>
            </a:solidFill>
          </a:ln>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t>Kort</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zonder tunnel</a:t>
            </a:r>
            <a:b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b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3 </a:t>
            </a:r>
            <a:r>
              <a:rPr kumimoji="0" lang="nl-NL" sz="100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ld</a:t>
            </a:r>
            <a:endParaRPr kumimoji="0" lang="nl-NL"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37259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64D0A2-2D67-4899-B28B-1A3F31954A8F}"/>
              </a:ext>
            </a:extLst>
          </p:cNvPr>
          <p:cNvGraphicFramePr>
            <a:graphicFrameLocks noChangeAspect="1"/>
          </p:cNvGraphicFramePr>
          <p:nvPr>
            <p:custDataLst>
              <p:tags r:id="rId1"/>
            </p:custDataLst>
            <p:extLst>
              <p:ext uri="{D42A27DB-BD31-4B8C-83A1-F6EECF244321}">
                <p14:modId xmlns:p14="http://schemas.microsoft.com/office/powerpoint/2010/main" val="34038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D864D0A2-2D67-4899-B28B-1A3F31954A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D5500DE-56E8-4192-B1E2-45F3D6063CE9}"/>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Slide Number Placeholder 2">
            <a:extLst>
              <a:ext uri="{FF2B5EF4-FFF2-40B4-BE49-F238E27FC236}">
                <a16:creationId xmlns:a16="http://schemas.microsoft.com/office/drawing/2014/main" id="{B4F98C12-55DF-414E-8E31-D24F374AEEDE}"/>
              </a:ext>
            </a:extLst>
          </p:cNvPr>
          <p:cNvSpPr>
            <a:spLocks noGrp="1"/>
          </p:cNvSpPr>
          <p:nvPr>
            <p:ph type="sldNum" sz="quarter" idx="12"/>
          </p:nvPr>
        </p:nvSpPr>
        <p:spPr/>
        <p:txBody>
          <a:bodyPr/>
          <a:lstStyle/>
          <a:p>
            <a:fld id="{992CD0B2-8AB2-4C6C-8876-E15753662C9B}" type="slidenum">
              <a:rPr lang="nl-NL" smtClean="0"/>
              <a:pPr/>
              <a:t>5</a:t>
            </a:fld>
            <a:endParaRPr lang="nl-NL" dirty="0"/>
          </a:p>
        </p:txBody>
      </p:sp>
      <p:sp>
        <p:nvSpPr>
          <p:cNvPr id="7" name="Title 6">
            <a:extLst>
              <a:ext uri="{FF2B5EF4-FFF2-40B4-BE49-F238E27FC236}">
                <a16:creationId xmlns:a16="http://schemas.microsoft.com/office/drawing/2014/main" id="{785C0C80-9216-4805-BDD5-B36983F0DC09}"/>
              </a:ext>
            </a:extLst>
          </p:cNvPr>
          <p:cNvSpPr>
            <a:spLocks noGrp="1"/>
          </p:cNvSpPr>
          <p:nvPr>
            <p:ph type="title"/>
          </p:nvPr>
        </p:nvSpPr>
        <p:spPr/>
        <p:txBody>
          <a:bodyPr vert="horz"/>
          <a:lstStyle/>
          <a:p>
            <a:r>
              <a:rPr lang="en-NL"/>
              <a:t>F</a:t>
            </a:r>
            <a:r>
              <a:rPr lang="nl-NL"/>
              <a:t>inanciële</a:t>
            </a:r>
            <a:r>
              <a:rPr lang="en-NL"/>
              <a:t> en </a:t>
            </a:r>
            <a:r>
              <a:rPr lang="nl-NL"/>
              <a:t>publieke</a:t>
            </a:r>
            <a:r>
              <a:rPr lang="en-NL"/>
              <a:t> business case, </a:t>
            </a:r>
            <a:r>
              <a:rPr lang="nl-NL"/>
              <a:t>en </a:t>
            </a:r>
            <a:r>
              <a:rPr lang="nl-NL" dirty="0"/>
              <a:t>maatschappelijke kosten- en baten </a:t>
            </a:r>
            <a:r>
              <a:rPr lang="nl-NL"/>
              <a:t>analyse </a:t>
            </a:r>
            <a:r>
              <a:rPr lang="en-NL"/>
              <a:t>(MKBA) omvatten </a:t>
            </a:r>
            <a:r>
              <a:rPr lang="nl-NL"/>
              <a:t>verschillende </a:t>
            </a:r>
            <a:r>
              <a:rPr lang="nl-NL" dirty="0"/>
              <a:t>typen kosten </a:t>
            </a:r>
            <a:r>
              <a:rPr lang="nl-NL"/>
              <a:t>en baten</a:t>
            </a:r>
            <a:endParaRPr lang="nl-NL" dirty="0"/>
          </a:p>
        </p:txBody>
      </p:sp>
      <p:sp>
        <p:nvSpPr>
          <p:cNvPr id="52" name="Text Placeholder 6">
            <a:extLst>
              <a:ext uri="{FF2B5EF4-FFF2-40B4-BE49-F238E27FC236}">
                <a16:creationId xmlns:a16="http://schemas.microsoft.com/office/drawing/2014/main" id="{0E8F5026-63CD-448D-A628-9446A3D82ABE}"/>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nl-NL" b="1" dirty="0"/>
          </a:p>
        </p:txBody>
      </p:sp>
      <p:sp>
        <p:nvSpPr>
          <p:cNvPr id="40" name="Rectangle 39">
            <a:extLst>
              <a:ext uri="{FF2B5EF4-FFF2-40B4-BE49-F238E27FC236}">
                <a16:creationId xmlns:a16="http://schemas.microsoft.com/office/drawing/2014/main" id="{80C59FA8-9873-42C4-B0DE-FF73501C613F}"/>
              </a:ext>
            </a:extLst>
          </p:cNvPr>
          <p:cNvSpPr/>
          <p:nvPr/>
        </p:nvSpPr>
        <p:spPr>
          <a:xfrm>
            <a:off x="671636" y="1840372"/>
            <a:ext cx="1148400" cy="1240554"/>
          </a:xfrm>
          <a:prstGeom prst="rect">
            <a:avLst/>
          </a:prstGeom>
          <a:noFill/>
          <a:ln w="9525">
            <a:noFill/>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Directe kosten en baten</a:t>
            </a:r>
          </a:p>
        </p:txBody>
      </p:sp>
      <p:sp>
        <p:nvSpPr>
          <p:cNvPr id="44" name="Rectangle 43">
            <a:extLst>
              <a:ext uri="{FF2B5EF4-FFF2-40B4-BE49-F238E27FC236}">
                <a16:creationId xmlns:a16="http://schemas.microsoft.com/office/drawing/2014/main" id="{47AEF6C3-B749-4132-88B1-117DECC09AA4}"/>
              </a:ext>
            </a:extLst>
          </p:cNvPr>
          <p:cNvSpPr/>
          <p:nvPr/>
        </p:nvSpPr>
        <p:spPr>
          <a:xfrm>
            <a:off x="671636" y="3163758"/>
            <a:ext cx="1148400" cy="1240554"/>
          </a:xfrm>
          <a:prstGeom prst="rect">
            <a:avLst/>
          </a:prstGeom>
          <a:noFill/>
          <a:ln w="9525">
            <a:noFill/>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Indirecte kosten en baten </a:t>
            </a:r>
            <a:br>
              <a:rPr lang="nl-NL" sz="1000" b="1" dirty="0"/>
            </a:br>
            <a:r>
              <a:rPr lang="nl-NL" sz="1000" dirty="0"/>
              <a:t>(Bijv. voor andere afdelingen)</a:t>
            </a:r>
            <a:endParaRPr lang="nl-NL" sz="1000" b="1" dirty="0"/>
          </a:p>
        </p:txBody>
      </p:sp>
      <p:sp>
        <p:nvSpPr>
          <p:cNvPr id="46" name="Rectangle 45">
            <a:extLst>
              <a:ext uri="{FF2B5EF4-FFF2-40B4-BE49-F238E27FC236}">
                <a16:creationId xmlns:a16="http://schemas.microsoft.com/office/drawing/2014/main" id="{2249411A-86D6-4F6C-96E3-D6F3AACF0EB2}"/>
              </a:ext>
            </a:extLst>
          </p:cNvPr>
          <p:cNvSpPr/>
          <p:nvPr/>
        </p:nvSpPr>
        <p:spPr>
          <a:xfrm>
            <a:off x="671636" y="4487145"/>
            <a:ext cx="1148400" cy="1240554"/>
          </a:xfrm>
          <a:prstGeom prst="rect">
            <a:avLst/>
          </a:prstGeom>
          <a:noFill/>
          <a:ln w="9525">
            <a:noFill/>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t>Maatschappelijke kosten </a:t>
            </a:r>
            <a:r>
              <a:rPr lang="nl-NL" sz="1000" b="1"/>
              <a:t>en baten</a:t>
            </a:r>
            <a:endParaRPr lang="nl-NL" sz="1000" b="1" dirty="0"/>
          </a:p>
        </p:txBody>
      </p:sp>
      <p:sp>
        <p:nvSpPr>
          <p:cNvPr id="49" name="Rectangle 48">
            <a:extLst>
              <a:ext uri="{FF2B5EF4-FFF2-40B4-BE49-F238E27FC236}">
                <a16:creationId xmlns:a16="http://schemas.microsoft.com/office/drawing/2014/main" id="{4AC9D62B-8709-4BB9-9201-C5A40DC075F1}"/>
              </a:ext>
            </a:extLst>
          </p:cNvPr>
          <p:cNvSpPr/>
          <p:nvPr/>
        </p:nvSpPr>
        <p:spPr>
          <a:xfrm>
            <a:off x="1935647" y="1840369"/>
            <a:ext cx="1628555" cy="1240553"/>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vesteringen</a:t>
            </a:r>
          </a:p>
        </p:txBody>
      </p:sp>
      <p:sp>
        <p:nvSpPr>
          <p:cNvPr id="62" name="Rectangle 61">
            <a:extLst>
              <a:ext uri="{FF2B5EF4-FFF2-40B4-BE49-F238E27FC236}">
                <a16:creationId xmlns:a16="http://schemas.microsoft.com/office/drawing/2014/main" id="{92CC2D97-5950-4A83-B289-B9CE6519DC28}"/>
              </a:ext>
            </a:extLst>
          </p:cNvPr>
          <p:cNvSpPr/>
          <p:nvPr/>
        </p:nvSpPr>
        <p:spPr>
          <a:xfrm>
            <a:off x="3691441" y="1840369"/>
            <a:ext cx="1628555" cy="1240553"/>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Exploitatieopbrengsten</a:t>
            </a:r>
          </a:p>
        </p:txBody>
      </p:sp>
      <p:sp>
        <p:nvSpPr>
          <p:cNvPr id="63" name="Rectangle 62">
            <a:extLst>
              <a:ext uri="{FF2B5EF4-FFF2-40B4-BE49-F238E27FC236}">
                <a16:creationId xmlns:a16="http://schemas.microsoft.com/office/drawing/2014/main" id="{BF97B662-8FDF-4DBC-9E28-B3FD21E262C2}"/>
              </a:ext>
            </a:extLst>
          </p:cNvPr>
          <p:cNvSpPr/>
          <p:nvPr/>
        </p:nvSpPr>
        <p:spPr>
          <a:xfrm>
            <a:off x="5451696" y="1840369"/>
            <a:ext cx="1628555" cy="1240553"/>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Exploitatiekosten</a:t>
            </a:r>
          </a:p>
        </p:txBody>
      </p:sp>
      <p:sp>
        <p:nvSpPr>
          <p:cNvPr id="66" name="Rectangle 65">
            <a:extLst>
              <a:ext uri="{FF2B5EF4-FFF2-40B4-BE49-F238E27FC236}">
                <a16:creationId xmlns:a16="http://schemas.microsoft.com/office/drawing/2014/main" id="{029080DF-A9B0-426D-B1AF-349078E157E1}"/>
              </a:ext>
            </a:extLst>
          </p:cNvPr>
          <p:cNvSpPr/>
          <p:nvPr/>
        </p:nvSpPr>
        <p:spPr>
          <a:xfrm>
            <a:off x="1935647" y="3163759"/>
            <a:ext cx="1628555" cy="1240554"/>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directe lasten</a:t>
            </a:r>
          </a:p>
        </p:txBody>
      </p:sp>
      <p:sp>
        <p:nvSpPr>
          <p:cNvPr id="67" name="Rectangle 66">
            <a:extLst>
              <a:ext uri="{FF2B5EF4-FFF2-40B4-BE49-F238E27FC236}">
                <a16:creationId xmlns:a16="http://schemas.microsoft.com/office/drawing/2014/main" id="{6797BEA0-FB96-4AAC-812F-4B295AA35599}"/>
              </a:ext>
            </a:extLst>
          </p:cNvPr>
          <p:cNvSpPr/>
          <p:nvPr/>
        </p:nvSpPr>
        <p:spPr>
          <a:xfrm>
            <a:off x="3691441" y="3163759"/>
            <a:ext cx="1628555" cy="1240554"/>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directe baten</a:t>
            </a:r>
          </a:p>
        </p:txBody>
      </p:sp>
      <p:sp>
        <p:nvSpPr>
          <p:cNvPr id="68" name="Rectangle 67">
            <a:extLst>
              <a:ext uri="{FF2B5EF4-FFF2-40B4-BE49-F238E27FC236}">
                <a16:creationId xmlns:a16="http://schemas.microsoft.com/office/drawing/2014/main" id="{44BBE34F-CA45-4557-AE28-45900C5FEE36}"/>
              </a:ext>
            </a:extLst>
          </p:cNvPr>
          <p:cNvSpPr/>
          <p:nvPr/>
        </p:nvSpPr>
        <p:spPr>
          <a:xfrm>
            <a:off x="1935647" y="4487146"/>
            <a:ext cx="1628555" cy="1240554"/>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Maatschappelijke lasten</a:t>
            </a:r>
          </a:p>
        </p:txBody>
      </p:sp>
      <p:sp>
        <p:nvSpPr>
          <p:cNvPr id="69" name="Rectangle 68">
            <a:extLst>
              <a:ext uri="{FF2B5EF4-FFF2-40B4-BE49-F238E27FC236}">
                <a16:creationId xmlns:a16="http://schemas.microsoft.com/office/drawing/2014/main" id="{75846055-F680-41A7-907C-A1A63A14A98F}"/>
              </a:ext>
            </a:extLst>
          </p:cNvPr>
          <p:cNvSpPr/>
          <p:nvPr/>
        </p:nvSpPr>
        <p:spPr>
          <a:xfrm>
            <a:off x="3691441" y="4487146"/>
            <a:ext cx="1628555" cy="1240554"/>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Maatschappelijke baten</a:t>
            </a:r>
          </a:p>
        </p:txBody>
      </p:sp>
      <p:grpSp>
        <p:nvGrpSpPr>
          <p:cNvPr id="21" name="Group 20">
            <a:extLst>
              <a:ext uri="{FF2B5EF4-FFF2-40B4-BE49-F238E27FC236}">
                <a16:creationId xmlns:a16="http://schemas.microsoft.com/office/drawing/2014/main" id="{8783ED6D-A087-4D81-ACDC-42DBE193C24A}"/>
              </a:ext>
            </a:extLst>
          </p:cNvPr>
          <p:cNvGrpSpPr/>
          <p:nvPr/>
        </p:nvGrpSpPr>
        <p:grpSpPr>
          <a:xfrm>
            <a:off x="666748" y="3118611"/>
            <a:ext cx="10866440" cy="1328374"/>
            <a:chOff x="666747" y="3281099"/>
            <a:chExt cx="10866441" cy="1541465"/>
          </a:xfrm>
        </p:grpSpPr>
        <p:cxnSp>
          <p:nvCxnSpPr>
            <p:cNvPr id="64" name="Straight Connector 63">
              <a:extLst>
                <a:ext uri="{FF2B5EF4-FFF2-40B4-BE49-F238E27FC236}">
                  <a16:creationId xmlns:a16="http://schemas.microsoft.com/office/drawing/2014/main" id="{1F96A5A1-14BC-4E65-9B5A-99D34C3ADC2C}"/>
                </a:ext>
              </a:extLst>
            </p:cNvPr>
            <p:cNvCxnSpPr>
              <a:cxnSpLocks/>
            </p:cNvCxnSpPr>
            <p:nvPr/>
          </p:nvCxnSpPr>
          <p:spPr>
            <a:xfrm>
              <a:off x="666747" y="3281099"/>
              <a:ext cx="108664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68A43D-D0EA-4457-9A76-228BD6D865FE}"/>
                </a:ext>
              </a:extLst>
            </p:cNvPr>
            <p:cNvCxnSpPr>
              <a:cxnSpLocks/>
            </p:cNvCxnSpPr>
            <p:nvPr/>
          </p:nvCxnSpPr>
          <p:spPr>
            <a:xfrm>
              <a:off x="666747" y="4822564"/>
              <a:ext cx="108664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0" name="Group 89">
            <a:extLst>
              <a:ext uri="{FF2B5EF4-FFF2-40B4-BE49-F238E27FC236}">
                <a16:creationId xmlns:a16="http://schemas.microsoft.com/office/drawing/2014/main" id="{AE14A3D0-A26A-4B20-9E8F-8F9F7868A2AB}"/>
              </a:ext>
            </a:extLst>
          </p:cNvPr>
          <p:cNvGrpSpPr/>
          <p:nvPr/>
        </p:nvGrpSpPr>
        <p:grpSpPr>
          <a:xfrm>
            <a:off x="7150101" y="1617429"/>
            <a:ext cx="1392241" cy="168878"/>
            <a:chOff x="8353531" y="1539107"/>
            <a:chExt cx="1104027" cy="195969"/>
          </a:xfrm>
        </p:grpSpPr>
        <p:cxnSp>
          <p:nvCxnSpPr>
            <p:cNvPr id="80" name="Straight Connector 79">
              <a:extLst>
                <a:ext uri="{FF2B5EF4-FFF2-40B4-BE49-F238E27FC236}">
                  <a16:creationId xmlns:a16="http://schemas.microsoft.com/office/drawing/2014/main" id="{502892B1-8024-4B3C-A703-28FA7FDAC344}"/>
                </a:ext>
              </a:extLst>
            </p:cNvPr>
            <p:cNvCxnSpPr/>
            <p:nvPr/>
          </p:nvCxnSpPr>
          <p:spPr>
            <a:xfrm>
              <a:off x="8353531" y="1735076"/>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1B19B4CF-3B5B-4803-A008-8F1A5289D18E}"/>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a:ln>
                    <a:noFill/>
                  </a:ln>
                  <a:effectLst/>
                  <a:uLnTx/>
                  <a:uFillTx/>
                  <a:sym typeface="Corbel" panose="020B0503020204020204" pitchFamily="34" charset="0"/>
                </a:rPr>
                <a:t>Financiële </a:t>
              </a:r>
              <a:r>
                <a:rPr kumimoji="0" lang="en-NL" sz="1000" b="1" i="0" u="none" strike="noStrike" kern="1200" cap="none" spc="0" normalizeH="0" baseline="0" noProof="0">
                  <a:ln>
                    <a:noFill/>
                  </a:ln>
                  <a:effectLst/>
                  <a:uLnTx/>
                  <a:uFillTx/>
                  <a:sym typeface="Corbel" panose="020B0503020204020204" pitchFamily="34" charset="0"/>
                </a:rPr>
                <a:t>business case</a:t>
              </a:r>
              <a:endParaRPr kumimoji="0" lang="nl-NL" sz="1000" b="1" i="0" u="none" strike="noStrike" kern="1200" cap="none" spc="0" normalizeH="0" baseline="0" noProof="0" dirty="0">
                <a:ln>
                  <a:noFill/>
                </a:ln>
                <a:effectLst/>
                <a:uLnTx/>
                <a:uFillTx/>
                <a:sym typeface="Corbel" panose="020B0503020204020204" pitchFamily="34" charset="0"/>
              </a:endParaRPr>
            </a:p>
          </p:txBody>
        </p:sp>
      </p:grpSp>
      <p:grpSp>
        <p:nvGrpSpPr>
          <p:cNvPr id="86" name="Group 85">
            <a:extLst>
              <a:ext uri="{FF2B5EF4-FFF2-40B4-BE49-F238E27FC236}">
                <a16:creationId xmlns:a16="http://schemas.microsoft.com/office/drawing/2014/main" id="{B7E2C516-207E-4574-AF62-B708B2DE86F4}"/>
              </a:ext>
            </a:extLst>
          </p:cNvPr>
          <p:cNvGrpSpPr/>
          <p:nvPr/>
        </p:nvGrpSpPr>
        <p:grpSpPr>
          <a:xfrm>
            <a:off x="8643505" y="1617429"/>
            <a:ext cx="1392241" cy="168878"/>
            <a:chOff x="9537779" y="1539107"/>
            <a:chExt cx="1104027" cy="195969"/>
          </a:xfrm>
        </p:grpSpPr>
        <p:cxnSp>
          <p:nvCxnSpPr>
            <p:cNvPr id="84" name="Straight Connector 83">
              <a:extLst>
                <a:ext uri="{FF2B5EF4-FFF2-40B4-BE49-F238E27FC236}">
                  <a16:creationId xmlns:a16="http://schemas.microsoft.com/office/drawing/2014/main" id="{4ED1F75D-97D2-475D-9436-18445107E1E3}"/>
                </a:ext>
              </a:extLst>
            </p:cNvPr>
            <p:cNvCxnSpPr/>
            <p:nvPr/>
          </p:nvCxnSpPr>
          <p:spPr>
            <a:xfrm>
              <a:off x="9537779" y="1735076"/>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5" name="Rectangle 84">
              <a:extLst>
                <a:ext uri="{FF2B5EF4-FFF2-40B4-BE49-F238E27FC236}">
                  <a16:creationId xmlns:a16="http://schemas.microsoft.com/office/drawing/2014/main" id="{941D33B2-A745-45B6-A041-C55216DB5FAD}"/>
                </a:ext>
              </a:extLst>
            </p:cNvPr>
            <p:cNvSpPr/>
            <p:nvPr/>
          </p:nvSpPr>
          <p:spPr>
            <a:xfrm>
              <a:off x="9537779"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NL" sz="1000" b="1" i="0" u="none" strike="noStrike" kern="1200" cap="none" spc="0" normalizeH="0" baseline="0" noProof="0">
                  <a:ln>
                    <a:noFill/>
                  </a:ln>
                  <a:effectLst/>
                  <a:uLnTx/>
                  <a:uFillTx/>
                  <a:sym typeface="Corbel" panose="020B0503020204020204" pitchFamily="34" charset="0"/>
                </a:rPr>
                <a:t>P</a:t>
              </a:r>
              <a:r>
                <a:rPr kumimoji="0" lang="nl-NL" sz="1000" b="1" i="0" u="none" strike="noStrike" kern="1200" cap="none" spc="0" normalizeH="0" baseline="0" noProof="0">
                  <a:ln>
                    <a:noFill/>
                  </a:ln>
                  <a:effectLst/>
                  <a:uLnTx/>
                  <a:uFillTx/>
                  <a:sym typeface="Corbel" panose="020B0503020204020204" pitchFamily="34" charset="0"/>
                </a:rPr>
                <a:t>ublieke </a:t>
              </a:r>
              <a:r>
                <a:rPr kumimoji="0" lang="en-NL" sz="1000" b="1" i="0" u="none" strike="noStrike" kern="1200" cap="none" spc="0" normalizeH="0" baseline="0" noProof="0">
                  <a:ln>
                    <a:noFill/>
                  </a:ln>
                  <a:effectLst/>
                  <a:uLnTx/>
                  <a:uFillTx/>
                  <a:sym typeface="Corbel" panose="020B0503020204020204" pitchFamily="34" charset="0"/>
                </a:rPr>
                <a:t>business case</a:t>
              </a:r>
              <a:endParaRPr kumimoji="0" lang="nl-NL" sz="1000" b="1" i="0" u="none" strike="noStrike" kern="1200" cap="none" spc="0" normalizeH="0" baseline="0" noProof="0" dirty="0">
                <a:ln>
                  <a:noFill/>
                </a:ln>
                <a:effectLst/>
                <a:uLnTx/>
                <a:uFillTx/>
                <a:sym typeface="Corbel" panose="020B0503020204020204" pitchFamily="34" charset="0"/>
              </a:endParaRPr>
            </a:p>
          </p:txBody>
        </p:sp>
      </p:grpSp>
      <p:grpSp>
        <p:nvGrpSpPr>
          <p:cNvPr id="82" name="Group 81">
            <a:extLst>
              <a:ext uri="{FF2B5EF4-FFF2-40B4-BE49-F238E27FC236}">
                <a16:creationId xmlns:a16="http://schemas.microsoft.com/office/drawing/2014/main" id="{50B5BB6E-EECB-42BB-B784-E559F06DA116}"/>
              </a:ext>
            </a:extLst>
          </p:cNvPr>
          <p:cNvGrpSpPr/>
          <p:nvPr/>
        </p:nvGrpSpPr>
        <p:grpSpPr>
          <a:xfrm>
            <a:off x="10140948" y="1617429"/>
            <a:ext cx="1392241" cy="168878"/>
            <a:chOff x="10725229" y="1539107"/>
            <a:chExt cx="1104027" cy="195969"/>
          </a:xfrm>
        </p:grpSpPr>
        <p:cxnSp>
          <p:nvCxnSpPr>
            <p:cNvPr id="88" name="Straight Connector 87">
              <a:extLst>
                <a:ext uri="{FF2B5EF4-FFF2-40B4-BE49-F238E27FC236}">
                  <a16:creationId xmlns:a16="http://schemas.microsoft.com/office/drawing/2014/main" id="{A72479F8-5006-40BB-935C-234904344C0C}"/>
                </a:ext>
              </a:extLst>
            </p:cNvPr>
            <p:cNvCxnSpPr/>
            <p:nvPr/>
          </p:nvCxnSpPr>
          <p:spPr>
            <a:xfrm>
              <a:off x="10725229" y="1735076"/>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435AB945-7A52-41B9-8F8D-C42F2E0557D7}"/>
                </a:ext>
              </a:extLst>
            </p:cNvPr>
            <p:cNvSpPr/>
            <p:nvPr/>
          </p:nvSpPr>
          <p:spPr>
            <a:xfrm>
              <a:off x="10725229"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MKBA</a:t>
              </a:r>
            </a:p>
          </p:txBody>
        </p:sp>
      </p:grpSp>
      <p:pic>
        <p:nvPicPr>
          <p:cNvPr id="97" name="Graphic 96" descr="Checkmark with solid fill">
            <a:extLst>
              <a:ext uri="{FF2B5EF4-FFF2-40B4-BE49-F238E27FC236}">
                <a16:creationId xmlns:a16="http://schemas.microsoft.com/office/drawing/2014/main" id="{C5ADDA34-B366-43BD-AEAA-567E626FCF4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691569" y="2334645"/>
            <a:ext cx="292428" cy="252000"/>
          </a:xfrm>
          <a:prstGeom prst="rect">
            <a:avLst/>
          </a:prstGeom>
        </p:spPr>
      </p:pic>
      <p:pic>
        <p:nvPicPr>
          <p:cNvPr id="98" name="Graphic 97" descr="Checkmark with solid fill">
            <a:extLst>
              <a:ext uri="{FF2B5EF4-FFF2-40B4-BE49-F238E27FC236}">
                <a16:creationId xmlns:a16="http://schemas.microsoft.com/office/drawing/2014/main" id="{A40C0639-6863-4067-A25E-E7059E18DC6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84973" y="2334645"/>
            <a:ext cx="292428" cy="252000"/>
          </a:xfrm>
          <a:prstGeom prst="rect">
            <a:avLst/>
          </a:prstGeom>
        </p:spPr>
      </p:pic>
      <p:pic>
        <p:nvPicPr>
          <p:cNvPr id="99" name="Graphic 98" descr="Checkmark with solid fill">
            <a:extLst>
              <a:ext uri="{FF2B5EF4-FFF2-40B4-BE49-F238E27FC236}">
                <a16:creationId xmlns:a16="http://schemas.microsoft.com/office/drawing/2014/main" id="{FD48A1EF-A74F-4FA5-AFF7-EBD06CD301B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82416" y="2334645"/>
            <a:ext cx="292428" cy="252000"/>
          </a:xfrm>
          <a:prstGeom prst="rect">
            <a:avLst/>
          </a:prstGeom>
        </p:spPr>
      </p:pic>
      <p:pic>
        <p:nvPicPr>
          <p:cNvPr id="100" name="Graphic 99" descr="Checkmark with solid fill">
            <a:extLst>
              <a:ext uri="{FF2B5EF4-FFF2-40B4-BE49-F238E27FC236}">
                <a16:creationId xmlns:a16="http://schemas.microsoft.com/office/drawing/2014/main" id="{3B3C2D4D-BD65-4CC6-A65D-EC7FF8665F6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184973" y="3658036"/>
            <a:ext cx="292428" cy="252000"/>
          </a:xfrm>
          <a:prstGeom prst="rect">
            <a:avLst/>
          </a:prstGeom>
        </p:spPr>
      </p:pic>
      <p:pic>
        <p:nvPicPr>
          <p:cNvPr id="101" name="Graphic 100" descr="Checkmark with solid fill">
            <a:extLst>
              <a:ext uri="{FF2B5EF4-FFF2-40B4-BE49-F238E27FC236}">
                <a16:creationId xmlns:a16="http://schemas.microsoft.com/office/drawing/2014/main" id="{6952FFC3-8736-4B52-A15D-F1C1632B804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82416" y="3658036"/>
            <a:ext cx="292428" cy="252000"/>
          </a:xfrm>
          <a:prstGeom prst="rect">
            <a:avLst/>
          </a:prstGeom>
        </p:spPr>
      </p:pic>
      <p:pic>
        <p:nvPicPr>
          <p:cNvPr id="102" name="Graphic 101" descr="Checkmark with solid fill">
            <a:extLst>
              <a:ext uri="{FF2B5EF4-FFF2-40B4-BE49-F238E27FC236}">
                <a16:creationId xmlns:a16="http://schemas.microsoft.com/office/drawing/2014/main" id="{981CCECB-58B0-4BF0-8392-70A38B1AFB3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682416" y="4981423"/>
            <a:ext cx="292428" cy="252000"/>
          </a:xfrm>
          <a:prstGeom prst="rect">
            <a:avLst/>
          </a:prstGeom>
        </p:spPr>
      </p:pic>
      <p:sp>
        <p:nvSpPr>
          <p:cNvPr id="103" name="Multiplication Sign 102">
            <a:extLst>
              <a:ext uri="{FF2B5EF4-FFF2-40B4-BE49-F238E27FC236}">
                <a16:creationId xmlns:a16="http://schemas.microsoft.com/office/drawing/2014/main" id="{DB15ED5E-143D-432F-BAA6-8CB350B4BDC4}"/>
              </a:ext>
            </a:extLst>
          </p:cNvPr>
          <p:cNvSpPr/>
          <p:nvPr/>
        </p:nvSpPr>
        <p:spPr>
          <a:xfrm>
            <a:off x="7684221" y="3640036"/>
            <a:ext cx="288000" cy="288000"/>
          </a:xfrm>
          <a:prstGeom prst="mathMultiply">
            <a:avLst>
              <a:gd name="adj1" fmla="val 16465"/>
            </a:avLst>
          </a:prstGeom>
          <a:solidFill>
            <a:srgbClr val="C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8" name="Multiplication Sign 107">
            <a:extLst>
              <a:ext uri="{FF2B5EF4-FFF2-40B4-BE49-F238E27FC236}">
                <a16:creationId xmlns:a16="http://schemas.microsoft.com/office/drawing/2014/main" id="{290267A2-0B8D-4508-A029-8BC5F12CC547}"/>
              </a:ext>
            </a:extLst>
          </p:cNvPr>
          <p:cNvSpPr/>
          <p:nvPr/>
        </p:nvSpPr>
        <p:spPr>
          <a:xfrm>
            <a:off x="7684221" y="4963423"/>
            <a:ext cx="288000" cy="288000"/>
          </a:xfrm>
          <a:prstGeom prst="mathMultiply">
            <a:avLst>
              <a:gd name="adj1" fmla="val 16465"/>
            </a:avLst>
          </a:prstGeom>
          <a:solidFill>
            <a:srgbClr val="C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09" name="Multiplication Sign 108">
            <a:extLst>
              <a:ext uri="{FF2B5EF4-FFF2-40B4-BE49-F238E27FC236}">
                <a16:creationId xmlns:a16="http://schemas.microsoft.com/office/drawing/2014/main" id="{50F47212-25CA-4A54-8258-32E5672FC77C}"/>
              </a:ext>
            </a:extLst>
          </p:cNvPr>
          <p:cNvSpPr/>
          <p:nvPr/>
        </p:nvSpPr>
        <p:spPr>
          <a:xfrm>
            <a:off x="9177625" y="4963423"/>
            <a:ext cx="288000" cy="288000"/>
          </a:xfrm>
          <a:prstGeom prst="mathMultiply">
            <a:avLst>
              <a:gd name="adj1" fmla="val 16465"/>
            </a:avLst>
          </a:prstGeom>
          <a:solidFill>
            <a:srgbClr val="C00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nvGrpSpPr>
          <p:cNvPr id="112" name="Group 111">
            <a:extLst>
              <a:ext uri="{FF2B5EF4-FFF2-40B4-BE49-F238E27FC236}">
                <a16:creationId xmlns:a16="http://schemas.microsoft.com/office/drawing/2014/main" id="{91A22675-8A6C-4A41-95BF-B37A2ADF7948}"/>
              </a:ext>
            </a:extLst>
          </p:cNvPr>
          <p:cNvGrpSpPr/>
          <p:nvPr/>
        </p:nvGrpSpPr>
        <p:grpSpPr>
          <a:xfrm>
            <a:off x="658813" y="1617429"/>
            <a:ext cx="6421438" cy="168878"/>
            <a:chOff x="8353531" y="1539107"/>
            <a:chExt cx="1104027" cy="195969"/>
          </a:xfrm>
        </p:grpSpPr>
        <p:cxnSp>
          <p:nvCxnSpPr>
            <p:cNvPr id="113" name="Straight Connector 112">
              <a:extLst>
                <a:ext uri="{FF2B5EF4-FFF2-40B4-BE49-F238E27FC236}">
                  <a16:creationId xmlns:a16="http://schemas.microsoft.com/office/drawing/2014/main" id="{90F33399-DDEF-499F-9E4D-01E445FF4DD4}"/>
                </a:ext>
              </a:extLst>
            </p:cNvPr>
            <p:cNvCxnSpPr/>
            <p:nvPr/>
          </p:nvCxnSpPr>
          <p:spPr>
            <a:xfrm>
              <a:off x="8353531" y="1735076"/>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3D43DB6-3AE1-4211-8A9E-8634386817D5}"/>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Typen kosten en baten</a:t>
              </a:r>
            </a:p>
          </p:txBody>
        </p:sp>
      </p:grpSp>
      <p:sp>
        <p:nvSpPr>
          <p:cNvPr id="41" name="Footer Placeholder 6">
            <a:extLst>
              <a:ext uri="{FF2B5EF4-FFF2-40B4-BE49-F238E27FC236}">
                <a16:creationId xmlns:a16="http://schemas.microsoft.com/office/drawing/2014/main" id="{B6AED159-F1F6-440A-8C7E-264FB3F1C0FE}"/>
              </a:ext>
            </a:extLst>
          </p:cNvPr>
          <p:cNvSpPr txBox="1">
            <a:spLocks/>
          </p:cNvSpPr>
          <p:nvPr/>
        </p:nvSpPr>
        <p:spPr>
          <a:xfrm>
            <a:off x="658813" y="6619875"/>
            <a:ext cx="9799639" cy="163512"/>
          </a:xfrm>
          <a:prstGeom prst="rect">
            <a:avLst/>
          </a:prstGeom>
        </p:spPr>
        <p:txBody>
          <a:bodyPr/>
          <a:ls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800"/>
              <a:t>B</a:t>
            </a:r>
            <a:r>
              <a:rPr lang="en-NL" sz="800"/>
              <a:t>ron: it’s public analyse</a:t>
            </a:r>
            <a:endParaRPr lang="nl-NL" sz="800" dirty="0"/>
          </a:p>
        </p:txBody>
      </p:sp>
    </p:spTree>
    <p:extLst>
      <p:ext uri="{BB962C8B-B14F-4D97-AF65-F5344CB8AC3E}">
        <p14:creationId xmlns:p14="http://schemas.microsoft.com/office/powerpoint/2010/main" val="735467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864D0A2-2D67-4899-B28B-1A3F31954A8F}"/>
              </a:ext>
            </a:extLst>
          </p:cNvPr>
          <p:cNvGraphicFramePr>
            <a:graphicFrameLocks noChangeAspect="1"/>
          </p:cNvGraphicFramePr>
          <p:nvPr>
            <p:custDataLst>
              <p:tags r:id="rId1"/>
            </p:custDataLst>
            <p:extLst>
              <p:ext uri="{D42A27DB-BD31-4B8C-83A1-F6EECF244321}">
                <p14:modId xmlns:p14="http://schemas.microsoft.com/office/powerpoint/2010/main" val="12416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D864D0A2-2D67-4899-B28B-1A3F31954A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4" name="Rectangle 103">
            <a:extLst>
              <a:ext uri="{FF2B5EF4-FFF2-40B4-BE49-F238E27FC236}">
                <a16:creationId xmlns:a16="http://schemas.microsoft.com/office/drawing/2014/main" id="{B492E757-999E-4A9B-B49E-78E5CAF472E0}"/>
              </a:ext>
            </a:extLst>
          </p:cNvPr>
          <p:cNvSpPr/>
          <p:nvPr/>
        </p:nvSpPr>
        <p:spPr>
          <a:xfrm>
            <a:off x="669159" y="1617429"/>
            <a:ext cx="2611324" cy="4701773"/>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Casus - </a:t>
            </a:r>
            <a:r>
              <a:rPr kumimoji="0" lang="nl-NL" sz="12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metrouitbreiding</a:t>
            </a:r>
            <a:endParaRPr kumimoji="0" lang="nl-NL" sz="2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 name="Rectangle 3" hidden="1">
            <a:extLst>
              <a:ext uri="{FF2B5EF4-FFF2-40B4-BE49-F238E27FC236}">
                <a16:creationId xmlns:a16="http://schemas.microsoft.com/office/drawing/2014/main" id="{1D5500DE-56E8-4192-B1E2-45F3D6063CE9}"/>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Slide Number Placeholder 2">
            <a:extLst>
              <a:ext uri="{FF2B5EF4-FFF2-40B4-BE49-F238E27FC236}">
                <a16:creationId xmlns:a16="http://schemas.microsoft.com/office/drawing/2014/main" id="{B4F98C12-55DF-414E-8E31-D24F374AEEDE}"/>
              </a:ext>
            </a:extLst>
          </p:cNvPr>
          <p:cNvSpPr>
            <a:spLocks noGrp="1"/>
          </p:cNvSpPr>
          <p:nvPr>
            <p:ph type="sldNum" sz="quarter" idx="12"/>
          </p:nvPr>
        </p:nvSpPr>
        <p:spPr/>
        <p:txBody>
          <a:bodyPr/>
          <a:lstStyle/>
          <a:p>
            <a:fld id="{992CD0B2-8AB2-4C6C-8876-E15753662C9B}" type="slidenum">
              <a:rPr lang="nl-NL" smtClean="0"/>
              <a:pPr/>
              <a:t>6</a:t>
            </a:fld>
            <a:endParaRPr lang="nl-NL" dirty="0"/>
          </a:p>
        </p:txBody>
      </p:sp>
      <p:sp>
        <p:nvSpPr>
          <p:cNvPr id="7" name="Title 6">
            <a:extLst>
              <a:ext uri="{FF2B5EF4-FFF2-40B4-BE49-F238E27FC236}">
                <a16:creationId xmlns:a16="http://schemas.microsoft.com/office/drawing/2014/main" id="{785C0C80-9216-4805-BDD5-B36983F0DC09}"/>
              </a:ext>
            </a:extLst>
          </p:cNvPr>
          <p:cNvSpPr>
            <a:spLocks noGrp="1"/>
          </p:cNvSpPr>
          <p:nvPr>
            <p:ph type="title"/>
          </p:nvPr>
        </p:nvSpPr>
        <p:spPr/>
        <p:txBody>
          <a:bodyPr vert="horz"/>
          <a:lstStyle/>
          <a:p>
            <a:r>
              <a:rPr lang="nl-NL"/>
              <a:t>Voorbeeld</a:t>
            </a:r>
            <a:r>
              <a:rPr lang="en-NL"/>
              <a:t>casus</a:t>
            </a:r>
            <a:r>
              <a:rPr lang="nl-NL"/>
              <a:t> – </a:t>
            </a:r>
            <a:r>
              <a:rPr lang="en-NL"/>
              <a:t>Metro-uitbreiding: doortrekken Noord/Zuidlijn en sluiten Ringlijn metro Amsterdam</a:t>
            </a:r>
            <a:endParaRPr lang="nl-NL" dirty="0"/>
          </a:p>
        </p:txBody>
      </p:sp>
      <p:sp>
        <p:nvSpPr>
          <p:cNvPr id="52" name="Text Placeholder 6">
            <a:extLst>
              <a:ext uri="{FF2B5EF4-FFF2-40B4-BE49-F238E27FC236}">
                <a16:creationId xmlns:a16="http://schemas.microsoft.com/office/drawing/2014/main" id="{0E8F5026-63CD-448D-A628-9446A3D82ABE}"/>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endParaRPr lang="nl-NL" b="1" dirty="0"/>
          </a:p>
        </p:txBody>
      </p:sp>
      <p:grpSp>
        <p:nvGrpSpPr>
          <p:cNvPr id="12" name="Group 11">
            <a:extLst>
              <a:ext uri="{FF2B5EF4-FFF2-40B4-BE49-F238E27FC236}">
                <a16:creationId xmlns:a16="http://schemas.microsoft.com/office/drawing/2014/main" id="{724C4BD6-28AC-457B-A2C7-74B8E860A046}"/>
              </a:ext>
            </a:extLst>
          </p:cNvPr>
          <p:cNvGrpSpPr/>
          <p:nvPr/>
        </p:nvGrpSpPr>
        <p:grpSpPr>
          <a:xfrm>
            <a:off x="3550294" y="1840372"/>
            <a:ext cx="1422363" cy="3887327"/>
            <a:chOff x="671636" y="1598592"/>
            <a:chExt cx="1148400" cy="5735658"/>
          </a:xfrm>
          <a:solidFill>
            <a:schemeClr val="bg1">
              <a:lumMod val="95000"/>
            </a:schemeClr>
          </a:solidFill>
        </p:grpSpPr>
        <p:sp>
          <p:nvSpPr>
            <p:cNvPr id="40" name="Rectangle 39">
              <a:extLst>
                <a:ext uri="{FF2B5EF4-FFF2-40B4-BE49-F238E27FC236}">
                  <a16:creationId xmlns:a16="http://schemas.microsoft.com/office/drawing/2014/main" id="{80C59FA8-9873-42C4-B0DE-FF73501C613F}"/>
                </a:ext>
              </a:extLst>
            </p:cNvPr>
            <p:cNvSpPr/>
            <p:nvPr/>
          </p:nvSpPr>
          <p:spPr>
            <a:xfrm>
              <a:off x="671636" y="1598592"/>
              <a:ext cx="1148400" cy="1830408"/>
            </a:xfrm>
            <a:prstGeom prst="rect">
              <a:avLst/>
            </a:prstGeom>
            <a:solidFill>
              <a:srgbClr val="FFFFFF"/>
            </a:solidFill>
            <a:ln w="9525">
              <a:noFill/>
            </a:ln>
            <a:extLs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indent="0" algn="ctr">
                <a:buClr>
                  <a:schemeClr val="tx2"/>
                </a:buClr>
                <a:buNone/>
              </a:pPr>
              <a:r>
                <a:rPr lang="nl-NL" sz="1000" b="1" dirty="0"/>
                <a:t>Directe kosten en baten</a:t>
              </a:r>
            </a:p>
          </p:txBody>
        </p:sp>
        <p:sp>
          <p:nvSpPr>
            <p:cNvPr id="44" name="Rectangle 43">
              <a:extLst>
                <a:ext uri="{FF2B5EF4-FFF2-40B4-BE49-F238E27FC236}">
                  <a16:creationId xmlns:a16="http://schemas.microsoft.com/office/drawing/2014/main" id="{47AEF6C3-B749-4132-88B1-117DECC09AA4}"/>
                </a:ext>
              </a:extLst>
            </p:cNvPr>
            <p:cNvSpPr/>
            <p:nvPr/>
          </p:nvSpPr>
          <p:spPr>
            <a:xfrm>
              <a:off x="671636" y="3551217"/>
              <a:ext cx="1148400" cy="1830408"/>
            </a:xfrm>
            <a:prstGeom prst="rect">
              <a:avLst/>
            </a:prstGeom>
            <a:solidFill>
              <a:srgbClr val="FFFFFF"/>
            </a:solidFill>
            <a:ln w="9525">
              <a:noFill/>
            </a:ln>
            <a:extLs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indent="0" algn="ctr">
                <a:buClr>
                  <a:schemeClr val="tx2"/>
                </a:buClr>
                <a:buNone/>
              </a:pPr>
              <a:r>
                <a:rPr lang="nl-NL" sz="1000" b="1" dirty="0"/>
                <a:t>Indirecte kosten en baten </a:t>
              </a:r>
              <a:br>
                <a:rPr lang="nl-NL" sz="1000" b="1" dirty="0"/>
              </a:br>
              <a:r>
                <a:rPr lang="nl-NL" sz="1000" dirty="0"/>
                <a:t>(Bijv. voor andere afdelingen)</a:t>
              </a:r>
              <a:endParaRPr lang="nl-NL" sz="1000" b="1" dirty="0"/>
            </a:p>
          </p:txBody>
        </p:sp>
        <p:sp>
          <p:nvSpPr>
            <p:cNvPr id="46" name="Rectangle 45">
              <a:extLst>
                <a:ext uri="{FF2B5EF4-FFF2-40B4-BE49-F238E27FC236}">
                  <a16:creationId xmlns:a16="http://schemas.microsoft.com/office/drawing/2014/main" id="{2249411A-86D6-4F6C-96E3-D6F3AACF0EB2}"/>
                </a:ext>
              </a:extLst>
            </p:cNvPr>
            <p:cNvSpPr/>
            <p:nvPr/>
          </p:nvSpPr>
          <p:spPr>
            <a:xfrm>
              <a:off x="671636" y="5503842"/>
              <a:ext cx="1148400" cy="1830408"/>
            </a:xfrm>
            <a:prstGeom prst="rect">
              <a:avLst/>
            </a:prstGeom>
            <a:solidFill>
              <a:srgbClr val="FFFFFF"/>
            </a:solidFill>
            <a:ln w="9525">
              <a:noFill/>
            </a:ln>
            <a:extLst>
              <a:ext uri="{91240B29-F687-4F45-9708-019B960494DF}">
                <a14:hiddenLine xmlns:a14="http://schemas.microsoft.com/office/drawing/2010/main" w="9525">
                  <a:solidFill>
                    <a:srgbClr val="9F9F9F"/>
                  </a:solidFill>
                </a14:hiddenLine>
              </a:ext>
            </a:extLst>
          </p:spPr>
          <p:txBody>
            <a:bodyPr rot="0" spcFirstLastPara="0" vertOverflow="overflow" horzOverflow="overflow" vert="horz" wrap="square" lIns="252000" tIns="0" rIns="0" bIns="0" numCol="1" spcCol="0" rtlCol="0" fromWordArt="0" anchor="ctr" anchorCtr="0" forceAA="0" compatLnSpc="1">
              <a:prstTxWarp prst="textNoShape">
                <a:avLst/>
              </a:prstTxWarp>
              <a:noAutofit/>
            </a:bodyPr>
            <a:lstStyle/>
            <a:p>
              <a:pPr marL="0" indent="0" algn="ctr">
                <a:buClr>
                  <a:schemeClr val="tx2"/>
                </a:buClr>
                <a:buNone/>
              </a:pPr>
              <a:r>
                <a:rPr lang="nl-NL" sz="1000" b="1" dirty="0"/>
                <a:t>Maatschappelijke kosten </a:t>
              </a:r>
              <a:r>
                <a:rPr lang="nl-NL" sz="1000" b="1"/>
                <a:t>en baten</a:t>
              </a:r>
              <a:endParaRPr lang="nl-NL" sz="1000" b="1" dirty="0"/>
            </a:p>
          </p:txBody>
        </p:sp>
      </p:grpSp>
      <p:grpSp>
        <p:nvGrpSpPr>
          <p:cNvPr id="21" name="Group 20">
            <a:extLst>
              <a:ext uri="{FF2B5EF4-FFF2-40B4-BE49-F238E27FC236}">
                <a16:creationId xmlns:a16="http://schemas.microsoft.com/office/drawing/2014/main" id="{8783ED6D-A087-4D81-ACDC-42DBE193C24A}"/>
              </a:ext>
            </a:extLst>
          </p:cNvPr>
          <p:cNvGrpSpPr/>
          <p:nvPr/>
        </p:nvGrpSpPr>
        <p:grpSpPr>
          <a:xfrm>
            <a:off x="3514792" y="3118611"/>
            <a:ext cx="7400661" cy="1328374"/>
            <a:chOff x="666747" y="3281099"/>
            <a:chExt cx="10866441" cy="1541465"/>
          </a:xfrm>
        </p:grpSpPr>
        <p:cxnSp>
          <p:nvCxnSpPr>
            <p:cNvPr id="64" name="Straight Connector 63">
              <a:extLst>
                <a:ext uri="{FF2B5EF4-FFF2-40B4-BE49-F238E27FC236}">
                  <a16:creationId xmlns:a16="http://schemas.microsoft.com/office/drawing/2014/main" id="{1F96A5A1-14BC-4E65-9B5A-99D34C3ADC2C}"/>
                </a:ext>
              </a:extLst>
            </p:cNvPr>
            <p:cNvCxnSpPr>
              <a:cxnSpLocks/>
            </p:cNvCxnSpPr>
            <p:nvPr/>
          </p:nvCxnSpPr>
          <p:spPr>
            <a:xfrm>
              <a:off x="666747" y="3281099"/>
              <a:ext cx="108664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7368A43D-D0EA-4457-9A76-228BD6D865FE}"/>
                </a:ext>
              </a:extLst>
            </p:cNvPr>
            <p:cNvCxnSpPr>
              <a:cxnSpLocks/>
            </p:cNvCxnSpPr>
            <p:nvPr/>
          </p:nvCxnSpPr>
          <p:spPr>
            <a:xfrm>
              <a:off x="666747" y="4822564"/>
              <a:ext cx="1086644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4AC9D62B-8709-4BB9-9201-C5A40DC075F1}"/>
              </a:ext>
            </a:extLst>
          </p:cNvPr>
          <p:cNvSpPr/>
          <p:nvPr/>
        </p:nvSpPr>
        <p:spPr>
          <a:xfrm>
            <a:off x="5155491" y="1840370"/>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vesteringen</a:t>
            </a:r>
          </a:p>
        </p:txBody>
      </p:sp>
      <p:sp>
        <p:nvSpPr>
          <p:cNvPr id="62" name="Rectangle 61">
            <a:extLst>
              <a:ext uri="{FF2B5EF4-FFF2-40B4-BE49-F238E27FC236}">
                <a16:creationId xmlns:a16="http://schemas.microsoft.com/office/drawing/2014/main" id="{92CC2D97-5950-4A83-B289-B9CE6519DC28}"/>
              </a:ext>
            </a:extLst>
          </p:cNvPr>
          <p:cNvSpPr/>
          <p:nvPr/>
        </p:nvSpPr>
        <p:spPr>
          <a:xfrm>
            <a:off x="7123006" y="2073956"/>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Reizigersopbrengsten</a:t>
            </a:r>
            <a:endParaRPr kumimoji="0" lang="nl-NL" sz="1000" i="0" u="none" strike="noStrike" kern="1200" cap="none" spc="0" normalizeH="0" baseline="0" noProof="0" dirty="0">
              <a:ln>
                <a:noFill/>
              </a:ln>
              <a:effectLst/>
              <a:uLnTx/>
              <a:uFillTx/>
              <a:sym typeface="Corbel" panose="020B0503020204020204" pitchFamily="34" charset="0"/>
            </a:endParaRPr>
          </a:p>
        </p:txBody>
      </p:sp>
      <p:grpSp>
        <p:nvGrpSpPr>
          <p:cNvPr id="112" name="Group 111">
            <a:extLst>
              <a:ext uri="{FF2B5EF4-FFF2-40B4-BE49-F238E27FC236}">
                <a16:creationId xmlns:a16="http://schemas.microsoft.com/office/drawing/2014/main" id="{91A22675-8A6C-4A41-95BF-B37A2ADF7948}"/>
              </a:ext>
            </a:extLst>
          </p:cNvPr>
          <p:cNvGrpSpPr/>
          <p:nvPr/>
        </p:nvGrpSpPr>
        <p:grpSpPr>
          <a:xfrm>
            <a:off x="3514792" y="1617434"/>
            <a:ext cx="7400661" cy="168876"/>
            <a:chOff x="8353531" y="1539107"/>
            <a:chExt cx="1104027" cy="195966"/>
          </a:xfrm>
        </p:grpSpPr>
        <p:cxnSp>
          <p:nvCxnSpPr>
            <p:cNvPr id="113" name="Straight Connector 112">
              <a:extLst>
                <a:ext uri="{FF2B5EF4-FFF2-40B4-BE49-F238E27FC236}">
                  <a16:creationId xmlns:a16="http://schemas.microsoft.com/office/drawing/2014/main" id="{90F33399-DDEF-499F-9E4D-01E445FF4DD4}"/>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4" name="Rectangle 113">
              <a:extLst>
                <a:ext uri="{FF2B5EF4-FFF2-40B4-BE49-F238E27FC236}">
                  <a16:creationId xmlns:a16="http://schemas.microsoft.com/office/drawing/2014/main" id="{03D43DB6-3AE1-4211-8A9E-8634386817D5}"/>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Typen kosten en baten</a:t>
              </a:r>
            </a:p>
          </p:txBody>
        </p:sp>
      </p:grpSp>
      <p:grpSp>
        <p:nvGrpSpPr>
          <p:cNvPr id="24" name="Group 23">
            <a:extLst>
              <a:ext uri="{FF2B5EF4-FFF2-40B4-BE49-F238E27FC236}">
                <a16:creationId xmlns:a16="http://schemas.microsoft.com/office/drawing/2014/main" id="{501F8DB5-E0BA-477B-9DE5-7D010348A29A}"/>
              </a:ext>
            </a:extLst>
          </p:cNvPr>
          <p:cNvGrpSpPr/>
          <p:nvPr/>
        </p:nvGrpSpPr>
        <p:grpSpPr>
          <a:xfrm>
            <a:off x="762797" y="2076910"/>
            <a:ext cx="2420210" cy="1352091"/>
            <a:chOff x="666748" y="2076910"/>
            <a:chExt cx="2420210" cy="1352091"/>
          </a:xfrm>
        </p:grpSpPr>
        <p:sp>
          <p:nvSpPr>
            <p:cNvPr id="59" name="TextBox 58">
              <a:extLst>
                <a:ext uri="{FF2B5EF4-FFF2-40B4-BE49-F238E27FC236}">
                  <a16:creationId xmlns:a16="http://schemas.microsoft.com/office/drawing/2014/main" id="{D19B09E6-4C31-45CA-996D-AEB657F6BB8C}"/>
                </a:ext>
              </a:extLst>
            </p:cNvPr>
            <p:cNvSpPr txBox="1"/>
            <p:nvPr/>
          </p:nvSpPr>
          <p:spPr>
            <a:xfrm>
              <a:off x="1361257" y="2281222"/>
              <a:ext cx="1199217" cy="314048"/>
            </a:xfrm>
            <a:prstGeom prst="rect">
              <a:avLst/>
            </a:prstGeom>
            <a:noFill/>
          </p:spPr>
          <p:txBody>
            <a:bodyPr wrap="square" rtlCol="0">
              <a:spAutoFit/>
            </a:bodyPr>
            <a:lstStyle/>
            <a:p>
              <a:pPr algn="ctr"/>
              <a:r>
                <a:rPr lang="nl-NL" sz="500" b="1" dirty="0">
                  <a:solidFill>
                    <a:schemeClr val="bg1"/>
                  </a:solidFill>
                  <a:latin typeface="+mj-lt"/>
                </a:rPr>
                <a:t>Amsterdam</a:t>
              </a:r>
            </a:p>
          </p:txBody>
        </p:sp>
        <p:grpSp>
          <p:nvGrpSpPr>
            <p:cNvPr id="60" name="Group 59">
              <a:extLst>
                <a:ext uri="{FF2B5EF4-FFF2-40B4-BE49-F238E27FC236}">
                  <a16:creationId xmlns:a16="http://schemas.microsoft.com/office/drawing/2014/main" id="{EC051944-FD2D-42B0-8D22-557890C472E7}"/>
                </a:ext>
              </a:extLst>
            </p:cNvPr>
            <p:cNvGrpSpPr/>
            <p:nvPr/>
          </p:nvGrpSpPr>
          <p:grpSpPr>
            <a:xfrm>
              <a:off x="1271340" y="2098445"/>
              <a:ext cx="1815618" cy="1203559"/>
              <a:chOff x="4815432" y="3724546"/>
              <a:chExt cx="2176382" cy="1442706"/>
            </a:xfrm>
            <a:solidFill>
              <a:schemeClr val="bg1">
                <a:lumMod val="75000"/>
              </a:schemeClr>
            </a:solidFill>
          </p:grpSpPr>
          <p:sp>
            <p:nvSpPr>
              <p:cNvPr id="83" name="Freeform: Shape 82">
                <a:extLst>
                  <a:ext uri="{FF2B5EF4-FFF2-40B4-BE49-F238E27FC236}">
                    <a16:creationId xmlns:a16="http://schemas.microsoft.com/office/drawing/2014/main" id="{9572DA2A-3683-41DB-B3A5-F307EF088BFB}"/>
                  </a:ext>
                </a:extLst>
              </p:cNvPr>
              <p:cNvSpPr/>
              <p:nvPr/>
            </p:nvSpPr>
            <p:spPr>
              <a:xfrm>
                <a:off x="5714698" y="4127236"/>
                <a:ext cx="362520" cy="288275"/>
              </a:xfrm>
              <a:custGeom>
                <a:avLst/>
                <a:gdLst>
                  <a:gd name="connsiteX0" fmla="*/ 662104 w 1276350"/>
                  <a:gd name="connsiteY0" fmla="*/ 646615 h 676275"/>
                  <a:gd name="connsiteX1" fmla="*/ 648372 w 1276350"/>
                  <a:gd name="connsiteY1" fmla="*/ 650173 h 676275"/>
                  <a:gd name="connsiteX2" fmla="*/ 597938 w 1276350"/>
                  <a:gd name="connsiteY2" fmla="*/ 660000 h 676275"/>
                  <a:gd name="connsiteX3" fmla="*/ 545247 w 1276350"/>
                  <a:gd name="connsiteY3" fmla="*/ 670737 h 676275"/>
                  <a:gd name="connsiteX4" fmla="*/ 535789 w 1276350"/>
                  <a:gd name="connsiteY4" fmla="*/ 672624 h 676275"/>
                  <a:gd name="connsiteX5" fmla="*/ 530387 w 1276350"/>
                  <a:gd name="connsiteY5" fmla="*/ 673384 h 676275"/>
                  <a:gd name="connsiteX6" fmla="*/ 523836 w 1276350"/>
                  <a:gd name="connsiteY6" fmla="*/ 674035 h 676275"/>
                  <a:gd name="connsiteX7" fmla="*/ 519064 w 1276350"/>
                  <a:gd name="connsiteY7" fmla="*/ 674339 h 676275"/>
                  <a:gd name="connsiteX8" fmla="*/ 478694 w 1276350"/>
                  <a:gd name="connsiteY8" fmla="*/ 671909 h 676275"/>
                  <a:gd name="connsiteX9" fmla="*/ 367325 w 1276350"/>
                  <a:gd name="connsiteY9" fmla="*/ 665206 h 676275"/>
                  <a:gd name="connsiteX10" fmla="*/ 363746 w 1276350"/>
                  <a:gd name="connsiteY10" fmla="*/ 664902 h 676275"/>
                  <a:gd name="connsiteX11" fmla="*/ 359755 w 1276350"/>
                  <a:gd name="connsiteY11" fmla="*/ 664447 h 676275"/>
                  <a:gd name="connsiteX12" fmla="*/ 353855 w 1276350"/>
                  <a:gd name="connsiteY12" fmla="*/ 663493 h 676275"/>
                  <a:gd name="connsiteX13" fmla="*/ 345502 w 1276350"/>
                  <a:gd name="connsiteY13" fmla="*/ 661562 h 676275"/>
                  <a:gd name="connsiteX14" fmla="*/ 336717 w 1276350"/>
                  <a:gd name="connsiteY14" fmla="*/ 658698 h 676275"/>
                  <a:gd name="connsiteX15" fmla="*/ 332336 w 1276350"/>
                  <a:gd name="connsiteY15" fmla="*/ 656875 h 676275"/>
                  <a:gd name="connsiteX16" fmla="*/ 328257 w 1276350"/>
                  <a:gd name="connsiteY16" fmla="*/ 654858 h 676275"/>
                  <a:gd name="connsiteX17" fmla="*/ 321229 w 1276350"/>
                  <a:gd name="connsiteY17" fmla="*/ 650672 h 676275"/>
                  <a:gd name="connsiteX18" fmla="*/ 314873 w 1276350"/>
                  <a:gd name="connsiteY18" fmla="*/ 645943 h 676275"/>
                  <a:gd name="connsiteX19" fmla="*/ 310209 w 1276350"/>
                  <a:gd name="connsiteY19" fmla="*/ 641670 h 676275"/>
                  <a:gd name="connsiteX20" fmla="*/ 307823 w 1276350"/>
                  <a:gd name="connsiteY20" fmla="*/ 638763 h 676275"/>
                  <a:gd name="connsiteX21" fmla="*/ 305220 w 1276350"/>
                  <a:gd name="connsiteY21" fmla="*/ 636029 h 676275"/>
                  <a:gd name="connsiteX22" fmla="*/ 300231 w 1276350"/>
                  <a:gd name="connsiteY22" fmla="*/ 631778 h 676275"/>
                  <a:gd name="connsiteX23" fmla="*/ 293918 w 1276350"/>
                  <a:gd name="connsiteY23" fmla="*/ 627591 h 676275"/>
                  <a:gd name="connsiteX24" fmla="*/ 288040 w 1276350"/>
                  <a:gd name="connsiteY24" fmla="*/ 624489 h 676275"/>
                  <a:gd name="connsiteX25" fmla="*/ 264416 w 1276350"/>
                  <a:gd name="connsiteY25" fmla="*/ 612623 h 676275"/>
                  <a:gd name="connsiteX26" fmla="*/ 244589 w 1276350"/>
                  <a:gd name="connsiteY26" fmla="*/ 602710 h 676275"/>
                  <a:gd name="connsiteX27" fmla="*/ 223699 w 1276350"/>
                  <a:gd name="connsiteY27" fmla="*/ 592254 h 676275"/>
                  <a:gd name="connsiteX28" fmla="*/ 219838 w 1276350"/>
                  <a:gd name="connsiteY28" fmla="*/ 590692 h 676275"/>
                  <a:gd name="connsiteX29" fmla="*/ 215738 w 1276350"/>
                  <a:gd name="connsiteY29" fmla="*/ 589478 h 676275"/>
                  <a:gd name="connsiteX30" fmla="*/ 211248 w 1276350"/>
                  <a:gd name="connsiteY30" fmla="*/ 588588 h 676275"/>
                  <a:gd name="connsiteX31" fmla="*/ 206757 w 1276350"/>
                  <a:gd name="connsiteY31" fmla="*/ 588089 h 676275"/>
                  <a:gd name="connsiteX32" fmla="*/ 184892 w 1276350"/>
                  <a:gd name="connsiteY32" fmla="*/ 587720 h 676275"/>
                  <a:gd name="connsiteX33" fmla="*/ 181876 w 1276350"/>
                  <a:gd name="connsiteY33" fmla="*/ 587460 h 676275"/>
                  <a:gd name="connsiteX34" fmla="*/ 179643 w 1276350"/>
                  <a:gd name="connsiteY34" fmla="*/ 587070 h 676275"/>
                  <a:gd name="connsiteX35" fmla="*/ 177473 w 1276350"/>
                  <a:gd name="connsiteY35" fmla="*/ 586506 h 676275"/>
                  <a:gd name="connsiteX36" fmla="*/ 173243 w 1276350"/>
                  <a:gd name="connsiteY36" fmla="*/ 584922 h 676275"/>
                  <a:gd name="connsiteX37" fmla="*/ 168666 w 1276350"/>
                  <a:gd name="connsiteY37" fmla="*/ 582622 h 676275"/>
                  <a:gd name="connsiteX38" fmla="*/ 166735 w 1276350"/>
                  <a:gd name="connsiteY38" fmla="*/ 581104 h 676275"/>
                  <a:gd name="connsiteX39" fmla="*/ 164957 w 1276350"/>
                  <a:gd name="connsiteY39" fmla="*/ 579151 h 676275"/>
                  <a:gd name="connsiteX40" fmla="*/ 162917 w 1276350"/>
                  <a:gd name="connsiteY40" fmla="*/ 575117 h 676275"/>
                  <a:gd name="connsiteX41" fmla="*/ 161963 w 1276350"/>
                  <a:gd name="connsiteY41" fmla="*/ 569564 h 676275"/>
                  <a:gd name="connsiteX42" fmla="*/ 160639 w 1276350"/>
                  <a:gd name="connsiteY42" fmla="*/ 565789 h 676275"/>
                  <a:gd name="connsiteX43" fmla="*/ 159620 w 1276350"/>
                  <a:gd name="connsiteY43" fmla="*/ 563751 h 676275"/>
                  <a:gd name="connsiteX44" fmla="*/ 158405 w 1276350"/>
                  <a:gd name="connsiteY44" fmla="*/ 561689 h 676275"/>
                  <a:gd name="connsiteX45" fmla="*/ 154566 w 1276350"/>
                  <a:gd name="connsiteY45" fmla="*/ 558609 h 676275"/>
                  <a:gd name="connsiteX46" fmla="*/ 152071 w 1276350"/>
                  <a:gd name="connsiteY46" fmla="*/ 556613 h 676275"/>
                  <a:gd name="connsiteX47" fmla="*/ 146214 w 1276350"/>
                  <a:gd name="connsiteY47" fmla="*/ 552687 h 676275"/>
                  <a:gd name="connsiteX48" fmla="*/ 143112 w 1276350"/>
                  <a:gd name="connsiteY48" fmla="*/ 550865 h 676275"/>
                  <a:gd name="connsiteX49" fmla="*/ 139533 w 1276350"/>
                  <a:gd name="connsiteY49" fmla="*/ 549064 h 676275"/>
                  <a:gd name="connsiteX50" fmla="*/ 132418 w 1276350"/>
                  <a:gd name="connsiteY50" fmla="*/ 546223 h 676275"/>
                  <a:gd name="connsiteX51" fmla="*/ 122461 w 1276350"/>
                  <a:gd name="connsiteY51" fmla="*/ 543381 h 676275"/>
                  <a:gd name="connsiteX52" fmla="*/ 118730 w 1276350"/>
                  <a:gd name="connsiteY52" fmla="*/ 541689 h 676275"/>
                  <a:gd name="connsiteX53" fmla="*/ 116821 w 1276350"/>
                  <a:gd name="connsiteY53" fmla="*/ 540409 h 676275"/>
                  <a:gd name="connsiteX54" fmla="*/ 115172 w 1276350"/>
                  <a:gd name="connsiteY54" fmla="*/ 538890 h 676275"/>
                  <a:gd name="connsiteX55" fmla="*/ 113849 w 1276350"/>
                  <a:gd name="connsiteY55" fmla="*/ 537155 h 676275"/>
                  <a:gd name="connsiteX56" fmla="*/ 112938 w 1276350"/>
                  <a:gd name="connsiteY56" fmla="*/ 535312 h 676275"/>
                  <a:gd name="connsiteX57" fmla="*/ 111593 w 1276350"/>
                  <a:gd name="connsiteY57" fmla="*/ 531602 h 676275"/>
                  <a:gd name="connsiteX58" fmla="*/ 111051 w 1276350"/>
                  <a:gd name="connsiteY58" fmla="*/ 529064 h 676275"/>
                  <a:gd name="connsiteX59" fmla="*/ 110790 w 1276350"/>
                  <a:gd name="connsiteY59" fmla="*/ 526526 h 676275"/>
                  <a:gd name="connsiteX60" fmla="*/ 110942 w 1276350"/>
                  <a:gd name="connsiteY60" fmla="*/ 522708 h 676275"/>
                  <a:gd name="connsiteX61" fmla="*/ 111094 w 1276350"/>
                  <a:gd name="connsiteY61" fmla="*/ 521341 h 676275"/>
                  <a:gd name="connsiteX62" fmla="*/ 110790 w 1276350"/>
                  <a:gd name="connsiteY62" fmla="*/ 518326 h 676275"/>
                  <a:gd name="connsiteX63" fmla="*/ 109597 w 1276350"/>
                  <a:gd name="connsiteY63" fmla="*/ 514118 h 676275"/>
                  <a:gd name="connsiteX64" fmla="*/ 107580 w 1276350"/>
                  <a:gd name="connsiteY64" fmla="*/ 510191 h 676275"/>
                  <a:gd name="connsiteX65" fmla="*/ 103177 w 1276350"/>
                  <a:gd name="connsiteY65" fmla="*/ 504161 h 676275"/>
                  <a:gd name="connsiteX66" fmla="*/ 99575 w 1276350"/>
                  <a:gd name="connsiteY66" fmla="*/ 500538 h 676275"/>
                  <a:gd name="connsiteX67" fmla="*/ 95953 w 1276350"/>
                  <a:gd name="connsiteY67" fmla="*/ 497632 h 676275"/>
                  <a:gd name="connsiteX68" fmla="*/ 92981 w 1276350"/>
                  <a:gd name="connsiteY68" fmla="*/ 495636 h 676275"/>
                  <a:gd name="connsiteX69" fmla="*/ 87340 w 1276350"/>
                  <a:gd name="connsiteY69" fmla="*/ 492664 h 676275"/>
                  <a:gd name="connsiteX70" fmla="*/ 81961 w 1276350"/>
                  <a:gd name="connsiteY70" fmla="*/ 489258 h 676275"/>
                  <a:gd name="connsiteX71" fmla="*/ 76907 w 1276350"/>
                  <a:gd name="connsiteY71" fmla="*/ 485397 h 676275"/>
                  <a:gd name="connsiteX72" fmla="*/ 73913 w 1276350"/>
                  <a:gd name="connsiteY72" fmla="*/ 482642 h 676275"/>
                  <a:gd name="connsiteX73" fmla="*/ 72026 w 1276350"/>
                  <a:gd name="connsiteY73" fmla="*/ 478694 h 676275"/>
                  <a:gd name="connsiteX74" fmla="*/ 70551 w 1276350"/>
                  <a:gd name="connsiteY74" fmla="*/ 474789 h 676275"/>
                  <a:gd name="connsiteX75" fmla="*/ 69618 w 1276350"/>
                  <a:gd name="connsiteY75" fmla="*/ 471167 h 676275"/>
                  <a:gd name="connsiteX76" fmla="*/ 68425 w 1276350"/>
                  <a:gd name="connsiteY76" fmla="*/ 462446 h 676275"/>
                  <a:gd name="connsiteX77" fmla="*/ 66993 w 1276350"/>
                  <a:gd name="connsiteY77" fmla="*/ 458216 h 676275"/>
                  <a:gd name="connsiteX78" fmla="*/ 63957 w 1276350"/>
                  <a:gd name="connsiteY78" fmla="*/ 452685 h 676275"/>
                  <a:gd name="connsiteX79" fmla="*/ 58511 w 1276350"/>
                  <a:gd name="connsiteY79" fmla="*/ 445093 h 676275"/>
                  <a:gd name="connsiteX80" fmla="*/ 56212 w 1276350"/>
                  <a:gd name="connsiteY80" fmla="*/ 441860 h 676275"/>
                  <a:gd name="connsiteX81" fmla="*/ 55323 w 1276350"/>
                  <a:gd name="connsiteY81" fmla="*/ 440949 h 676275"/>
                  <a:gd name="connsiteX82" fmla="*/ 47535 w 1276350"/>
                  <a:gd name="connsiteY82" fmla="*/ 435027 h 676275"/>
                  <a:gd name="connsiteX83" fmla="*/ 40811 w 1276350"/>
                  <a:gd name="connsiteY83" fmla="*/ 428801 h 676275"/>
                  <a:gd name="connsiteX84" fmla="*/ 36776 w 1276350"/>
                  <a:gd name="connsiteY84" fmla="*/ 424289 h 676275"/>
                  <a:gd name="connsiteX85" fmla="*/ 33912 w 1276350"/>
                  <a:gd name="connsiteY85" fmla="*/ 420428 h 676275"/>
                  <a:gd name="connsiteX86" fmla="*/ 20267 w 1276350"/>
                  <a:gd name="connsiteY86" fmla="*/ 397803 h 676275"/>
                  <a:gd name="connsiteX87" fmla="*/ 8532 w 1276350"/>
                  <a:gd name="connsiteY87" fmla="*/ 371642 h 676275"/>
                  <a:gd name="connsiteX88" fmla="*/ 7404 w 1276350"/>
                  <a:gd name="connsiteY88" fmla="*/ 367933 h 676275"/>
                  <a:gd name="connsiteX89" fmla="*/ 7144 w 1276350"/>
                  <a:gd name="connsiteY89" fmla="*/ 364873 h 676275"/>
                  <a:gd name="connsiteX90" fmla="*/ 8076 w 1276350"/>
                  <a:gd name="connsiteY90" fmla="*/ 362205 h 676275"/>
                  <a:gd name="connsiteX91" fmla="*/ 9660 w 1276350"/>
                  <a:gd name="connsiteY91" fmla="*/ 359473 h 676275"/>
                  <a:gd name="connsiteX92" fmla="*/ 12263 w 1276350"/>
                  <a:gd name="connsiteY92" fmla="*/ 356327 h 676275"/>
                  <a:gd name="connsiteX93" fmla="*/ 14563 w 1276350"/>
                  <a:gd name="connsiteY93" fmla="*/ 354266 h 676275"/>
                  <a:gd name="connsiteX94" fmla="*/ 15604 w 1276350"/>
                  <a:gd name="connsiteY94" fmla="*/ 353463 h 676275"/>
                  <a:gd name="connsiteX95" fmla="*/ 22957 w 1276350"/>
                  <a:gd name="connsiteY95" fmla="*/ 349190 h 676275"/>
                  <a:gd name="connsiteX96" fmla="*/ 24411 w 1276350"/>
                  <a:gd name="connsiteY96" fmla="*/ 348106 h 676275"/>
                  <a:gd name="connsiteX97" fmla="*/ 25691 w 1276350"/>
                  <a:gd name="connsiteY97" fmla="*/ 346761 h 676275"/>
                  <a:gd name="connsiteX98" fmla="*/ 28229 w 1276350"/>
                  <a:gd name="connsiteY98" fmla="*/ 343268 h 676275"/>
                  <a:gd name="connsiteX99" fmla="*/ 29292 w 1276350"/>
                  <a:gd name="connsiteY99" fmla="*/ 340839 h 676275"/>
                  <a:gd name="connsiteX100" fmla="*/ 29834 w 1276350"/>
                  <a:gd name="connsiteY100" fmla="*/ 338647 h 676275"/>
                  <a:gd name="connsiteX101" fmla="*/ 29574 w 1276350"/>
                  <a:gd name="connsiteY101" fmla="*/ 332140 h 676275"/>
                  <a:gd name="connsiteX102" fmla="*/ 29965 w 1276350"/>
                  <a:gd name="connsiteY102" fmla="*/ 327064 h 676275"/>
                  <a:gd name="connsiteX103" fmla="*/ 30442 w 1276350"/>
                  <a:gd name="connsiteY103" fmla="*/ 324179 h 676275"/>
                  <a:gd name="connsiteX104" fmla="*/ 31049 w 1276350"/>
                  <a:gd name="connsiteY104" fmla="*/ 321120 h 676275"/>
                  <a:gd name="connsiteX105" fmla="*/ 37795 w 1276350"/>
                  <a:gd name="connsiteY105" fmla="*/ 321857 h 676275"/>
                  <a:gd name="connsiteX106" fmla="*/ 38532 w 1276350"/>
                  <a:gd name="connsiteY106" fmla="*/ 318972 h 676275"/>
                  <a:gd name="connsiteX107" fmla="*/ 40875 w 1276350"/>
                  <a:gd name="connsiteY107" fmla="*/ 314156 h 676275"/>
                  <a:gd name="connsiteX108" fmla="*/ 53826 w 1276350"/>
                  <a:gd name="connsiteY108" fmla="*/ 293549 h 676275"/>
                  <a:gd name="connsiteX109" fmla="*/ 84651 w 1276350"/>
                  <a:gd name="connsiteY109" fmla="*/ 244242 h 676275"/>
                  <a:gd name="connsiteX110" fmla="*/ 82395 w 1276350"/>
                  <a:gd name="connsiteY110" fmla="*/ 243700 h 676275"/>
                  <a:gd name="connsiteX111" fmla="*/ 86061 w 1276350"/>
                  <a:gd name="connsiteY111" fmla="*/ 238016 h 676275"/>
                  <a:gd name="connsiteX112" fmla="*/ 86559 w 1276350"/>
                  <a:gd name="connsiteY112" fmla="*/ 238125 h 676275"/>
                  <a:gd name="connsiteX113" fmla="*/ 90725 w 1276350"/>
                  <a:gd name="connsiteY113" fmla="*/ 231443 h 676275"/>
                  <a:gd name="connsiteX114" fmla="*/ 86538 w 1276350"/>
                  <a:gd name="connsiteY114" fmla="*/ 230402 h 676275"/>
                  <a:gd name="connsiteX115" fmla="*/ 87970 w 1276350"/>
                  <a:gd name="connsiteY115" fmla="*/ 228081 h 676275"/>
                  <a:gd name="connsiteX116" fmla="*/ 124738 w 1276350"/>
                  <a:gd name="connsiteY116" fmla="*/ 169230 h 676275"/>
                  <a:gd name="connsiteX117" fmla="*/ 124978 w 1276350"/>
                  <a:gd name="connsiteY117" fmla="*/ 167863 h 676275"/>
                  <a:gd name="connsiteX118" fmla="*/ 124587 w 1276350"/>
                  <a:gd name="connsiteY118" fmla="*/ 166605 h 676275"/>
                  <a:gd name="connsiteX119" fmla="*/ 119749 w 1276350"/>
                  <a:gd name="connsiteY119" fmla="*/ 161247 h 676275"/>
                  <a:gd name="connsiteX120" fmla="*/ 118839 w 1276350"/>
                  <a:gd name="connsiteY120" fmla="*/ 159620 h 676275"/>
                  <a:gd name="connsiteX121" fmla="*/ 118469 w 1276350"/>
                  <a:gd name="connsiteY121" fmla="*/ 157949 h 676275"/>
                  <a:gd name="connsiteX122" fmla="*/ 118578 w 1276350"/>
                  <a:gd name="connsiteY122" fmla="*/ 156431 h 676275"/>
                  <a:gd name="connsiteX123" fmla="*/ 119012 w 1276350"/>
                  <a:gd name="connsiteY123" fmla="*/ 155238 h 676275"/>
                  <a:gd name="connsiteX124" fmla="*/ 119923 w 1276350"/>
                  <a:gd name="connsiteY124" fmla="*/ 153784 h 676275"/>
                  <a:gd name="connsiteX125" fmla="*/ 121333 w 1276350"/>
                  <a:gd name="connsiteY125" fmla="*/ 152310 h 676275"/>
                  <a:gd name="connsiteX126" fmla="*/ 123611 w 1276350"/>
                  <a:gd name="connsiteY126" fmla="*/ 150812 h 676275"/>
                  <a:gd name="connsiteX127" fmla="*/ 129945 w 1276350"/>
                  <a:gd name="connsiteY127" fmla="*/ 148296 h 676275"/>
                  <a:gd name="connsiteX128" fmla="*/ 134978 w 1276350"/>
                  <a:gd name="connsiteY128" fmla="*/ 145672 h 676275"/>
                  <a:gd name="connsiteX129" fmla="*/ 138296 w 1276350"/>
                  <a:gd name="connsiteY129" fmla="*/ 143372 h 676275"/>
                  <a:gd name="connsiteX130" fmla="*/ 141876 w 1276350"/>
                  <a:gd name="connsiteY130" fmla="*/ 140032 h 676275"/>
                  <a:gd name="connsiteX131" fmla="*/ 144262 w 1276350"/>
                  <a:gd name="connsiteY131" fmla="*/ 136930 h 676275"/>
                  <a:gd name="connsiteX132" fmla="*/ 163894 w 1276350"/>
                  <a:gd name="connsiteY132" fmla="*/ 105020 h 676275"/>
                  <a:gd name="connsiteX133" fmla="*/ 167472 w 1276350"/>
                  <a:gd name="connsiteY133" fmla="*/ 99467 h 676275"/>
                  <a:gd name="connsiteX134" fmla="*/ 178753 w 1276350"/>
                  <a:gd name="connsiteY134" fmla="*/ 83197 h 676275"/>
                  <a:gd name="connsiteX135" fmla="*/ 183981 w 1276350"/>
                  <a:gd name="connsiteY135" fmla="*/ 77210 h 676275"/>
                  <a:gd name="connsiteX136" fmla="*/ 193677 w 1276350"/>
                  <a:gd name="connsiteY136" fmla="*/ 65474 h 676275"/>
                  <a:gd name="connsiteX137" fmla="*/ 198015 w 1276350"/>
                  <a:gd name="connsiteY137" fmla="*/ 60247 h 676275"/>
                  <a:gd name="connsiteX138" fmla="*/ 214589 w 1276350"/>
                  <a:gd name="connsiteY138" fmla="*/ 36407 h 676275"/>
                  <a:gd name="connsiteX139" fmla="*/ 225022 w 1276350"/>
                  <a:gd name="connsiteY139" fmla="*/ 13911 h 676275"/>
                  <a:gd name="connsiteX140" fmla="*/ 252507 w 1276350"/>
                  <a:gd name="connsiteY140" fmla="*/ 18510 h 676275"/>
                  <a:gd name="connsiteX141" fmla="*/ 257409 w 1276350"/>
                  <a:gd name="connsiteY141" fmla="*/ 19335 h 676275"/>
                  <a:gd name="connsiteX142" fmla="*/ 366696 w 1276350"/>
                  <a:gd name="connsiteY142" fmla="*/ 12588 h 676275"/>
                  <a:gd name="connsiteX143" fmla="*/ 389669 w 1276350"/>
                  <a:gd name="connsiteY143" fmla="*/ 11157 h 676275"/>
                  <a:gd name="connsiteX144" fmla="*/ 392683 w 1276350"/>
                  <a:gd name="connsiteY144" fmla="*/ 18011 h 676275"/>
                  <a:gd name="connsiteX145" fmla="*/ 394745 w 1276350"/>
                  <a:gd name="connsiteY145" fmla="*/ 17642 h 676275"/>
                  <a:gd name="connsiteX146" fmla="*/ 394593 w 1276350"/>
                  <a:gd name="connsiteY146" fmla="*/ 17317 h 676275"/>
                  <a:gd name="connsiteX147" fmla="*/ 394809 w 1276350"/>
                  <a:gd name="connsiteY147" fmla="*/ 14823 h 676275"/>
                  <a:gd name="connsiteX148" fmla="*/ 396025 w 1276350"/>
                  <a:gd name="connsiteY148" fmla="*/ 10788 h 676275"/>
                  <a:gd name="connsiteX149" fmla="*/ 454963 w 1276350"/>
                  <a:gd name="connsiteY149" fmla="*/ 7144 h 676275"/>
                  <a:gd name="connsiteX150" fmla="*/ 467479 w 1276350"/>
                  <a:gd name="connsiteY150" fmla="*/ 45517 h 676275"/>
                  <a:gd name="connsiteX151" fmla="*/ 472187 w 1276350"/>
                  <a:gd name="connsiteY151" fmla="*/ 57687 h 676275"/>
                  <a:gd name="connsiteX152" fmla="*/ 480191 w 1276350"/>
                  <a:gd name="connsiteY152" fmla="*/ 73154 h 676275"/>
                  <a:gd name="connsiteX153" fmla="*/ 491406 w 1276350"/>
                  <a:gd name="connsiteY153" fmla="*/ 89684 h 676275"/>
                  <a:gd name="connsiteX154" fmla="*/ 503271 w 1276350"/>
                  <a:gd name="connsiteY154" fmla="*/ 103045 h 676275"/>
                  <a:gd name="connsiteX155" fmla="*/ 516374 w 1276350"/>
                  <a:gd name="connsiteY155" fmla="*/ 115953 h 676275"/>
                  <a:gd name="connsiteX156" fmla="*/ 532622 w 1276350"/>
                  <a:gd name="connsiteY156" fmla="*/ 129641 h 676275"/>
                  <a:gd name="connsiteX157" fmla="*/ 534965 w 1276350"/>
                  <a:gd name="connsiteY157" fmla="*/ 131246 h 676275"/>
                  <a:gd name="connsiteX158" fmla="*/ 550301 w 1276350"/>
                  <a:gd name="connsiteY158" fmla="*/ 141766 h 676275"/>
                  <a:gd name="connsiteX159" fmla="*/ 562905 w 1276350"/>
                  <a:gd name="connsiteY159" fmla="*/ 148947 h 676275"/>
                  <a:gd name="connsiteX160" fmla="*/ 569585 w 1276350"/>
                  <a:gd name="connsiteY160" fmla="*/ 152743 h 676275"/>
                  <a:gd name="connsiteX161" fmla="*/ 587287 w 1276350"/>
                  <a:gd name="connsiteY161" fmla="*/ 161789 h 676275"/>
                  <a:gd name="connsiteX162" fmla="*/ 607070 w 1276350"/>
                  <a:gd name="connsiteY162" fmla="*/ 169728 h 676275"/>
                  <a:gd name="connsiteX163" fmla="*/ 610692 w 1276350"/>
                  <a:gd name="connsiteY163" fmla="*/ 171203 h 676275"/>
                  <a:gd name="connsiteX164" fmla="*/ 632407 w 1276350"/>
                  <a:gd name="connsiteY164" fmla="*/ 178882 h 676275"/>
                  <a:gd name="connsiteX165" fmla="*/ 655163 w 1276350"/>
                  <a:gd name="connsiteY165" fmla="*/ 185629 h 676275"/>
                  <a:gd name="connsiteX166" fmla="*/ 680369 w 1276350"/>
                  <a:gd name="connsiteY166" fmla="*/ 191247 h 676275"/>
                  <a:gd name="connsiteX167" fmla="*/ 691887 w 1276350"/>
                  <a:gd name="connsiteY167" fmla="*/ 193373 h 676275"/>
                  <a:gd name="connsiteX168" fmla="*/ 700629 w 1276350"/>
                  <a:gd name="connsiteY168" fmla="*/ 194804 h 676275"/>
                  <a:gd name="connsiteX169" fmla="*/ 703277 w 1276350"/>
                  <a:gd name="connsiteY169" fmla="*/ 195261 h 676275"/>
                  <a:gd name="connsiteX170" fmla="*/ 726943 w 1276350"/>
                  <a:gd name="connsiteY170" fmla="*/ 198189 h 676275"/>
                  <a:gd name="connsiteX171" fmla="*/ 749980 w 1276350"/>
                  <a:gd name="connsiteY171" fmla="*/ 198796 h 676275"/>
                  <a:gd name="connsiteX172" fmla="*/ 791391 w 1276350"/>
                  <a:gd name="connsiteY172" fmla="*/ 197560 h 676275"/>
                  <a:gd name="connsiteX173" fmla="*/ 803647 w 1276350"/>
                  <a:gd name="connsiteY173" fmla="*/ 246954 h 676275"/>
                  <a:gd name="connsiteX174" fmla="*/ 821566 w 1276350"/>
                  <a:gd name="connsiteY174" fmla="*/ 248168 h 676275"/>
                  <a:gd name="connsiteX175" fmla="*/ 823778 w 1276350"/>
                  <a:gd name="connsiteY175" fmla="*/ 256759 h 676275"/>
                  <a:gd name="connsiteX176" fmla="*/ 822715 w 1276350"/>
                  <a:gd name="connsiteY176" fmla="*/ 258342 h 676275"/>
                  <a:gd name="connsiteX177" fmla="*/ 819852 w 1276350"/>
                  <a:gd name="connsiteY177" fmla="*/ 258624 h 676275"/>
                  <a:gd name="connsiteX178" fmla="*/ 821479 w 1276350"/>
                  <a:gd name="connsiteY178" fmla="*/ 265153 h 676275"/>
                  <a:gd name="connsiteX179" fmla="*/ 823692 w 1276350"/>
                  <a:gd name="connsiteY179" fmla="*/ 264980 h 676275"/>
                  <a:gd name="connsiteX180" fmla="*/ 823887 w 1276350"/>
                  <a:gd name="connsiteY180" fmla="*/ 265414 h 676275"/>
                  <a:gd name="connsiteX181" fmla="*/ 824711 w 1276350"/>
                  <a:gd name="connsiteY181" fmla="*/ 265652 h 676275"/>
                  <a:gd name="connsiteX182" fmla="*/ 830676 w 1276350"/>
                  <a:gd name="connsiteY182" fmla="*/ 265327 h 676275"/>
                  <a:gd name="connsiteX183" fmla="*/ 837727 w 1276350"/>
                  <a:gd name="connsiteY183" fmla="*/ 265153 h 676275"/>
                  <a:gd name="connsiteX184" fmla="*/ 850156 w 1276350"/>
                  <a:gd name="connsiteY184" fmla="*/ 265392 h 676275"/>
                  <a:gd name="connsiteX185" fmla="*/ 856858 w 1276350"/>
                  <a:gd name="connsiteY185" fmla="*/ 265826 h 676275"/>
                  <a:gd name="connsiteX186" fmla="*/ 867835 w 1276350"/>
                  <a:gd name="connsiteY186" fmla="*/ 266932 h 676275"/>
                  <a:gd name="connsiteX187" fmla="*/ 876382 w 1276350"/>
                  <a:gd name="connsiteY187" fmla="*/ 268147 h 676275"/>
                  <a:gd name="connsiteX188" fmla="*/ 1006320 w 1276350"/>
                  <a:gd name="connsiteY188" fmla="*/ 289253 h 676275"/>
                  <a:gd name="connsiteX189" fmla="*/ 1022524 w 1276350"/>
                  <a:gd name="connsiteY189" fmla="*/ 291661 h 676275"/>
                  <a:gd name="connsiteX190" fmla="*/ 1022806 w 1276350"/>
                  <a:gd name="connsiteY190" fmla="*/ 290924 h 676275"/>
                  <a:gd name="connsiteX191" fmla="*/ 1023218 w 1276350"/>
                  <a:gd name="connsiteY191" fmla="*/ 290968 h 676275"/>
                  <a:gd name="connsiteX192" fmla="*/ 1023478 w 1276350"/>
                  <a:gd name="connsiteY192" fmla="*/ 290642 h 676275"/>
                  <a:gd name="connsiteX193" fmla="*/ 1026060 w 1276350"/>
                  <a:gd name="connsiteY193" fmla="*/ 291011 h 676275"/>
                  <a:gd name="connsiteX194" fmla="*/ 1029401 w 1276350"/>
                  <a:gd name="connsiteY194" fmla="*/ 291488 h 676275"/>
                  <a:gd name="connsiteX195" fmla="*/ 1028945 w 1276350"/>
                  <a:gd name="connsiteY195" fmla="*/ 292638 h 676275"/>
                  <a:gd name="connsiteX196" fmla="*/ 1061332 w 1276350"/>
                  <a:gd name="connsiteY196" fmla="*/ 297584 h 676275"/>
                  <a:gd name="connsiteX197" fmla="*/ 1071722 w 1276350"/>
                  <a:gd name="connsiteY197" fmla="*/ 299579 h 676275"/>
                  <a:gd name="connsiteX198" fmla="*/ 1080313 w 1276350"/>
                  <a:gd name="connsiteY198" fmla="*/ 301641 h 676275"/>
                  <a:gd name="connsiteX199" fmla="*/ 1087797 w 1276350"/>
                  <a:gd name="connsiteY199" fmla="*/ 303701 h 676275"/>
                  <a:gd name="connsiteX200" fmla="*/ 1102440 w 1276350"/>
                  <a:gd name="connsiteY200" fmla="*/ 308408 h 676275"/>
                  <a:gd name="connsiteX201" fmla="*/ 1162419 w 1276350"/>
                  <a:gd name="connsiteY201" fmla="*/ 327692 h 676275"/>
                  <a:gd name="connsiteX202" fmla="*/ 1166974 w 1276350"/>
                  <a:gd name="connsiteY202" fmla="*/ 329016 h 676275"/>
                  <a:gd name="connsiteX203" fmla="*/ 1180923 w 1276350"/>
                  <a:gd name="connsiteY203" fmla="*/ 332769 h 676275"/>
                  <a:gd name="connsiteX204" fmla="*/ 1199404 w 1276350"/>
                  <a:gd name="connsiteY204" fmla="*/ 337237 h 676275"/>
                  <a:gd name="connsiteX205" fmla="*/ 1209231 w 1276350"/>
                  <a:gd name="connsiteY205" fmla="*/ 340036 h 676275"/>
                  <a:gd name="connsiteX206" fmla="*/ 1216520 w 1276350"/>
                  <a:gd name="connsiteY206" fmla="*/ 342639 h 676275"/>
                  <a:gd name="connsiteX207" fmla="*/ 1224307 w 1276350"/>
                  <a:gd name="connsiteY207" fmla="*/ 345871 h 676275"/>
                  <a:gd name="connsiteX208" fmla="*/ 1231444 w 1276350"/>
                  <a:gd name="connsiteY208" fmla="*/ 349255 h 676275"/>
                  <a:gd name="connsiteX209" fmla="*/ 1237930 w 1276350"/>
                  <a:gd name="connsiteY209" fmla="*/ 352943 h 676275"/>
                  <a:gd name="connsiteX210" fmla="*/ 1244373 w 1276350"/>
                  <a:gd name="connsiteY210" fmla="*/ 357151 h 676275"/>
                  <a:gd name="connsiteX211" fmla="*/ 1250317 w 1276350"/>
                  <a:gd name="connsiteY211" fmla="*/ 361641 h 676275"/>
                  <a:gd name="connsiteX212" fmla="*/ 1255198 w 1276350"/>
                  <a:gd name="connsiteY212" fmla="*/ 365828 h 676275"/>
                  <a:gd name="connsiteX213" fmla="*/ 1258321 w 1276350"/>
                  <a:gd name="connsiteY213" fmla="*/ 369711 h 676275"/>
                  <a:gd name="connsiteX214" fmla="*/ 1259666 w 1276350"/>
                  <a:gd name="connsiteY214" fmla="*/ 370145 h 676275"/>
                  <a:gd name="connsiteX215" fmla="*/ 1261359 w 1276350"/>
                  <a:gd name="connsiteY215" fmla="*/ 370037 h 676275"/>
                  <a:gd name="connsiteX216" fmla="*/ 1264351 w 1276350"/>
                  <a:gd name="connsiteY216" fmla="*/ 373898 h 676275"/>
                  <a:gd name="connsiteX217" fmla="*/ 1262964 w 1276350"/>
                  <a:gd name="connsiteY217" fmla="*/ 374657 h 676275"/>
                  <a:gd name="connsiteX218" fmla="*/ 1262704 w 1276350"/>
                  <a:gd name="connsiteY218" fmla="*/ 375048 h 676275"/>
                  <a:gd name="connsiteX219" fmla="*/ 1262811 w 1276350"/>
                  <a:gd name="connsiteY219" fmla="*/ 375763 h 676275"/>
                  <a:gd name="connsiteX220" fmla="*/ 1266738 w 1276350"/>
                  <a:gd name="connsiteY220" fmla="*/ 379971 h 676275"/>
                  <a:gd name="connsiteX221" fmla="*/ 1269384 w 1276350"/>
                  <a:gd name="connsiteY221" fmla="*/ 384874 h 676275"/>
                  <a:gd name="connsiteX222" fmla="*/ 1272421 w 1276350"/>
                  <a:gd name="connsiteY222" fmla="*/ 393030 h 676275"/>
                  <a:gd name="connsiteX223" fmla="*/ 1272747 w 1276350"/>
                  <a:gd name="connsiteY223" fmla="*/ 397000 h 676275"/>
                  <a:gd name="connsiteX224" fmla="*/ 1273484 w 1276350"/>
                  <a:gd name="connsiteY224" fmla="*/ 397586 h 676275"/>
                  <a:gd name="connsiteX225" fmla="*/ 1274200 w 1276350"/>
                  <a:gd name="connsiteY225" fmla="*/ 397803 h 676275"/>
                  <a:gd name="connsiteX226" fmla="*/ 1275177 w 1276350"/>
                  <a:gd name="connsiteY226" fmla="*/ 397781 h 676275"/>
                  <a:gd name="connsiteX227" fmla="*/ 1275285 w 1276350"/>
                  <a:gd name="connsiteY227" fmla="*/ 398172 h 676275"/>
                  <a:gd name="connsiteX228" fmla="*/ 1275588 w 1276350"/>
                  <a:gd name="connsiteY228" fmla="*/ 398150 h 676275"/>
                  <a:gd name="connsiteX229" fmla="*/ 1276196 w 1276350"/>
                  <a:gd name="connsiteY229" fmla="*/ 400753 h 676275"/>
                  <a:gd name="connsiteX230" fmla="*/ 1276868 w 1276350"/>
                  <a:gd name="connsiteY230" fmla="*/ 403769 h 676275"/>
                  <a:gd name="connsiteX231" fmla="*/ 1275350 w 1276350"/>
                  <a:gd name="connsiteY231" fmla="*/ 404679 h 676275"/>
                  <a:gd name="connsiteX232" fmla="*/ 1275697 w 1276350"/>
                  <a:gd name="connsiteY232" fmla="*/ 411556 h 676275"/>
                  <a:gd name="connsiteX233" fmla="*/ 1276369 w 1276350"/>
                  <a:gd name="connsiteY233" fmla="*/ 414680 h 676275"/>
                  <a:gd name="connsiteX234" fmla="*/ 1275306 w 1276350"/>
                  <a:gd name="connsiteY234" fmla="*/ 425048 h 676275"/>
                  <a:gd name="connsiteX235" fmla="*/ 1273810 w 1276350"/>
                  <a:gd name="connsiteY235" fmla="*/ 432250 h 676275"/>
                  <a:gd name="connsiteX236" fmla="*/ 1272118 w 1276350"/>
                  <a:gd name="connsiteY236" fmla="*/ 437348 h 676275"/>
                  <a:gd name="connsiteX237" fmla="*/ 1269819 w 1276350"/>
                  <a:gd name="connsiteY237" fmla="*/ 442728 h 676275"/>
                  <a:gd name="connsiteX238" fmla="*/ 1268408 w 1276350"/>
                  <a:gd name="connsiteY238" fmla="*/ 445440 h 676275"/>
                  <a:gd name="connsiteX239" fmla="*/ 1257779 w 1276350"/>
                  <a:gd name="connsiteY239" fmla="*/ 463206 h 676275"/>
                  <a:gd name="connsiteX240" fmla="*/ 1258256 w 1276350"/>
                  <a:gd name="connsiteY240" fmla="*/ 463292 h 676275"/>
                  <a:gd name="connsiteX241" fmla="*/ 1258170 w 1276350"/>
                  <a:gd name="connsiteY241" fmla="*/ 464138 h 676275"/>
                  <a:gd name="connsiteX242" fmla="*/ 1258538 w 1276350"/>
                  <a:gd name="connsiteY242" fmla="*/ 464637 h 676275"/>
                  <a:gd name="connsiteX243" fmla="*/ 1259883 w 1276350"/>
                  <a:gd name="connsiteY243" fmla="*/ 465331 h 676275"/>
                  <a:gd name="connsiteX244" fmla="*/ 1255523 w 1276350"/>
                  <a:gd name="connsiteY244" fmla="*/ 472576 h 676275"/>
                  <a:gd name="connsiteX245" fmla="*/ 1246781 w 1276350"/>
                  <a:gd name="connsiteY245" fmla="*/ 487024 h 676275"/>
                  <a:gd name="connsiteX246" fmla="*/ 1158579 w 1276350"/>
                  <a:gd name="connsiteY246" fmla="*/ 488499 h 676275"/>
                  <a:gd name="connsiteX247" fmla="*/ 1154610 w 1276350"/>
                  <a:gd name="connsiteY247" fmla="*/ 488759 h 676275"/>
                  <a:gd name="connsiteX248" fmla="*/ 1150250 w 1276350"/>
                  <a:gd name="connsiteY248" fmla="*/ 489389 h 676275"/>
                  <a:gd name="connsiteX249" fmla="*/ 1146823 w 1276350"/>
                  <a:gd name="connsiteY249" fmla="*/ 490213 h 676275"/>
                  <a:gd name="connsiteX250" fmla="*/ 1144284 w 1276350"/>
                  <a:gd name="connsiteY250" fmla="*/ 490994 h 676275"/>
                  <a:gd name="connsiteX251" fmla="*/ 1141008 w 1276350"/>
                  <a:gd name="connsiteY251" fmla="*/ 492317 h 676275"/>
                  <a:gd name="connsiteX252" fmla="*/ 1138405 w 1276350"/>
                  <a:gd name="connsiteY252" fmla="*/ 493662 h 676275"/>
                  <a:gd name="connsiteX253" fmla="*/ 1116973 w 1276350"/>
                  <a:gd name="connsiteY253" fmla="*/ 506634 h 676275"/>
                  <a:gd name="connsiteX254" fmla="*/ 1099120 w 1276350"/>
                  <a:gd name="connsiteY254" fmla="*/ 515680 h 676275"/>
                  <a:gd name="connsiteX255" fmla="*/ 1045627 w 1276350"/>
                  <a:gd name="connsiteY255" fmla="*/ 547980 h 676275"/>
                  <a:gd name="connsiteX256" fmla="*/ 1043046 w 1276350"/>
                  <a:gd name="connsiteY256" fmla="*/ 549715 h 676275"/>
                  <a:gd name="connsiteX257" fmla="*/ 1040398 w 1276350"/>
                  <a:gd name="connsiteY257" fmla="*/ 551038 h 676275"/>
                  <a:gd name="connsiteX258" fmla="*/ 1037622 w 1276350"/>
                  <a:gd name="connsiteY258" fmla="*/ 552102 h 676275"/>
                  <a:gd name="connsiteX259" fmla="*/ 1033674 w 1276350"/>
                  <a:gd name="connsiteY259" fmla="*/ 553164 h 676275"/>
                  <a:gd name="connsiteX260" fmla="*/ 1028837 w 1276350"/>
                  <a:gd name="connsiteY260" fmla="*/ 553924 h 676275"/>
                  <a:gd name="connsiteX261" fmla="*/ 1018706 w 1276350"/>
                  <a:gd name="connsiteY261" fmla="*/ 555160 h 676275"/>
                  <a:gd name="connsiteX262" fmla="*/ 1003804 w 1276350"/>
                  <a:gd name="connsiteY262" fmla="*/ 556396 h 676275"/>
                  <a:gd name="connsiteX263" fmla="*/ 1000290 w 1276350"/>
                  <a:gd name="connsiteY263" fmla="*/ 557091 h 676275"/>
                  <a:gd name="connsiteX264" fmla="*/ 996905 w 1276350"/>
                  <a:gd name="connsiteY264" fmla="*/ 558045 h 676275"/>
                  <a:gd name="connsiteX265" fmla="*/ 992827 w 1276350"/>
                  <a:gd name="connsiteY265" fmla="*/ 559628 h 676275"/>
                  <a:gd name="connsiteX266" fmla="*/ 989530 w 1276350"/>
                  <a:gd name="connsiteY266" fmla="*/ 561386 h 676275"/>
                  <a:gd name="connsiteX267" fmla="*/ 982133 w 1276350"/>
                  <a:gd name="connsiteY267" fmla="*/ 567416 h 676275"/>
                  <a:gd name="connsiteX268" fmla="*/ 974475 w 1276350"/>
                  <a:gd name="connsiteY268" fmla="*/ 574076 h 676275"/>
                  <a:gd name="connsiteX269" fmla="*/ 970615 w 1276350"/>
                  <a:gd name="connsiteY269" fmla="*/ 576462 h 676275"/>
                  <a:gd name="connsiteX270" fmla="*/ 966991 w 1276350"/>
                  <a:gd name="connsiteY270" fmla="*/ 578241 h 676275"/>
                  <a:gd name="connsiteX271" fmla="*/ 960852 w 1276350"/>
                  <a:gd name="connsiteY271" fmla="*/ 580496 h 676275"/>
                  <a:gd name="connsiteX272" fmla="*/ 954214 w 1276350"/>
                  <a:gd name="connsiteY272" fmla="*/ 582123 h 676275"/>
                  <a:gd name="connsiteX273" fmla="*/ 946991 w 1276350"/>
                  <a:gd name="connsiteY273" fmla="*/ 583100 h 676275"/>
                  <a:gd name="connsiteX274" fmla="*/ 941004 w 1276350"/>
                  <a:gd name="connsiteY274" fmla="*/ 583317 h 676275"/>
                  <a:gd name="connsiteX275" fmla="*/ 917793 w 1276350"/>
                  <a:gd name="connsiteY275" fmla="*/ 584206 h 676275"/>
                  <a:gd name="connsiteX276" fmla="*/ 914322 w 1276350"/>
                  <a:gd name="connsiteY276" fmla="*/ 584597 h 676275"/>
                  <a:gd name="connsiteX277" fmla="*/ 908249 w 1276350"/>
                  <a:gd name="connsiteY277" fmla="*/ 585616 h 676275"/>
                  <a:gd name="connsiteX278" fmla="*/ 903693 w 1276350"/>
                  <a:gd name="connsiteY278" fmla="*/ 586635 h 676275"/>
                  <a:gd name="connsiteX279" fmla="*/ 888725 w 1276350"/>
                  <a:gd name="connsiteY279" fmla="*/ 590779 h 676275"/>
                  <a:gd name="connsiteX280" fmla="*/ 866079 w 1276350"/>
                  <a:gd name="connsiteY280" fmla="*/ 597092 h 676275"/>
                  <a:gd name="connsiteX281" fmla="*/ 840113 w 1276350"/>
                  <a:gd name="connsiteY281" fmla="*/ 600085 h 676275"/>
                  <a:gd name="connsiteX282" fmla="*/ 816814 w 1276350"/>
                  <a:gd name="connsiteY282" fmla="*/ 602492 h 676275"/>
                  <a:gd name="connsiteX283" fmla="*/ 814082 w 1276350"/>
                  <a:gd name="connsiteY283" fmla="*/ 602970 h 676275"/>
                  <a:gd name="connsiteX284" fmla="*/ 810871 w 1276350"/>
                  <a:gd name="connsiteY284" fmla="*/ 603924 h 676275"/>
                  <a:gd name="connsiteX285" fmla="*/ 808441 w 1276350"/>
                  <a:gd name="connsiteY285" fmla="*/ 605009 h 676275"/>
                  <a:gd name="connsiteX286" fmla="*/ 806880 w 1276350"/>
                  <a:gd name="connsiteY286" fmla="*/ 605942 h 676275"/>
                  <a:gd name="connsiteX287" fmla="*/ 804299 w 1276350"/>
                  <a:gd name="connsiteY287" fmla="*/ 608003 h 676275"/>
                  <a:gd name="connsiteX288" fmla="*/ 801456 w 1276350"/>
                  <a:gd name="connsiteY288" fmla="*/ 609869 h 676275"/>
                  <a:gd name="connsiteX289" fmla="*/ 796706 w 1276350"/>
                  <a:gd name="connsiteY289" fmla="*/ 612277 h 676275"/>
                  <a:gd name="connsiteX290" fmla="*/ 790806 w 1276350"/>
                  <a:gd name="connsiteY290" fmla="*/ 614424 h 676275"/>
                  <a:gd name="connsiteX291" fmla="*/ 787117 w 1276350"/>
                  <a:gd name="connsiteY291" fmla="*/ 615400 h 676275"/>
                  <a:gd name="connsiteX292" fmla="*/ 783842 w 1276350"/>
                  <a:gd name="connsiteY292" fmla="*/ 616050 h 676275"/>
                  <a:gd name="connsiteX293" fmla="*/ 777682 w 1276350"/>
                  <a:gd name="connsiteY293" fmla="*/ 616809 h 676275"/>
                  <a:gd name="connsiteX294" fmla="*/ 771217 w 1276350"/>
                  <a:gd name="connsiteY294" fmla="*/ 617005 h 676275"/>
                  <a:gd name="connsiteX295" fmla="*/ 764797 w 1276350"/>
                  <a:gd name="connsiteY295" fmla="*/ 616571 h 676275"/>
                  <a:gd name="connsiteX296" fmla="*/ 757659 w 1276350"/>
                  <a:gd name="connsiteY296" fmla="*/ 615400 h 676275"/>
                  <a:gd name="connsiteX297" fmla="*/ 752779 w 1276350"/>
                  <a:gd name="connsiteY297" fmla="*/ 615205 h 676275"/>
                  <a:gd name="connsiteX298" fmla="*/ 747031 w 1276350"/>
                  <a:gd name="connsiteY298" fmla="*/ 615660 h 676275"/>
                  <a:gd name="connsiteX299" fmla="*/ 742106 w 1276350"/>
                  <a:gd name="connsiteY299" fmla="*/ 616745 h 676275"/>
                  <a:gd name="connsiteX300" fmla="*/ 734578 w 1276350"/>
                  <a:gd name="connsiteY300" fmla="*/ 618697 h 676275"/>
                  <a:gd name="connsiteX301" fmla="*/ 730457 w 1276350"/>
                  <a:gd name="connsiteY301" fmla="*/ 620172 h 676275"/>
                  <a:gd name="connsiteX302" fmla="*/ 727441 w 1276350"/>
                  <a:gd name="connsiteY302" fmla="*/ 621496 h 676275"/>
                  <a:gd name="connsiteX303" fmla="*/ 724492 w 1276350"/>
                  <a:gd name="connsiteY303" fmla="*/ 623014 h 676275"/>
                  <a:gd name="connsiteX304" fmla="*/ 721671 w 1276350"/>
                  <a:gd name="connsiteY304" fmla="*/ 624771 h 676275"/>
                  <a:gd name="connsiteX305" fmla="*/ 715685 w 1276350"/>
                  <a:gd name="connsiteY305" fmla="*/ 629435 h 676275"/>
                  <a:gd name="connsiteX306" fmla="*/ 711758 w 1276350"/>
                  <a:gd name="connsiteY306" fmla="*/ 632211 h 676275"/>
                  <a:gd name="connsiteX307" fmla="*/ 705684 w 1276350"/>
                  <a:gd name="connsiteY307" fmla="*/ 635509 h 676275"/>
                  <a:gd name="connsiteX308" fmla="*/ 702713 w 1276350"/>
                  <a:gd name="connsiteY308" fmla="*/ 636810 h 676275"/>
                  <a:gd name="connsiteX309" fmla="*/ 695467 w 1276350"/>
                  <a:gd name="connsiteY309" fmla="*/ 639283 h 676275"/>
                  <a:gd name="connsiteX310" fmla="*/ 691215 w 1276350"/>
                  <a:gd name="connsiteY310" fmla="*/ 640412 h 676275"/>
                  <a:gd name="connsiteX311" fmla="*/ 673601 w 1276350"/>
                  <a:gd name="connsiteY311" fmla="*/ 643665 h 676275"/>
                  <a:gd name="connsiteX312" fmla="*/ 662104 w 1276350"/>
                  <a:gd name="connsiteY312" fmla="*/ 64661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1276350" h="676275">
                    <a:moveTo>
                      <a:pt x="662104" y="646615"/>
                    </a:moveTo>
                    <a:lnTo>
                      <a:pt x="648372" y="650173"/>
                    </a:lnTo>
                    <a:lnTo>
                      <a:pt x="597938" y="660000"/>
                    </a:lnTo>
                    <a:lnTo>
                      <a:pt x="545247" y="670737"/>
                    </a:lnTo>
                    <a:lnTo>
                      <a:pt x="535789" y="672624"/>
                    </a:lnTo>
                    <a:lnTo>
                      <a:pt x="530387" y="673384"/>
                    </a:lnTo>
                    <a:lnTo>
                      <a:pt x="523836" y="674035"/>
                    </a:lnTo>
                    <a:lnTo>
                      <a:pt x="519064" y="674339"/>
                    </a:lnTo>
                    <a:lnTo>
                      <a:pt x="478694" y="671909"/>
                    </a:lnTo>
                    <a:lnTo>
                      <a:pt x="367325" y="665206"/>
                    </a:lnTo>
                    <a:lnTo>
                      <a:pt x="363746" y="664902"/>
                    </a:lnTo>
                    <a:lnTo>
                      <a:pt x="359755" y="664447"/>
                    </a:lnTo>
                    <a:lnTo>
                      <a:pt x="353855" y="663493"/>
                    </a:lnTo>
                    <a:lnTo>
                      <a:pt x="345502" y="661562"/>
                    </a:lnTo>
                    <a:lnTo>
                      <a:pt x="336717" y="658698"/>
                    </a:lnTo>
                    <a:lnTo>
                      <a:pt x="332336" y="656875"/>
                    </a:lnTo>
                    <a:lnTo>
                      <a:pt x="328257" y="654858"/>
                    </a:lnTo>
                    <a:lnTo>
                      <a:pt x="321229" y="650672"/>
                    </a:lnTo>
                    <a:lnTo>
                      <a:pt x="314873" y="645943"/>
                    </a:lnTo>
                    <a:lnTo>
                      <a:pt x="310209" y="641670"/>
                    </a:lnTo>
                    <a:lnTo>
                      <a:pt x="307823" y="638763"/>
                    </a:lnTo>
                    <a:lnTo>
                      <a:pt x="305220" y="636029"/>
                    </a:lnTo>
                    <a:lnTo>
                      <a:pt x="300231" y="631778"/>
                    </a:lnTo>
                    <a:lnTo>
                      <a:pt x="293918" y="627591"/>
                    </a:lnTo>
                    <a:lnTo>
                      <a:pt x="288040" y="624489"/>
                    </a:lnTo>
                    <a:lnTo>
                      <a:pt x="264416" y="612623"/>
                    </a:lnTo>
                    <a:lnTo>
                      <a:pt x="244589" y="602710"/>
                    </a:lnTo>
                    <a:lnTo>
                      <a:pt x="223699" y="592254"/>
                    </a:lnTo>
                    <a:lnTo>
                      <a:pt x="219838" y="590692"/>
                    </a:lnTo>
                    <a:lnTo>
                      <a:pt x="215738" y="589478"/>
                    </a:lnTo>
                    <a:lnTo>
                      <a:pt x="211248" y="588588"/>
                    </a:lnTo>
                    <a:lnTo>
                      <a:pt x="206757" y="588089"/>
                    </a:lnTo>
                    <a:lnTo>
                      <a:pt x="184892" y="587720"/>
                    </a:lnTo>
                    <a:lnTo>
                      <a:pt x="181876" y="587460"/>
                    </a:lnTo>
                    <a:lnTo>
                      <a:pt x="179643" y="587070"/>
                    </a:lnTo>
                    <a:lnTo>
                      <a:pt x="177473" y="586506"/>
                    </a:lnTo>
                    <a:lnTo>
                      <a:pt x="173243" y="584922"/>
                    </a:lnTo>
                    <a:lnTo>
                      <a:pt x="168666" y="582622"/>
                    </a:lnTo>
                    <a:lnTo>
                      <a:pt x="166735" y="581104"/>
                    </a:lnTo>
                    <a:lnTo>
                      <a:pt x="164957" y="579151"/>
                    </a:lnTo>
                    <a:lnTo>
                      <a:pt x="162917" y="575117"/>
                    </a:lnTo>
                    <a:lnTo>
                      <a:pt x="161963" y="569564"/>
                    </a:lnTo>
                    <a:lnTo>
                      <a:pt x="160639" y="565789"/>
                    </a:lnTo>
                    <a:lnTo>
                      <a:pt x="159620" y="563751"/>
                    </a:lnTo>
                    <a:lnTo>
                      <a:pt x="158405" y="561689"/>
                    </a:lnTo>
                    <a:lnTo>
                      <a:pt x="154566" y="558609"/>
                    </a:lnTo>
                    <a:lnTo>
                      <a:pt x="152071" y="556613"/>
                    </a:lnTo>
                    <a:lnTo>
                      <a:pt x="146214" y="552687"/>
                    </a:lnTo>
                    <a:lnTo>
                      <a:pt x="143112" y="550865"/>
                    </a:lnTo>
                    <a:lnTo>
                      <a:pt x="139533" y="549064"/>
                    </a:lnTo>
                    <a:lnTo>
                      <a:pt x="132418" y="546223"/>
                    </a:lnTo>
                    <a:lnTo>
                      <a:pt x="122461" y="543381"/>
                    </a:lnTo>
                    <a:lnTo>
                      <a:pt x="118730" y="541689"/>
                    </a:lnTo>
                    <a:lnTo>
                      <a:pt x="116821" y="540409"/>
                    </a:lnTo>
                    <a:lnTo>
                      <a:pt x="115172" y="538890"/>
                    </a:lnTo>
                    <a:lnTo>
                      <a:pt x="113849" y="537155"/>
                    </a:lnTo>
                    <a:lnTo>
                      <a:pt x="112938" y="535312"/>
                    </a:lnTo>
                    <a:lnTo>
                      <a:pt x="111593" y="531602"/>
                    </a:lnTo>
                    <a:lnTo>
                      <a:pt x="111051" y="529064"/>
                    </a:lnTo>
                    <a:lnTo>
                      <a:pt x="110790" y="526526"/>
                    </a:lnTo>
                    <a:lnTo>
                      <a:pt x="110942" y="522708"/>
                    </a:lnTo>
                    <a:lnTo>
                      <a:pt x="111094" y="521341"/>
                    </a:lnTo>
                    <a:lnTo>
                      <a:pt x="110790" y="518326"/>
                    </a:lnTo>
                    <a:lnTo>
                      <a:pt x="109597" y="514118"/>
                    </a:lnTo>
                    <a:lnTo>
                      <a:pt x="107580" y="510191"/>
                    </a:lnTo>
                    <a:lnTo>
                      <a:pt x="103177" y="504161"/>
                    </a:lnTo>
                    <a:lnTo>
                      <a:pt x="99575" y="500538"/>
                    </a:lnTo>
                    <a:lnTo>
                      <a:pt x="95953" y="497632"/>
                    </a:lnTo>
                    <a:lnTo>
                      <a:pt x="92981" y="495636"/>
                    </a:lnTo>
                    <a:lnTo>
                      <a:pt x="87340" y="492664"/>
                    </a:lnTo>
                    <a:lnTo>
                      <a:pt x="81961" y="489258"/>
                    </a:lnTo>
                    <a:lnTo>
                      <a:pt x="76907" y="485397"/>
                    </a:lnTo>
                    <a:lnTo>
                      <a:pt x="73913" y="482642"/>
                    </a:lnTo>
                    <a:lnTo>
                      <a:pt x="72026" y="478694"/>
                    </a:lnTo>
                    <a:lnTo>
                      <a:pt x="70551" y="474789"/>
                    </a:lnTo>
                    <a:lnTo>
                      <a:pt x="69618" y="471167"/>
                    </a:lnTo>
                    <a:lnTo>
                      <a:pt x="68425" y="462446"/>
                    </a:lnTo>
                    <a:lnTo>
                      <a:pt x="66993" y="458216"/>
                    </a:lnTo>
                    <a:lnTo>
                      <a:pt x="63957" y="452685"/>
                    </a:lnTo>
                    <a:lnTo>
                      <a:pt x="58511" y="445093"/>
                    </a:lnTo>
                    <a:lnTo>
                      <a:pt x="56212" y="441860"/>
                    </a:lnTo>
                    <a:lnTo>
                      <a:pt x="55323" y="440949"/>
                    </a:lnTo>
                    <a:lnTo>
                      <a:pt x="47535" y="435027"/>
                    </a:lnTo>
                    <a:lnTo>
                      <a:pt x="40811" y="428801"/>
                    </a:lnTo>
                    <a:lnTo>
                      <a:pt x="36776" y="424289"/>
                    </a:lnTo>
                    <a:lnTo>
                      <a:pt x="33912" y="420428"/>
                    </a:lnTo>
                    <a:lnTo>
                      <a:pt x="20267" y="397803"/>
                    </a:lnTo>
                    <a:lnTo>
                      <a:pt x="8532" y="371642"/>
                    </a:lnTo>
                    <a:lnTo>
                      <a:pt x="7404" y="367933"/>
                    </a:lnTo>
                    <a:lnTo>
                      <a:pt x="7144" y="364873"/>
                    </a:lnTo>
                    <a:lnTo>
                      <a:pt x="8076" y="362205"/>
                    </a:lnTo>
                    <a:lnTo>
                      <a:pt x="9660" y="359473"/>
                    </a:lnTo>
                    <a:lnTo>
                      <a:pt x="12263" y="356327"/>
                    </a:lnTo>
                    <a:lnTo>
                      <a:pt x="14563" y="354266"/>
                    </a:lnTo>
                    <a:lnTo>
                      <a:pt x="15604" y="353463"/>
                    </a:lnTo>
                    <a:lnTo>
                      <a:pt x="22957" y="349190"/>
                    </a:lnTo>
                    <a:lnTo>
                      <a:pt x="24411" y="348106"/>
                    </a:lnTo>
                    <a:lnTo>
                      <a:pt x="25691" y="346761"/>
                    </a:lnTo>
                    <a:lnTo>
                      <a:pt x="28229" y="343268"/>
                    </a:lnTo>
                    <a:lnTo>
                      <a:pt x="29292" y="340839"/>
                    </a:lnTo>
                    <a:lnTo>
                      <a:pt x="29834" y="338647"/>
                    </a:lnTo>
                    <a:lnTo>
                      <a:pt x="29574" y="332140"/>
                    </a:lnTo>
                    <a:lnTo>
                      <a:pt x="29965" y="327064"/>
                    </a:lnTo>
                    <a:lnTo>
                      <a:pt x="30442" y="324179"/>
                    </a:lnTo>
                    <a:lnTo>
                      <a:pt x="31049" y="321120"/>
                    </a:lnTo>
                    <a:lnTo>
                      <a:pt x="37795" y="321857"/>
                    </a:lnTo>
                    <a:lnTo>
                      <a:pt x="38532" y="318972"/>
                    </a:lnTo>
                    <a:lnTo>
                      <a:pt x="40875" y="314156"/>
                    </a:lnTo>
                    <a:lnTo>
                      <a:pt x="53826" y="293549"/>
                    </a:lnTo>
                    <a:lnTo>
                      <a:pt x="84651" y="244242"/>
                    </a:lnTo>
                    <a:lnTo>
                      <a:pt x="82395" y="243700"/>
                    </a:lnTo>
                    <a:lnTo>
                      <a:pt x="86061" y="238016"/>
                    </a:lnTo>
                    <a:lnTo>
                      <a:pt x="86559" y="238125"/>
                    </a:lnTo>
                    <a:lnTo>
                      <a:pt x="90725" y="231443"/>
                    </a:lnTo>
                    <a:lnTo>
                      <a:pt x="86538" y="230402"/>
                    </a:lnTo>
                    <a:lnTo>
                      <a:pt x="87970" y="228081"/>
                    </a:lnTo>
                    <a:lnTo>
                      <a:pt x="124738" y="169230"/>
                    </a:lnTo>
                    <a:lnTo>
                      <a:pt x="124978" y="167863"/>
                    </a:lnTo>
                    <a:lnTo>
                      <a:pt x="124587" y="166605"/>
                    </a:lnTo>
                    <a:lnTo>
                      <a:pt x="119749" y="161247"/>
                    </a:lnTo>
                    <a:lnTo>
                      <a:pt x="118839" y="159620"/>
                    </a:lnTo>
                    <a:lnTo>
                      <a:pt x="118469" y="157949"/>
                    </a:lnTo>
                    <a:lnTo>
                      <a:pt x="118578" y="156431"/>
                    </a:lnTo>
                    <a:lnTo>
                      <a:pt x="119012" y="155238"/>
                    </a:lnTo>
                    <a:lnTo>
                      <a:pt x="119923" y="153784"/>
                    </a:lnTo>
                    <a:lnTo>
                      <a:pt x="121333" y="152310"/>
                    </a:lnTo>
                    <a:lnTo>
                      <a:pt x="123611" y="150812"/>
                    </a:lnTo>
                    <a:lnTo>
                      <a:pt x="129945" y="148296"/>
                    </a:lnTo>
                    <a:lnTo>
                      <a:pt x="134978" y="145672"/>
                    </a:lnTo>
                    <a:lnTo>
                      <a:pt x="138296" y="143372"/>
                    </a:lnTo>
                    <a:lnTo>
                      <a:pt x="141876" y="140032"/>
                    </a:lnTo>
                    <a:lnTo>
                      <a:pt x="144262" y="136930"/>
                    </a:lnTo>
                    <a:lnTo>
                      <a:pt x="163894" y="105020"/>
                    </a:lnTo>
                    <a:lnTo>
                      <a:pt x="167472" y="99467"/>
                    </a:lnTo>
                    <a:lnTo>
                      <a:pt x="178753" y="83197"/>
                    </a:lnTo>
                    <a:lnTo>
                      <a:pt x="183981" y="77210"/>
                    </a:lnTo>
                    <a:lnTo>
                      <a:pt x="193677" y="65474"/>
                    </a:lnTo>
                    <a:lnTo>
                      <a:pt x="198015" y="60247"/>
                    </a:lnTo>
                    <a:lnTo>
                      <a:pt x="214589" y="36407"/>
                    </a:lnTo>
                    <a:lnTo>
                      <a:pt x="225022" y="13911"/>
                    </a:lnTo>
                    <a:lnTo>
                      <a:pt x="252507" y="18510"/>
                    </a:lnTo>
                    <a:lnTo>
                      <a:pt x="257409" y="19335"/>
                    </a:lnTo>
                    <a:lnTo>
                      <a:pt x="366696" y="12588"/>
                    </a:lnTo>
                    <a:lnTo>
                      <a:pt x="389669" y="11157"/>
                    </a:lnTo>
                    <a:lnTo>
                      <a:pt x="392683" y="18011"/>
                    </a:lnTo>
                    <a:lnTo>
                      <a:pt x="394745" y="17642"/>
                    </a:lnTo>
                    <a:lnTo>
                      <a:pt x="394593" y="17317"/>
                    </a:lnTo>
                    <a:lnTo>
                      <a:pt x="394809" y="14823"/>
                    </a:lnTo>
                    <a:lnTo>
                      <a:pt x="396025" y="10788"/>
                    </a:lnTo>
                    <a:lnTo>
                      <a:pt x="454963" y="7144"/>
                    </a:lnTo>
                    <a:lnTo>
                      <a:pt x="467479" y="45517"/>
                    </a:lnTo>
                    <a:lnTo>
                      <a:pt x="472187" y="57687"/>
                    </a:lnTo>
                    <a:lnTo>
                      <a:pt x="480191" y="73154"/>
                    </a:lnTo>
                    <a:lnTo>
                      <a:pt x="491406" y="89684"/>
                    </a:lnTo>
                    <a:lnTo>
                      <a:pt x="503271" y="103045"/>
                    </a:lnTo>
                    <a:lnTo>
                      <a:pt x="516374" y="115953"/>
                    </a:lnTo>
                    <a:lnTo>
                      <a:pt x="532622" y="129641"/>
                    </a:lnTo>
                    <a:lnTo>
                      <a:pt x="534965" y="131246"/>
                    </a:lnTo>
                    <a:lnTo>
                      <a:pt x="550301" y="141766"/>
                    </a:lnTo>
                    <a:lnTo>
                      <a:pt x="562905" y="148947"/>
                    </a:lnTo>
                    <a:lnTo>
                      <a:pt x="569585" y="152743"/>
                    </a:lnTo>
                    <a:lnTo>
                      <a:pt x="587287" y="161789"/>
                    </a:lnTo>
                    <a:lnTo>
                      <a:pt x="607070" y="169728"/>
                    </a:lnTo>
                    <a:lnTo>
                      <a:pt x="610692" y="171203"/>
                    </a:lnTo>
                    <a:lnTo>
                      <a:pt x="632407" y="178882"/>
                    </a:lnTo>
                    <a:lnTo>
                      <a:pt x="655163" y="185629"/>
                    </a:lnTo>
                    <a:lnTo>
                      <a:pt x="680369" y="191247"/>
                    </a:lnTo>
                    <a:lnTo>
                      <a:pt x="691887" y="193373"/>
                    </a:lnTo>
                    <a:lnTo>
                      <a:pt x="700629" y="194804"/>
                    </a:lnTo>
                    <a:lnTo>
                      <a:pt x="703277" y="195261"/>
                    </a:lnTo>
                    <a:lnTo>
                      <a:pt x="726943" y="198189"/>
                    </a:lnTo>
                    <a:lnTo>
                      <a:pt x="749980" y="198796"/>
                    </a:lnTo>
                    <a:lnTo>
                      <a:pt x="791391" y="197560"/>
                    </a:lnTo>
                    <a:lnTo>
                      <a:pt x="803647" y="246954"/>
                    </a:lnTo>
                    <a:lnTo>
                      <a:pt x="821566" y="248168"/>
                    </a:lnTo>
                    <a:lnTo>
                      <a:pt x="823778" y="256759"/>
                    </a:lnTo>
                    <a:lnTo>
                      <a:pt x="822715" y="258342"/>
                    </a:lnTo>
                    <a:lnTo>
                      <a:pt x="819852" y="258624"/>
                    </a:lnTo>
                    <a:lnTo>
                      <a:pt x="821479" y="265153"/>
                    </a:lnTo>
                    <a:lnTo>
                      <a:pt x="823692" y="264980"/>
                    </a:lnTo>
                    <a:lnTo>
                      <a:pt x="823887" y="265414"/>
                    </a:lnTo>
                    <a:lnTo>
                      <a:pt x="824711" y="265652"/>
                    </a:lnTo>
                    <a:lnTo>
                      <a:pt x="830676" y="265327"/>
                    </a:lnTo>
                    <a:lnTo>
                      <a:pt x="837727" y="265153"/>
                    </a:lnTo>
                    <a:lnTo>
                      <a:pt x="850156" y="265392"/>
                    </a:lnTo>
                    <a:lnTo>
                      <a:pt x="856858" y="265826"/>
                    </a:lnTo>
                    <a:lnTo>
                      <a:pt x="867835" y="266932"/>
                    </a:lnTo>
                    <a:lnTo>
                      <a:pt x="876382" y="268147"/>
                    </a:lnTo>
                    <a:lnTo>
                      <a:pt x="1006320" y="289253"/>
                    </a:lnTo>
                    <a:lnTo>
                      <a:pt x="1022524" y="291661"/>
                    </a:lnTo>
                    <a:lnTo>
                      <a:pt x="1022806" y="290924"/>
                    </a:lnTo>
                    <a:lnTo>
                      <a:pt x="1023218" y="290968"/>
                    </a:lnTo>
                    <a:lnTo>
                      <a:pt x="1023478" y="290642"/>
                    </a:lnTo>
                    <a:lnTo>
                      <a:pt x="1026060" y="291011"/>
                    </a:lnTo>
                    <a:lnTo>
                      <a:pt x="1029401" y="291488"/>
                    </a:lnTo>
                    <a:lnTo>
                      <a:pt x="1028945" y="292638"/>
                    </a:lnTo>
                    <a:lnTo>
                      <a:pt x="1061332" y="297584"/>
                    </a:lnTo>
                    <a:lnTo>
                      <a:pt x="1071722" y="299579"/>
                    </a:lnTo>
                    <a:lnTo>
                      <a:pt x="1080313" y="301641"/>
                    </a:lnTo>
                    <a:lnTo>
                      <a:pt x="1087797" y="303701"/>
                    </a:lnTo>
                    <a:lnTo>
                      <a:pt x="1102440" y="308408"/>
                    </a:lnTo>
                    <a:lnTo>
                      <a:pt x="1162419" y="327692"/>
                    </a:lnTo>
                    <a:lnTo>
                      <a:pt x="1166974" y="329016"/>
                    </a:lnTo>
                    <a:lnTo>
                      <a:pt x="1180923" y="332769"/>
                    </a:lnTo>
                    <a:lnTo>
                      <a:pt x="1199404" y="337237"/>
                    </a:lnTo>
                    <a:lnTo>
                      <a:pt x="1209231" y="340036"/>
                    </a:lnTo>
                    <a:lnTo>
                      <a:pt x="1216520" y="342639"/>
                    </a:lnTo>
                    <a:lnTo>
                      <a:pt x="1224307" y="345871"/>
                    </a:lnTo>
                    <a:lnTo>
                      <a:pt x="1231444" y="349255"/>
                    </a:lnTo>
                    <a:lnTo>
                      <a:pt x="1237930" y="352943"/>
                    </a:lnTo>
                    <a:lnTo>
                      <a:pt x="1244373" y="357151"/>
                    </a:lnTo>
                    <a:lnTo>
                      <a:pt x="1250317" y="361641"/>
                    </a:lnTo>
                    <a:lnTo>
                      <a:pt x="1255198" y="365828"/>
                    </a:lnTo>
                    <a:lnTo>
                      <a:pt x="1258321" y="369711"/>
                    </a:lnTo>
                    <a:lnTo>
                      <a:pt x="1259666" y="370145"/>
                    </a:lnTo>
                    <a:lnTo>
                      <a:pt x="1261359" y="370037"/>
                    </a:lnTo>
                    <a:lnTo>
                      <a:pt x="1264351" y="373898"/>
                    </a:lnTo>
                    <a:lnTo>
                      <a:pt x="1262964" y="374657"/>
                    </a:lnTo>
                    <a:lnTo>
                      <a:pt x="1262704" y="375048"/>
                    </a:lnTo>
                    <a:lnTo>
                      <a:pt x="1262811" y="375763"/>
                    </a:lnTo>
                    <a:lnTo>
                      <a:pt x="1266738" y="379971"/>
                    </a:lnTo>
                    <a:lnTo>
                      <a:pt x="1269384" y="384874"/>
                    </a:lnTo>
                    <a:lnTo>
                      <a:pt x="1272421" y="393030"/>
                    </a:lnTo>
                    <a:lnTo>
                      <a:pt x="1272747" y="397000"/>
                    </a:lnTo>
                    <a:lnTo>
                      <a:pt x="1273484" y="397586"/>
                    </a:lnTo>
                    <a:lnTo>
                      <a:pt x="1274200" y="397803"/>
                    </a:lnTo>
                    <a:lnTo>
                      <a:pt x="1275177" y="397781"/>
                    </a:lnTo>
                    <a:lnTo>
                      <a:pt x="1275285" y="398172"/>
                    </a:lnTo>
                    <a:lnTo>
                      <a:pt x="1275588" y="398150"/>
                    </a:lnTo>
                    <a:lnTo>
                      <a:pt x="1276196" y="400753"/>
                    </a:lnTo>
                    <a:lnTo>
                      <a:pt x="1276868" y="403769"/>
                    </a:lnTo>
                    <a:lnTo>
                      <a:pt x="1275350" y="404679"/>
                    </a:lnTo>
                    <a:lnTo>
                      <a:pt x="1275697" y="411556"/>
                    </a:lnTo>
                    <a:lnTo>
                      <a:pt x="1276369" y="414680"/>
                    </a:lnTo>
                    <a:lnTo>
                      <a:pt x="1275306" y="425048"/>
                    </a:lnTo>
                    <a:lnTo>
                      <a:pt x="1273810" y="432250"/>
                    </a:lnTo>
                    <a:lnTo>
                      <a:pt x="1272118" y="437348"/>
                    </a:lnTo>
                    <a:lnTo>
                      <a:pt x="1269819" y="442728"/>
                    </a:lnTo>
                    <a:lnTo>
                      <a:pt x="1268408" y="445440"/>
                    </a:lnTo>
                    <a:lnTo>
                      <a:pt x="1257779" y="463206"/>
                    </a:lnTo>
                    <a:lnTo>
                      <a:pt x="1258256" y="463292"/>
                    </a:lnTo>
                    <a:lnTo>
                      <a:pt x="1258170" y="464138"/>
                    </a:lnTo>
                    <a:lnTo>
                      <a:pt x="1258538" y="464637"/>
                    </a:lnTo>
                    <a:lnTo>
                      <a:pt x="1259883" y="465331"/>
                    </a:lnTo>
                    <a:lnTo>
                      <a:pt x="1255523" y="472576"/>
                    </a:lnTo>
                    <a:lnTo>
                      <a:pt x="1246781" y="487024"/>
                    </a:lnTo>
                    <a:lnTo>
                      <a:pt x="1158579" y="488499"/>
                    </a:lnTo>
                    <a:lnTo>
                      <a:pt x="1154610" y="488759"/>
                    </a:lnTo>
                    <a:lnTo>
                      <a:pt x="1150250" y="489389"/>
                    </a:lnTo>
                    <a:lnTo>
                      <a:pt x="1146823" y="490213"/>
                    </a:lnTo>
                    <a:lnTo>
                      <a:pt x="1144284" y="490994"/>
                    </a:lnTo>
                    <a:lnTo>
                      <a:pt x="1141008" y="492317"/>
                    </a:lnTo>
                    <a:lnTo>
                      <a:pt x="1138405" y="493662"/>
                    </a:lnTo>
                    <a:lnTo>
                      <a:pt x="1116973" y="506634"/>
                    </a:lnTo>
                    <a:lnTo>
                      <a:pt x="1099120" y="515680"/>
                    </a:lnTo>
                    <a:lnTo>
                      <a:pt x="1045627" y="547980"/>
                    </a:lnTo>
                    <a:lnTo>
                      <a:pt x="1043046" y="549715"/>
                    </a:lnTo>
                    <a:lnTo>
                      <a:pt x="1040398" y="551038"/>
                    </a:lnTo>
                    <a:lnTo>
                      <a:pt x="1037622" y="552102"/>
                    </a:lnTo>
                    <a:lnTo>
                      <a:pt x="1033674" y="553164"/>
                    </a:lnTo>
                    <a:lnTo>
                      <a:pt x="1028837" y="553924"/>
                    </a:lnTo>
                    <a:lnTo>
                      <a:pt x="1018706" y="555160"/>
                    </a:lnTo>
                    <a:lnTo>
                      <a:pt x="1003804" y="556396"/>
                    </a:lnTo>
                    <a:lnTo>
                      <a:pt x="1000290" y="557091"/>
                    </a:lnTo>
                    <a:lnTo>
                      <a:pt x="996905" y="558045"/>
                    </a:lnTo>
                    <a:lnTo>
                      <a:pt x="992827" y="559628"/>
                    </a:lnTo>
                    <a:lnTo>
                      <a:pt x="989530" y="561386"/>
                    </a:lnTo>
                    <a:lnTo>
                      <a:pt x="982133" y="567416"/>
                    </a:lnTo>
                    <a:lnTo>
                      <a:pt x="974475" y="574076"/>
                    </a:lnTo>
                    <a:lnTo>
                      <a:pt x="970615" y="576462"/>
                    </a:lnTo>
                    <a:lnTo>
                      <a:pt x="966991" y="578241"/>
                    </a:lnTo>
                    <a:lnTo>
                      <a:pt x="960852" y="580496"/>
                    </a:lnTo>
                    <a:lnTo>
                      <a:pt x="954214" y="582123"/>
                    </a:lnTo>
                    <a:lnTo>
                      <a:pt x="946991" y="583100"/>
                    </a:lnTo>
                    <a:lnTo>
                      <a:pt x="941004" y="583317"/>
                    </a:lnTo>
                    <a:lnTo>
                      <a:pt x="917793" y="584206"/>
                    </a:lnTo>
                    <a:lnTo>
                      <a:pt x="914322" y="584597"/>
                    </a:lnTo>
                    <a:lnTo>
                      <a:pt x="908249" y="585616"/>
                    </a:lnTo>
                    <a:lnTo>
                      <a:pt x="903693" y="586635"/>
                    </a:lnTo>
                    <a:lnTo>
                      <a:pt x="888725" y="590779"/>
                    </a:lnTo>
                    <a:lnTo>
                      <a:pt x="866079" y="597092"/>
                    </a:lnTo>
                    <a:lnTo>
                      <a:pt x="840113" y="600085"/>
                    </a:lnTo>
                    <a:lnTo>
                      <a:pt x="816814" y="602492"/>
                    </a:lnTo>
                    <a:lnTo>
                      <a:pt x="814082" y="602970"/>
                    </a:lnTo>
                    <a:lnTo>
                      <a:pt x="810871" y="603924"/>
                    </a:lnTo>
                    <a:lnTo>
                      <a:pt x="808441" y="605009"/>
                    </a:lnTo>
                    <a:lnTo>
                      <a:pt x="806880" y="605942"/>
                    </a:lnTo>
                    <a:lnTo>
                      <a:pt x="804299" y="608003"/>
                    </a:lnTo>
                    <a:lnTo>
                      <a:pt x="801456" y="609869"/>
                    </a:lnTo>
                    <a:lnTo>
                      <a:pt x="796706" y="612277"/>
                    </a:lnTo>
                    <a:lnTo>
                      <a:pt x="790806" y="614424"/>
                    </a:lnTo>
                    <a:lnTo>
                      <a:pt x="787117" y="615400"/>
                    </a:lnTo>
                    <a:lnTo>
                      <a:pt x="783842" y="616050"/>
                    </a:lnTo>
                    <a:lnTo>
                      <a:pt x="777682" y="616809"/>
                    </a:lnTo>
                    <a:lnTo>
                      <a:pt x="771217" y="617005"/>
                    </a:lnTo>
                    <a:lnTo>
                      <a:pt x="764797" y="616571"/>
                    </a:lnTo>
                    <a:lnTo>
                      <a:pt x="757659" y="615400"/>
                    </a:lnTo>
                    <a:lnTo>
                      <a:pt x="752779" y="615205"/>
                    </a:lnTo>
                    <a:lnTo>
                      <a:pt x="747031" y="615660"/>
                    </a:lnTo>
                    <a:lnTo>
                      <a:pt x="742106" y="616745"/>
                    </a:lnTo>
                    <a:lnTo>
                      <a:pt x="734578" y="618697"/>
                    </a:lnTo>
                    <a:lnTo>
                      <a:pt x="730457" y="620172"/>
                    </a:lnTo>
                    <a:lnTo>
                      <a:pt x="727441" y="621496"/>
                    </a:lnTo>
                    <a:lnTo>
                      <a:pt x="724492" y="623014"/>
                    </a:lnTo>
                    <a:lnTo>
                      <a:pt x="721671" y="624771"/>
                    </a:lnTo>
                    <a:lnTo>
                      <a:pt x="715685" y="629435"/>
                    </a:lnTo>
                    <a:lnTo>
                      <a:pt x="711758" y="632211"/>
                    </a:lnTo>
                    <a:lnTo>
                      <a:pt x="705684" y="635509"/>
                    </a:lnTo>
                    <a:lnTo>
                      <a:pt x="702713" y="636810"/>
                    </a:lnTo>
                    <a:lnTo>
                      <a:pt x="695467" y="639283"/>
                    </a:lnTo>
                    <a:lnTo>
                      <a:pt x="691215" y="640412"/>
                    </a:lnTo>
                    <a:lnTo>
                      <a:pt x="673601" y="643665"/>
                    </a:lnTo>
                    <a:lnTo>
                      <a:pt x="662104" y="646615"/>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87" name="Freeform: Shape 86">
                <a:extLst>
                  <a:ext uri="{FF2B5EF4-FFF2-40B4-BE49-F238E27FC236}">
                    <a16:creationId xmlns:a16="http://schemas.microsoft.com/office/drawing/2014/main" id="{ACBC3A5E-E405-4F96-A25D-8355E2570852}"/>
                  </a:ext>
                </a:extLst>
              </p:cNvPr>
              <p:cNvSpPr/>
              <p:nvPr/>
            </p:nvSpPr>
            <p:spPr>
              <a:xfrm>
                <a:off x="4815432" y="3724546"/>
                <a:ext cx="971230" cy="365419"/>
              </a:xfrm>
              <a:custGeom>
                <a:avLst/>
                <a:gdLst>
                  <a:gd name="connsiteX0" fmla="*/ 3414877 w 3419475"/>
                  <a:gd name="connsiteY0" fmla="*/ 694513 h 857250"/>
                  <a:gd name="connsiteX1" fmla="*/ 3406591 w 3419475"/>
                  <a:gd name="connsiteY1" fmla="*/ 699111 h 857250"/>
                  <a:gd name="connsiteX2" fmla="*/ 3213463 w 3419475"/>
                  <a:gd name="connsiteY2" fmla="*/ 798007 h 857250"/>
                  <a:gd name="connsiteX3" fmla="*/ 3209905 w 3419475"/>
                  <a:gd name="connsiteY3" fmla="*/ 799266 h 857250"/>
                  <a:gd name="connsiteX4" fmla="*/ 3207519 w 3419475"/>
                  <a:gd name="connsiteY4" fmla="*/ 799808 h 857250"/>
                  <a:gd name="connsiteX5" fmla="*/ 3203853 w 3419475"/>
                  <a:gd name="connsiteY5" fmla="*/ 800351 h 857250"/>
                  <a:gd name="connsiteX6" fmla="*/ 3200447 w 3419475"/>
                  <a:gd name="connsiteY6" fmla="*/ 800502 h 857250"/>
                  <a:gd name="connsiteX7" fmla="*/ 3197779 w 3419475"/>
                  <a:gd name="connsiteY7" fmla="*/ 800415 h 857250"/>
                  <a:gd name="connsiteX8" fmla="*/ 3131855 w 3419475"/>
                  <a:gd name="connsiteY8" fmla="*/ 794515 h 857250"/>
                  <a:gd name="connsiteX9" fmla="*/ 3128992 w 3419475"/>
                  <a:gd name="connsiteY9" fmla="*/ 794558 h 857250"/>
                  <a:gd name="connsiteX10" fmla="*/ 3125391 w 3419475"/>
                  <a:gd name="connsiteY10" fmla="*/ 794883 h 857250"/>
                  <a:gd name="connsiteX11" fmla="*/ 3109404 w 3419475"/>
                  <a:gd name="connsiteY11" fmla="*/ 797704 h 857250"/>
                  <a:gd name="connsiteX12" fmla="*/ 3107495 w 3419475"/>
                  <a:gd name="connsiteY12" fmla="*/ 794472 h 857250"/>
                  <a:gd name="connsiteX13" fmla="*/ 3103439 w 3419475"/>
                  <a:gd name="connsiteY13" fmla="*/ 789330 h 857250"/>
                  <a:gd name="connsiteX14" fmla="*/ 3103243 w 3419475"/>
                  <a:gd name="connsiteY14" fmla="*/ 787769 h 857250"/>
                  <a:gd name="connsiteX15" fmla="*/ 3098731 w 3419475"/>
                  <a:gd name="connsiteY15" fmla="*/ 783821 h 857250"/>
                  <a:gd name="connsiteX16" fmla="*/ 3010486 w 3419475"/>
                  <a:gd name="connsiteY16" fmla="*/ 825470 h 857250"/>
                  <a:gd name="connsiteX17" fmla="*/ 3007037 w 3419475"/>
                  <a:gd name="connsiteY17" fmla="*/ 825123 h 857250"/>
                  <a:gd name="connsiteX18" fmla="*/ 3003176 w 3419475"/>
                  <a:gd name="connsiteY18" fmla="*/ 824494 h 857250"/>
                  <a:gd name="connsiteX19" fmla="*/ 2997298 w 3419475"/>
                  <a:gd name="connsiteY19" fmla="*/ 823084 h 857250"/>
                  <a:gd name="connsiteX20" fmla="*/ 2992329 w 3419475"/>
                  <a:gd name="connsiteY20" fmla="*/ 821566 h 857250"/>
                  <a:gd name="connsiteX21" fmla="*/ 2985973 w 3419475"/>
                  <a:gd name="connsiteY21" fmla="*/ 819027 h 857250"/>
                  <a:gd name="connsiteX22" fmla="*/ 2985648 w 3419475"/>
                  <a:gd name="connsiteY22" fmla="*/ 819309 h 857250"/>
                  <a:gd name="connsiteX23" fmla="*/ 2984954 w 3419475"/>
                  <a:gd name="connsiteY23" fmla="*/ 819005 h 857250"/>
                  <a:gd name="connsiteX24" fmla="*/ 2981093 w 3419475"/>
                  <a:gd name="connsiteY24" fmla="*/ 822172 h 857250"/>
                  <a:gd name="connsiteX25" fmla="*/ 2977102 w 3419475"/>
                  <a:gd name="connsiteY25" fmla="*/ 828572 h 857250"/>
                  <a:gd name="connsiteX26" fmla="*/ 2976256 w 3419475"/>
                  <a:gd name="connsiteY26" fmla="*/ 828420 h 857250"/>
                  <a:gd name="connsiteX27" fmla="*/ 2975605 w 3419475"/>
                  <a:gd name="connsiteY27" fmla="*/ 829331 h 857250"/>
                  <a:gd name="connsiteX28" fmla="*/ 2974173 w 3419475"/>
                  <a:gd name="connsiteY28" fmla="*/ 829678 h 857250"/>
                  <a:gd name="connsiteX29" fmla="*/ 2960789 w 3419475"/>
                  <a:gd name="connsiteY29" fmla="*/ 832476 h 857250"/>
                  <a:gd name="connsiteX30" fmla="*/ 2945365 w 3419475"/>
                  <a:gd name="connsiteY30" fmla="*/ 835709 h 857250"/>
                  <a:gd name="connsiteX31" fmla="*/ 2945539 w 3419475"/>
                  <a:gd name="connsiteY31" fmla="*/ 835622 h 857250"/>
                  <a:gd name="connsiteX32" fmla="*/ 2927837 w 3419475"/>
                  <a:gd name="connsiteY32" fmla="*/ 821869 h 857250"/>
                  <a:gd name="connsiteX33" fmla="*/ 2921678 w 3419475"/>
                  <a:gd name="connsiteY33" fmla="*/ 817487 h 857250"/>
                  <a:gd name="connsiteX34" fmla="*/ 2911243 w 3419475"/>
                  <a:gd name="connsiteY34" fmla="*/ 810828 h 857250"/>
                  <a:gd name="connsiteX35" fmla="*/ 2905451 w 3419475"/>
                  <a:gd name="connsiteY35" fmla="*/ 807595 h 857250"/>
                  <a:gd name="connsiteX36" fmla="*/ 2894518 w 3419475"/>
                  <a:gd name="connsiteY36" fmla="*/ 802107 h 857250"/>
                  <a:gd name="connsiteX37" fmla="*/ 2888444 w 3419475"/>
                  <a:gd name="connsiteY37" fmla="*/ 799526 h 857250"/>
                  <a:gd name="connsiteX38" fmla="*/ 2874539 w 3419475"/>
                  <a:gd name="connsiteY38" fmla="*/ 794276 h 857250"/>
                  <a:gd name="connsiteX39" fmla="*/ 2866643 w 3419475"/>
                  <a:gd name="connsiteY39" fmla="*/ 791847 h 857250"/>
                  <a:gd name="connsiteX40" fmla="*/ 2857576 w 3419475"/>
                  <a:gd name="connsiteY40" fmla="*/ 789439 h 857250"/>
                  <a:gd name="connsiteX41" fmla="*/ 2848400 w 3419475"/>
                  <a:gd name="connsiteY41" fmla="*/ 787226 h 857250"/>
                  <a:gd name="connsiteX42" fmla="*/ 2839267 w 3419475"/>
                  <a:gd name="connsiteY42" fmla="*/ 785426 h 857250"/>
                  <a:gd name="connsiteX43" fmla="*/ 2830634 w 3419475"/>
                  <a:gd name="connsiteY43" fmla="*/ 783928 h 857250"/>
                  <a:gd name="connsiteX44" fmla="*/ 2812890 w 3419475"/>
                  <a:gd name="connsiteY44" fmla="*/ 781803 h 857250"/>
                  <a:gd name="connsiteX45" fmla="*/ 2804473 w 3419475"/>
                  <a:gd name="connsiteY45" fmla="*/ 781218 h 857250"/>
                  <a:gd name="connsiteX46" fmla="*/ 2796555 w 3419475"/>
                  <a:gd name="connsiteY46" fmla="*/ 780849 h 857250"/>
                  <a:gd name="connsiteX47" fmla="*/ 2786750 w 3419475"/>
                  <a:gd name="connsiteY47" fmla="*/ 780761 h 857250"/>
                  <a:gd name="connsiteX48" fmla="*/ 2759027 w 3419475"/>
                  <a:gd name="connsiteY48" fmla="*/ 780805 h 857250"/>
                  <a:gd name="connsiteX49" fmla="*/ 2758897 w 3419475"/>
                  <a:gd name="connsiteY49" fmla="*/ 778354 h 857250"/>
                  <a:gd name="connsiteX50" fmla="*/ 2744710 w 3419475"/>
                  <a:gd name="connsiteY50" fmla="*/ 778441 h 857250"/>
                  <a:gd name="connsiteX51" fmla="*/ 2744776 w 3419475"/>
                  <a:gd name="connsiteY51" fmla="*/ 778115 h 857250"/>
                  <a:gd name="connsiteX52" fmla="*/ 2654947 w 3419475"/>
                  <a:gd name="connsiteY52" fmla="*/ 778679 h 857250"/>
                  <a:gd name="connsiteX53" fmla="*/ 2655012 w 3419475"/>
                  <a:gd name="connsiteY53" fmla="*/ 778939 h 857250"/>
                  <a:gd name="connsiteX54" fmla="*/ 2648114 w 3419475"/>
                  <a:gd name="connsiteY54" fmla="*/ 778983 h 857250"/>
                  <a:gd name="connsiteX55" fmla="*/ 2648114 w 3419475"/>
                  <a:gd name="connsiteY55" fmla="*/ 778723 h 857250"/>
                  <a:gd name="connsiteX56" fmla="*/ 2616595 w 3419475"/>
                  <a:gd name="connsiteY56" fmla="*/ 778918 h 857250"/>
                  <a:gd name="connsiteX57" fmla="*/ 2574272 w 3419475"/>
                  <a:gd name="connsiteY57" fmla="*/ 779287 h 857250"/>
                  <a:gd name="connsiteX58" fmla="*/ 2574316 w 3419475"/>
                  <a:gd name="connsiteY58" fmla="*/ 779504 h 857250"/>
                  <a:gd name="connsiteX59" fmla="*/ 2566550 w 3419475"/>
                  <a:gd name="connsiteY59" fmla="*/ 779525 h 857250"/>
                  <a:gd name="connsiteX60" fmla="*/ 2566529 w 3419475"/>
                  <a:gd name="connsiteY60" fmla="*/ 778159 h 857250"/>
                  <a:gd name="connsiteX61" fmla="*/ 2550281 w 3419475"/>
                  <a:gd name="connsiteY61" fmla="*/ 778462 h 857250"/>
                  <a:gd name="connsiteX62" fmla="*/ 2540216 w 3419475"/>
                  <a:gd name="connsiteY62" fmla="*/ 778875 h 857250"/>
                  <a:gd name="connsiteX63" fmla="*/ 2539348 w 3419475"/>
                  <a:gd name="connsiteY63" fmla="*/ 778961 h 857250"/>
                  <a:gd name="connsiteX64" fmla="*/ 2538090 w 3419475"/>
                  <a:gd name="connsiteY64" fmla="*/ 779612 h 857250"/>
                  <a:gd name="connsiteX65" fmla="*/ 2527091 w 3419475"/>
                  <a:gd name="connsiteY65" fmla="*/ 780458 h 857250"/>
                  <a:gd name="connsiteX66" fmla="*/ 2525226 w 3419475"/>
                  <a:gd name="connsiteY66" fmla="*/ 781022 h 857250"/>
                  <a:gd name="connsiteX67" fmla="*/ 2513708 w 3419475"/>
                  <a:gd name="connsiteY67" fmla="*/ 782887 h 857250"/>
                  <a:gd name="connsiteX68" fmla="*/ 2506613 w 3419475"/>
                  <a:gd name="connsiteY68" fmla="*/ 783886 h 857250"/>
                  <a:gd name="connsiteX69" fmla="*/ 2500019 w 3419475"/>
                  <a:gd name="connsiteY69" fmla="*/ 784450 h 857250"/>
                  <a:gd name="connsiteX70" fmla="*/ 2490995 w 3419475"/>
                  <a:gd name="connsiteY70" fmla="*/ 786424 h 857250"/>
                  <a:gd name="connsiteX71" fmla="*/ 2484032 w 3419475"/>
                  <a:gd name="connsiteY71" fmla="*/ 788159 h 857250"/>
                  <a:gd name="connsiteX72" fmla="*/ 2474552 w 3419475"/>
                  <a:gd name="connsiteY72" fmla="*/ 790936 h 857250"/>
                  <a:gd name="connsiteX73" fmla="*/ 2471645 w 3419475"/>
                  <a:gd name="connsiteY73" fmla="*/ 791305 h 857250"/>
                  <a:gd name="connsiteX74" fmla="*/ 2468760 w 3419475"/>
                  <a:gd name="connsiteY74" fmla="*/ 792042 h 857250"/>
                  <a:gd name="connsiteX75" fmla="*/ 2461407 w 3419475"/>
                  <a:gd name="connsiteY75" fmla="*/ 794645 h 857250"/>
                  <a:gd name="connsiteX76" fmla="*/ 2454682 w 3419475"/>
                  <a:gd name="connsiteY76" fmla="*/ 797226 h 857250"/>
                  <a:gd name="connsiteX77" fmla="*/ 2443663 w 3419475"/>
                  <a:gd name="connsiteY77" fmla="*/ 801998 h 857250"/>
                  <a:gd name="connsiteX78" fmla="*/ 2434486 w 3419475"/>
                  <a:gd name="connsiteY78" fmla="*/ 806598 h 857250"/>
                  <a:gd name="connsiteX79" fmla="*/ 2451624 w 3419475"/>
                  <a:gd name="connsiteY79" fmla="*/ 793213 h 857250"/>
                  <a:gd name="connsiteX80" fmla="*/ 2458304 w 3419475"/>
                  <a:gd name="connsiteY80" fmla="*/ 787660 h 857250"/>
                  <a:gd name="connsiteX81" fmla="*/ 2427458 w 3419475"/>
                  <a:gd name="connsiteY81" fmla="*/ 777616 h 857250"/>
                  <a:gd name="connsiteX82" fmla="*/ 2409844 w 3419475"/>
                  <a:gd name="connsiteY82" fmla="*/ 772063 h 857250"/>
                  <a:gd name="connsiteX83" fmla="*/ 2408997 w 3419475"/>
                  <a:gd name="connsiteY83" fmla="*/ 768180 h 857250"/>
                  <a:gd name="connsiteX84" fmla="*/ 2395201 w 3419475"/>
                  <a:gd name="connsiteY84" fmla="*/ 764016 h 857250"/>
                  <a:gd name="connsiteX85" fmla="*/ 2374333 w 3419475"/>
                  <a:gd name="connsiteY85" fmla="*/ 780089 h 857250"/>
                  <a:gd name="connsiteX86" fmla="*/ 2361751 w 3419475"/>
                  <a:gd name="connsiteY86" fmla="*/ 779894 h 857250"/>
                  <a:gd name="connsiteX87" fmla="*/ 2336285 w 3419475"/>
                  <a:gd name="connsiteY87" fmla="*/ 780024 h 857250"/>
                  <a:gd name="connsiteX88" fmla="*/ 2328866 w 3419475"/>
                  <a:gd name="connsiteY88" fmla="*/ 780068 h 857250"/>
                  <a:gd name="connsiteX89" fmla="*/ 2327760 w 3419475"/>
                  <a:gd name="connsiteY89" fmla="*/ 788810 h 857250"/>
                  <a:gd name="connsiteX90" fmla="*/ 2325959 w 3419475"/>
                  <a:gd name="connsiteY90" fmla="*/ 815860 h 857250"/>
                  <a:gd name="connsiteX91" fmla="*/ 2325243 w 3419475"/>
                  <a:gd name="connsiteY91" fmla="*/ 832607 h 857250"/>
                  <a:gd name="connsiteX92" fmla="*/ 2324158 w 3419475"/>
                  <a:gd name="connsiteY92" fmla="*/ 838269 h 857250"/>
                  <a:gd name="connsiteX93" fmla="*/ 2324180 w 3419475"/>
                  <a:gd name="connsiteY93" fmla="*/ 847532 h 857250"/>
                  <a:gd name="connsiteX94" fmla="*/ 2323052 w 3419475"/>
                  <a:gd name="connsiteY94" fmla="*/ 850417 h 857250"/>
                  <a:gd name="connsiteX95" fmla="*/ 2321317 w 3419475"/>
                  <a:gd name="connsiteY95" fmla="*/ 851869 h 857250"/>
                  <a:gd name="connsiteX96" fmla="*/ 2309928 w 3419475"/>
                  <a:gd name="connsiteY96" fmla="*/ 853713 h 857250"/>
                  <a:gd name="connsiteX97" fmla="*/ 2296458 w 3419475"/>
                  <a:gd name="connsiteY97" fmla="*/ 855276 h 857250"/>
                  <a:gd name="connsiteX98" fmla="*/ 2282423 w 3419475"/>
                  <a:gd name="connsiteY98" fmla="*/ 856208 h 857250"/>
                  <a:gd name="connsiteX99" fmla="*/ 2268496 w 3419475"/>
                  <a:gd name="connsiteY99" fmla="*/ 856534 h 857250"/>
                  <a:gd name="connsiteX100" fmla="*/ 1959834 w 3419475"/>
                  <a:gd name="connsiteY100" fmla="*/ 856838 h 857250"/>
                  <a:gd name="connsiteX101" fmla="*/ 1931352 w 3419475"/>
                  <a:gd name="connsiteY101" fmla="*/ 856794 h 857250"/>
                  <a:gd name="connsiteX102" fmla="*/ 1903325 w 3419475"/>
                  <a:gd name="connsiteY102" fmla="*/ 856469 h 857250"/>
                  <a:gd name="connsiteX103" fmla="*/ 1891828 w 3419475"/>
                  <a:gd name="connsiteY103" fmla="*/ 854820 h 857250"/>
                  <a:gd name="connsiteX104" fmla="*/ 1885754 w 3419475"/>
                  <a:gd name="connsiteY104" fmla="*/ 853605 h 857250"/>
                  <a:gd name="connsiteX105" fmla="*/ 1880678 w 3419475"/>
                  <a:gd name="connsiteY105" fmla="*/ 852477 h 857250"/>
                  <a:gd name="connsiteX106" fmla="*/ 1870070 w 3419475"/>
                  <a:gd name="connsiteY106" fmla="*/ 849700 h 857250"/>
                  <a:gd name="connsiteX107" fmla="*/ 1863693 w 3419475"/>
                  <a:gd name="connsiteY107" fmla="*/ 847727 h 857250"/>
                  <a:gd name="connsiteX108" fmla="*/ 1849745 w 3419475"/>
                  <a:gd name="connsiteY108" fmla="*/ 842845 h 857250"/>
                  <a:gd name="connsiteX109" fmla="*/ 1835428 w 3419475"/>
                  <a:gd name="connsiteY109" fmla="*/ 837336 h 857250"/>
                  <a:gd name="connsiteX110" fmla="*/ 1822607 w 3419475"/>
                  <a:gd name="connsiteY110" fmla="*/ 831913 h 857250"/>
                  <a:gd name="connsiteX111" fmla="*/ 1814885 w 3419475"/>
                  <a:gd name="connsiteY111" fmla="*/ 828246 h 857250"/>
                  <a:gd name="connsiteX112" fmla="*/ 1807444 w 3419475"/>
                  <a:gd name="connsiteY112" fmla="*/ 824429 h 857250"/>
                  <a:gd name="connsiteX113" fmla="*/ 1787465 w 3419475"/>
                  <a:gd name="connsiteY113" fmla="*/ 813019 h 857250"/>
                  <a:gd name="connsiteX114" fmla="*/ 1782216 w 3419475"/>
                  <a:gd name="connsiteY114" fmla="*/ 809656 h 857250"/>
                  <a:gd name="connsiteX115" fmla="*/ 1769938 w 3419475"/>
                  <a:gd name="connsiteY115" fmla="*/ 801023 h 857250"/>
                  <a:gd name="connsiteX116" fmla="*/ 1766945 w 3419475"/>
                  <a:gd name="connsiteY116" fmla="*/ 798658 h 857250"/>
                  <a:gd name="connsiteX117" fmla="*/ 1761912 w 3419475"/>
                  <a:gd name="connsiteY117" fmla="*/ 793821 h 857250"/>
                  <a:gd name="connsiteX118" fmla="*/ 1760935 w 3419475"/>
                  <a:gd name="connsiteY118" fmla="*/ 792736 h 857250"/>
                  <a:gd name="connsiteX119" fmla="*/ 1758940 w 3419475"/>
                  <a:gd name="connsiteY119" fmla="*/ 793560 h 857250"/>
                  <a:gd name="connsiteX120" fmla="*/ 1754428 w 3419475"/>
                  <a:gd name="connsiteY120" fmla="*/ 789525 h 857250"/>
                  <a:gd name="connsiteX121" fmla="*/ 1752453 w 3419475"/>
                  <a:gd name="connsiteY121" fmla="*/ 787161 h 857250"/>
                  <a:gd name="connsiteX122" fmla="*/ 1750393 w 3419475"/>
                  <a:gd name="connsiteY122" fmla="*/ 785122 h 857250"/>
                  <a:gd name="connsiteX123" fmla="*/ 1747096 w 3419475"/>
                  <a:gd name="connsiteY123" fmla="*/ 782345 h 857250"/>
                  <a:gd name="connsiteX124" fmla="*/ 1742692 w 3419475"/>
                  <a:gd name="connsiteY124" fmla="*/ 784254 h 857250"/>
                  <a:gd name="connsiteX125" fmla="*/ 1737854 w 3419475"/>
                  <a:gd name="connsiteY125" fmla="*/ 780046 h 857250"/>
                  <a:gd name="connsiteX126" fmla="*/ 1723213 w 3419475"/>
                  <a:gd name="connsiteY126" fmla="*/ 785577 h 857250"/>
                  <a:gd name="connsiteX127" fmla="*/ 1717680 w 3419475"/>
                  <a:gd name="connsiteY127" fmla="*/ 787270 h 857250"/>
                  <a:gd name="connsiteX128" fmla="*/ 1712041 w 3419475"/>
                  <a:gd name="connsiteY128" fmla="*/ 789439 h 857250"/>
                  <a:gd name="connsiteX129" fmla="*/ 1707615 w 3419475"/>
                  <a:gd name="connsiteY129" fmla="*/ 791738 h 857250"/>
                  <a:gd name="connsiteX130" fmla="*/ 1682279 w 3419475"/>
                  <a:gd name="connsiteY130" fmla="*/ 801521 h 857250"/>
                  <a:gd name="connsiteX131" fmla="*/ 1679849 w 3419475"/>
                  <a:gd name="connsiteY131" fmla="*/ 799092 h 857250"/>
                  <a:gd name="connsiteX132" fmla="*/ 1678136 w 3419475"/>
                  <a:gd name="connsiteY132" fmla="*/ 799786 h 857250"/>
                  <a:gd name="connsiteX133" fmla="*/ 1672257 w 3419475"/>
                  <a:gd name="connsiteY133" fmla="*/ 800003 h 857250"/>
                  <a:gd name="connsiteX134" fmla="*/ 1669740 w 3419475"/>
                  <a:gd name="connsiteY134" fmla="*/ 798788 h 857250"/>
                  <a:gd name="connsiteX135" fmla="*/ 1667224 w 3419475"/>
                  <a:gd name="connsiteY135" fmla="*/ 795730 h 857250"/>
                  <a:gd name="connsiteX136" fmla="*/ 1664729 w 3419475"/>
                  <a:gd name="connsiteY136" fmla="*/ 793365 h 857250"/>
                  <a:gd name="connsiteX137" fmla="*/ 1661519 w 3419475"/>
                  <a:gd name="connsiteY137" fmla="*/ 790848 h 857250"/>
                  <a:gd name="connsiteX138" fmla="*/ 1659806 w 3419475"/>
                  <a:gd name="connsiteY138" fmla="*/ 789894 h 857250"/>
                  <a:gd name="connsiteX139" fmla="*/ 1656660 w 3419475"/>
                  <a:gd name="connsiteY139" fmla="*/ 787009 h 857250"/>
                  <a:gd name="connsiteX140" fmla="*/ 1648048 w 3419475"/>
                  <a:gd name="connsiteY140" fmla="*/ 777898 h 857250"/>
                  <a:gd name="connsiteX141" fmla="*/ 1643210 w 3419475"/>
                  <a:gd name="connsiteY141" fmla="*/ 772367 h 857250"/>
                  <a:gd name="connsiteX142" fmla="*/ 1638829 w 3419475"/>
                  <a:gd name="connsiteY142" fmla="*/ 767074 h 857250"/>
                  <a:gd name="connsiteX143" fmla="*/ 1629978 w 3419475"/>
                  <a:gd name="connsiteY143" fmla="*/ 755252 h 857250"/>
                  <a:gd name="connsiteX144" fmla="*/ 1626203 w 3419475"/>
                  <a:gd name="connsiteY144" fmla="*/ 749699 h 857250"/>
                  <a:gd name="connsiteX145" fmla="*/ 1619002 w 3419475"/>
                  <a:gd name="connsiteY145" fmla="*/ 737963 h 857250"/>
                  <a:gd name="connsiteX146" fmla="*/ 1616160 w 3419475"/>
                  <a:gd name="connsiteY146" fmla="*/ 732821 h 857250"/>
                  <a:gd name="connsiteX147" fmla="*/ 1611843 w 3419475"/>
                  <a:gd name="connsiteY147" fmla="*/ 724166 h 857250"/>
                  <a:gd name="connsiteX148" fmla="*/ 1605401 w 3419475"/>
                  <a:gd name="connsiteY148" fmla="*/ 709090 h 857250"/>
                  <a:gd name="connsiteX149" fmla="*/ 1602320 w 3419475"/>
                  <a:gd name="connsiteY149" fmla="*/ 703472 h 857250"/>
                  <a:gd name="connsiteX150" fmla="*/ 1600541 w 3419475"/>
                  <a:gd name="connsiteY150" fmla="*/ 700933 h 857250"/>
                  <a:gd name="connsiteX151" fmla="*/ 1597591 w 3419475"/>
                  <a:gd name="connsiteY151" fmla="*/ 697571 h 857250"/>
                  <a:gd name="connsiteX152" fmla="*/ 1593361 w 3419475"/>
                  <a:gd name="connsiteY152" fmla="*/ 693732 h 857250"/>
                  <a:gd name="connsiteX153" fmla="*/ 1587635 w 3419475"/>
                  <a:gd name="connsiteY153" fmla="*/ 689762 h 857250"/>
                  <a:gd name="connsiteX154" fmla="*/ 1582406 w 3419475"/>
                  <a:gd name="connsiteY154" fmla="*/ 686855 h 857250"/>
                  <a:gd name="connsiteX155" fmla="*/ 1581170 w 3419475"/>
                  <a:gd name="connsiteY155" fmla="*/ 684816 h 857250"/>
                  <a:gd name="connsiteX156" fmla="*/ 1577200 w 3419475"/>
                  <a:gd name="connsiteY156" fmla="*/ 682821 h 857250"/>
                  <a:gd name="connsiteX157" fmla="*/ 1573187 w 3419475"/>
                  <a:gd name="connsiteY157" fmla="*/ 681302 h 857250"/>
                  <a:gd name="connsiteX158" fmla="*/ 1566918 w 3419475"/>
                  <a:gd name="connsiteY158" fmla="*/ 679263 h 857250"/>
                  <a:gd name="connsiteX159" fmla="*/ 1561604 w 3419475"/>
                  <a:gd name="connsiteY159" fmla="*/ 677831 h 857250"/>
                  <a:gd name="connsiteX160" fmla="*/ 1556245 w 3419475"/>
                  <a:gd name="connsiteY160" fmla="*/ 676660 h 857250"/>
                  <a:gd name="connsiteX161" fmla="*/ 1547395 w 3419475"/>
                  <a:gd name="connsiteY161" fmla="*/ 675445 h 857250"/>
                  <a:gd name="connsiteX162" fmla="*/ 1539694 w 3419475"/>
                  <a:gd name="connsiteY162" fmla="*/ 674946 h 857250"/>
                  <a:gd name="connsiteX163" fmla="*/ 1533772 w 3419475"/>
                  <a:gd name="connsiteY163" fmla="*/ 674881 h 857250"/>
                  <a:gd name="connsiteX164" fmla="*/ 1528740 w 3419475"/>
                  <a:gd name="connsiteY164" fmla="*/ 675055 h 857250"/>
                  <a:gd name="connsiteX165" fmla="*/ 1522883 w 3419475"/>
                  <a:gd name="connsiteY165" fmla="*/ 675510 h 857250"/>
                  <a:gd name="connsiteX166" fmla="*/ 1514445 w 3419475"/>
                  <a:gd name="connsiteY166" fmla="*/ 676703 h 857250"/>
                  <a:gd name="connsiteX167" fmla="*/ 1507394 w 3419475"/>
                  <a:gd name="connsiteY167" fmla="*/ 678265 h 857250"/>
                  <a:gd name="connsiteX168" fmla="*/ 1495680 w 3419475"/>
                  <a:gd name="connsiteY168" fmla="*/ 681800 h 857250"/>
                  <a:gd name="connsiteX169" fmla="*/ 1482469 w 3419475"/>
                  <a:gd name="connsiteY169" fmla="*/ 687441 h 857250"/>
                  <a:gd name="connsiteX170" fmla="*/ 1472166 w 3419475"/>
                  <a:gd name="connsiteY170" fmla="*/ 691432 h 857250"/>
                  <a:gd name="connsiteX171" fmla="*/ 1464660 w 3419475"/>
                  <a:gd name="connsiteY171" fmla="*/ 693580 h 857250"/>
                  <a:gd name="connsiteX172" fmla="*/ 1459237 w 3419475"/>
                  <a:gd name="connsiteY172" fmla="*/ 694643 h 857250"/>
                  <a:gd name="connsiteX173" fmla="*/ 1455657 w 3419475"/>
                  <a:gd name="connsiteY173" fmla="*/ 695250 h 857250"/>
                  <a:gd name="connsiteX174" fmla="*/ 1450343 w 3419475"/>
                  <a:gd name="connsiteY174" fmla="*/ 695402 h 857250"/>
                  <a:gd name="connsiteX175" fmla="*/ 1441644 w 3419475"/>
                  <a:gd name="connsiteY175" fmla="*/ 695098 h 857250"/>
                  <a:gd name="connsiteX176" fmla="*/ 1417566 w 3419475"/>
                  <a:gd name="connsiteY176" fmla="*/ 696812 h 857250"/>
                  <a:gd name="connsiteX177" fmla="*/ 1401145 w 3419475"/>
                  <a:gd name="connsiteY177" fmla="*/ 699068 h 857250"/>
                  <a:gd name="connsiteX178" fmla="*/ 1394311 w 3419475"/>
                  <a:gd name="connsiteY178" fmla="*/ 699632 h 857250"/>
                  <a:gd name="connsiteX179" fmla="*/ 1010268 w 3419475"/>
                  <a:gd name="connsiteY179" fmla="*/ 699979 h 857250"/>
                  <a:gd name="connsiteX180" fmla="*/ 966471 w 3419475"/>
                  <a:gd name="connsiteY180" fmla="*/ 793278 h 857250"/>
                  <a:gd name="connsiteX181" fmla="*/ 915320 w 3419475"/>
                  <a:gd name="connsiteY181" fmla="*/ 738006 h 857250"/>
                  <a:gd name="connsiteX182" fmla="*/ 916730 w 3419475"/>
                  <a:gd name="connsiteY182" fmla="*/ 730435 h 857250"/>
                  <a:gd name="connsiteX183" fmla="*/ 917533 w 3419475"/>
                  <a:gd name="connsiteY183" fmla="*/ 727745 h 857250"/>
                  <a:gd name="connsiteX184" fmla="*/ 918379 w 3419475"/>
                  <a:gd name="connsiteY184" fmla="*/ 726358 h 857250"/>
                  <a:gd name="connsiteX185" fmla="*/ 920136 w 3419475"/>
                  <a:gd name="connsiteY185" fmla="*/ 723429 h 857250"/>
                  <a:gd name="connsiteX186" fmla="*/ 923368 w 3419475"/>
                  <a:gd name="connsiteY186" fmla="*/ 719784 h 857250"/>
                  <a:gd name="connsiteX187" fmla="*/ 928748 w 3419475"/>
                  <a:gd name="connsiteY187" fmla="*/ 715945 h 857250"/>
                  <a:gd name="connsiteX188" fmla="*/ 884842 w 3419475"/>
                  <a:gd name="connsiteY188" fmla="*/ 703971 h 857250"/>
                  <a:gd name="connsiteX189" fmla="*/ 878204 w 3419475"/>
                  <a:gd name="connsiteY189" fmla="*/ 702452 h 857250"/>
                  <a:gd name="connsiteX190" fmla="*/ 845449 w 3419475"/>
                  <a:gd name="connsiteY190" fmla="*/ 696877 h 857250"/>
                  <a:gd name="connsiteX191" fmla="*/ 802086 w 3419475"/>
                  <a:gd name="connsiteY191" fmla="*/ 691172 h 857250"/>
                  <a:gd name="connsiteX192" fmla="*/ 788072 w 3419475"/>
                  <a:gd name="connsiteY192" fmla="*/ 689870 h 857250"/>
                  <a:gd name="connsiteX193" fmla="*/ 680759 w 3419475"/>
                  <a:gd name="connsiteY193" fmla="*/ 676334 h 857250"/>
                  <a:gd name="connsiteX194" fmla="*/ 671020 w 3419475"/>
                  <a:gd name="connsiteY194" fmla="*/ 704686 h 857250"/>
                  <a:gd name="connsiteX195" fmla="*/ 647635 w 3419475"/>
                  <a:gd name="connsiteY195" fmla="*/ 698265 h 857250"/>
                  <a:gd name="connsiteX196" fmla="*/ 630173 w 3419475"/>
                  <a:gd name="connsiteY196" fmla="*/ 748592 h 857250"/>
                  <a:gd name="connsiteX197" fmla="*/ 623817 w 3419475"/>
                  <a:gd name="connsiteY197" fmla="*/ 747269 h 857250"/>
                  <a:gd name="connsiteX198" fmla="*/ 598523 w 3419475"/>
                  <a:gd name="connsiteY198" fmla="*/ 743820 h 857250"/>
                  <a:gd name="connsiteX199" fmla="*/ 599196 w 3419475"/>
                  <a:gd name="connsiteY199" fmla="*/ 741889 h 857250"/>
                  <a:gd name="connsiteX200" fmla="*/ 435201 w 3419475"/>
                  <a:gd name="connsiteY200" fmla="*/ 720652 h 857250"/>
                  <a:gd name="connsiteX201" fmla="*/ 114630 w 3419475"/>
                  <a:gd name="connsiteY201" fmla="*/ 679567 h 857250"/>
                  <a:gd name="connsiteX202" fmla="*/ 7144 w 3419475"/>
                  <a:gd name="connsiteY202" fmla="*/ 665554 h 857250"/>
                  <a:gd name="connsiteX203" fmla="*/ 8771 w 3419475"/>
                  <a:gd name="connsiteY203" fmla="*/ 661627 h 857250"/>
                  <a:gd name="connsiteX204" fmla="*/ 12242 w 3419475"/>
                  <a:gd name="connsiteY204" fmla="*/ 651020 h 857250"/>
                  <a:gd name="connsiteX205" fmla="*/ 30571 w 3419475"/>
                  <a:gd name="connsiteY205" fmla="*/ 598610 h 857250"/>
                  <a:gd name="connsiteX206" fmla="*/ 35474 w 3419475"/>
                  <a:gd name="connsiteY206" fmla="*/ 583707 h 857250"/>
                  <a:gd name="connsiteX207" fmla="*/ 37274 w 3419475"/>
                  <a:gd name="connsiteY207" fmla="*/ 580172 h 857250"/>
                  <a:gd name="connsiteX208" fmla="*/ 54303 w 3419475"/>
                  <a:gd name="connsiteY208" fmla="*/ 531060 h 857250"/>
                  <a:gd name="connsiteX209" fmla="*/ 56798 w 3419475"/>
                  <a:gd name="connsiteY209" fmla="*/ 522643 h 857250"/>
                  <a:gd name="connsiteX210" fmla="*/ 64499 w 3419475"/>
                  <a:gd name="connsiteY210" fmla="*/ 500712 h 857250"/>
                  <a:gd name="connsiteX211" fmla="*/ 87319 w 3419475"/>
                  <a:gd name="connsiteY211" fmla="*/ 433488 h 857250"/>
                  <a:gd name="connsiteX212" fmla="*/ 98274 w 3419475"/>
                  <a:gd name="connsiteY212" fmla="*/ 402164 h 857250"/>
                  <a:gd name="connsiteX213" fmla="*/ 136691 w 3419475"/>
                  <a:gd name="connsiteY213" fmla="*/ 288908 h 857250"/>
                  <a:gd name="connsiteX214" fmla="*/ 139750 w 3419475"/>
                  <a:gd name="connsiteY214" fmla="*/ 280512 h 857250"/>
                  <a:gd name="connsiteX215" fmla="*/ 141637 w 3419475"/>
                  <a:gd name="connsiteY215" fmla="*/ 276520 h 857250"/>
                  <a:gd name="connsiteX216" fmla="*/ 157190 w 3419475"/>
                  <a:gd name="connsiteY216" fmla="*/ 229969 h 857250"/>
                  <a:gd name="connsiteX217" fmla="*/ 196606 w 3419475"/>
                  <a:gd name="connsiteY217" fmla="*/ 114695 h 857250"/>
                  <a:gd name="connsiteX218" fmla="*/ 233808 w 3419475"/>
                  <a:gd name="connsiteY218" fmla="*/ 7144 h 857250"/>
                  <a:gd name="connsiteX219" fmla="*/ 472708 w 3419475"/>
                  <a:gd name="connsiteY219" fmla="*/ 38490 h 857250"/>
                  <a:gd name="connsiteX220" fmla="*/ 537438 w 3419475"/>
                  <a:gd name="connsiteY220" fmla="*/ 46668 h 857250"/>
                  <a:gd name="connsiteX221" fmla="*/ 840655 w 3419475"/>
                  <a:gd name="connsiteY221" fmla="*/ 85128 h 857250"/>
                  <a:gd name="connsiteX222" fmla="*/ 848334 w 3419475"/>
                  <a:gd name="connsiteY222" fmla="*/ 62785 h 857250"/>
                  <a:gd name="connsiteX223" fmla="*/ 955104 w 3419475"/>
                  <a:gd name="connsiteY223" fmla="*/ 76451 h 857250"/>
                  <a:gd name="connsiteX224" fmla="*/ 1193331 w 3419475"/>
                  <a:gd name="connsiteY224" fmla="*/ 107905 h 857250"/>
                  <a:gd name="connsiteX225" fmla="*/ 1593274 w 3419475"/>
                  <a:gd name="connsiteY225" fmla="*/ 159187 h 857250"/>
                  <a:gd name="connsiteX226" fmla="*/ 1697160 w 3419475"/>
                  <a:gd name="connsiteY226" fmla="*/ 172310 h 857250"/>
                  <a:gd name="connsiteX227" fmla="*/ 1768137 w 3419475"/>
                  <a:gd name="connsiteY227" fmla="*/ 181551 h 857250"/>
                  <a:gd name="connsiteX228" fmla="*/ 2079793 w 3419475"/>
                  <a:gd name="connsiteY228" fmla="*/ 221899 h 857250"/>
                  <a:gd name="connsiteX229" fmla="*/ 2118752 w 3419475"/>
                  <a:gd name="connsiteY229" fmla="*/ 225934 h 857250"/>
                  <a:gd name="connsiteX230" fmla="*/ 2153873 w 3419475"/>
                  <a:gd name="connsiteY230" fmla="*/ 230142 h 857250"/>
                  <a:gd name="connsiteX231" fmla="*/ 2172811 w 3419475"/>
                  <a:gd name="connsiteY231" fmla="*/ 232399 h 857250"/>
                  <a:gd name="connsiteX232" fmla="*/ 2193462 w 3419475"/>
                  <a:gd name="connsiteY232" fmla="*/ 235348 h 857250"/>
                  <a:gd name="connsiteX233" fmla="*/ 2240317 w 3419475"/>
                  <a:gd name="connsiteY233" fmla="*/ 242681 h 857250"/>
                  <a:gd name="connsiteX234" fmla="*/ 2264092 w 3419475"/>
                  <a:gd name="connsiteY234" fmla="*/ 246108 h 857250"/>
                  <a:gd name="connsiteX235" fmla="*/ 2286067 w 3419475"/>
                  <a:gd name="connsiteY235" fmla="*/ 249058 h 857250"/>
                  <a:gd name="connsiteX236" fmla="*/ 2340493 w 3419475"/>
                  <a:gd name="connsiteY236" fmla="*/ 256130 h 857250"/>
                  <a:gd name="connsiteX237" fmla="*/ 2534814 w 3419475"/>
                  <a:gd name="connsiteY237" fmla="*/ 280360 h 857250"/>
                  <a:gd name="connsiteX238" fmla="*/ 2558741 w 3419475"/>
                  <a:gd name="connsiteY238" fmla="*/ 283766 h 857250"/>
                  <a:gd name="connsiteX239" fmla="*/ 2594273 w 3419475"/>
                  <a:gd name="connsiteY239" fmla="*/ 288950 h 857250"/>
                  <a:gd name="connsiteX240" fmla="*/ 2628330 w 3419475"/>
                  <a:gd name="connsiteY240" fmla="*/ 294916 h 857250"/>
                  <a:gd name="connsiteX241" fmla="*/ 2653927 w 3419475"/>
                  <a:gd name="connsiteY241" fmla="*/ 299710 h 857250"/>
                  <a:gd name="connsiteX242" fmla="*/ 2668548 w 3419475"/>
                  <a:gd name="connsiteY242" fmla="*/ 302812 h 857250"/>
                  <a:gd name="connsiteX243" fmla="*/ 2768963 w 3419475"/>
                  <a:gd name="connsiteY243" fmla="*/ 319537 h 857250"/>
                  <a:gd name="connsiteX244" fmla="*/ 2761001 w 3419475"/>
                  <a:gd name="connsiteY244" fmla="*/ 326912 h 857250"/>
                  <a:gd name="connsiteX245" fmla="*/ 2872999 w 3419475"/>
                  <a:gd name="connsiteY245" fmla="*/ 357759 h 857250"/>
                  <a:gd name="connsiteX246" fmla="*/ 2932653 w 3419475"/>
                  <a:gd name="connsiteY246" fmla="*/ 379386 h 857250"/>
                  <a:gd name="connsiteX247" fmla="*/ 2938033 w 3419475"/>
                  <a:gd name="connsiteY247" fmla="*/ 381339 h 857250"/>
                  <a:gd name="connsiteX248" fmla="*/ 3007969 w 3419475"/>
                  <a:gd name="connsiteY248" fmla="*/ 412337 h 857250"/>
                  <a:gd name="connsiteX249" fmla="*/ 3092331 w 3419475"/>
                  <a:gd name="connsiteY249" fmla="*/ 461232 h 857250"/>
                  <a:gd name="connsiteX250" fmla="*/ 3147821 w 3419475"/>
                  <a:gd name="connsiteY250" fmla="*/ 500972 h 857250"/>
                  <a:gd name="connsiteX251" fmla="*/ 3346351 w 3419475"/>
                  <a:gd name="connsiteY251" fmla="*/ 644078 h 857250"/>
                  <a:gd name="connsiteX252" fmla="*/ 3414877 w 3419475"/>
                  <a:gd name="connsiteY252" fmla="*/ 694513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3419475" h="857250">
                    <a:moveTo>
                      <a:pt x="3414877" y="694513"/>
                    </a:moveTo>
                    <a:lnTo>
                      <a:pt x="3406591" y="699111"/>
                    </a:lnTo>
                    <a:lnTo>
                      <a:pt x="3213463" y="798007"/>
                    </a:lnTo>
                    <a:lnTo>
                      <a:pt x="3209905" y="799266"/>
                    </a:lnTo>
                    <a:lnTo>
                      <a:pt x="3207519" y="799808"/>
                    </a:lnTo>
                    <a:lnTo>
                      <a:pt x="3203853" y="800351"/>
                    </a:lnTo>
                    <a:lnTo>
                      <a:pt x="3200447" y="800502"/>
                    </a:lnTo>
                    <a:lnTo>
                      <a:pt x="3197779" y="800415"/>
                    </a:lnTo>
                    <a:lnTo>
                      <a:pt x="3131855" y="794515"/>
                    </a:lnTo>
                    <a:lnTo>
                      <a:pt x="3128992" y="794558"/>
                    </a:lnTo>
                    <a:lnTo>
                      <a:pt x="3125391" y="794883"/>
                    </a:lnTo>
                    <a:lnTo>
                      <a:pt x="3109404" y="797704"/>
                    </a:lnTo>
                    <a:lnTo>
                      <a:pt x="3107495" y="794472"/>
                    </a:lnTo>
                    <a:lnTo>
                      <a:pt x="3103439" y="789330"/>
                    </a:lnTo>
                    <a:lnTo>
                      <a:pt x="3103243" y="787769"/>
                    </a:lnTo>
                    <a:lnTo>
                      <a:pt x="3098731" y="783821"/>
                    </a:lnTo>
                    <a:lnTo>
                      <a:pt x="3010486" y="825470"/>
                    </a:lnTo>
                    <a:lnTo>
                      <a:pt x="3007037" y="825123"/>
                    </a:lnTo>
                    <a:lnTo>
                      <a:pt x="3003176" y="824494"/>
                    </a:lnTo>
                    <a:lnTo>
                      <a:pt x="2997298" y="823084"/>
                    </a:lnTo>
                    <a:lnTo>
                      <a:pt x="2992329" y="821566"/>
                    </a:lnTo>
                    <a:lnTo>
                      <a:pt x="2985973" y="819027"/>
                    </a:lnTo>
                    <a:lnTo>
                      <a:pt x="2985648" y="819309"/>
                    </a:lnTo>
                    <a:lnTo>
                      <a:pt x="2984954" y="819005"/>
                    </a:lnTo>
                    <a:lnTo>
                      <a:pt x="2981093" y="822172"/>
                    </a:lnTo>
                    <a:lnTo>
                      <a:pt x="2977102" y="828572"/>
                    </a:lnTo>
                    <a:lnTo>
                      <a:pt x="2976256" y="828420"/>
                    </a:lnTo>
                    <a:lnTo>
                      <a:pt x="2975605" y="829331"/>
                    </a:lnTo>
                    <a:lnTo>
                      <a:pt x="2974173" y="829678"/>
                    </a:lnTo>
                    <a:lnTo>
                      <a:pt x="2960789" y="832476"/>
                    </a:lnTo>
                    <a:lnTo>
                      <a:pt x="2945365" y="835709"/>
                    </a:lnTo>
                    <a:lnTo>
                      <a:pt x="2945539" y="835622"/>
                    </a:lnTo>
                    <a:lnTo>
                      <a:pt x="2927837" y="821869"/>
                    </a:lnTo>
                    <a:lnTo>
                      <a:pt x="2921678" y="817487"/>
                    </a:lnTo>
                    <a:lnTo>
                      <a:pt x="2911243" y="810828"/>
                    </a:lnTo>
                    <a:lnTo>
                      <a:pt x="2905451" y="807595"/>
                    </a:lnTo>
                    <a:lnTo>
                      <a:pt x="2894518" y="802107"/>
                    </a:lnTo>
                    <a:lnTo>
                      <a:pt x="2888444" y="799526"/>
                    </a:lnTo>
                    <a:lnTo>
                      <a:pt x="2874539" y="794276"/>
                    </a:lnTo>
                    <a:lnTo>
                      <a:pt x="2866643" y="791847"/>
                    </a:lnTo>
                    <a:lnTo>
                      <a:pt x="2857576" y="789439"/>
                    </a:lnTo>
                    <a:lnTo>
                      <a:pt x="2848400" y="787226"/>
                    </a:lnTo>
                    <a:lnTo>
                      <a:pt x="2839267" y="785426"/>
                    </a:lnTo>
                    <a:lnTo>
                      <a:pt x="2830634" y="783928"/>
                    </a:lnTo>
                    <a:lnTo>
                      <a:pt x="2812890" y="781803"/>
                    </a:lnTo>
                    <a:lnTo>
                      <a:pt x="2804473" y="781218"/>
                    </a:lnTo>
                    <a:lnTo>
                      <a:pt x="2796555" y="780849"/>
                    </a:lnTo>
                    <a:lnTo>
                      <a:pt x="2786750" y="780761"/>
                    </a:lnTo>
                    <a:lnTo>
                      <a:pt x="2759027" y="780805"/>
                    </a:lnTo>
                    <a:lnTo>
                      <a:pt x="2758897" y="778354"/>
                    </a:lnTo>
                    <a:lnTo>
                      <a:pt x="2744710" y="778441"/>
                    </a:lnTo>
                    <a:lnTo>
                      <a:pt x="2744776" y="778115"/>
                    </a:lnTo>
                    <a:lnTo>
                      <a:pt x="2654947" y="778679"/>
                    </a:lnTo>
                    <a:lnTo>
                      <a:pt x="2655012" y="778939"/>
                    </a:lnTo>
                    <a:lnTo>
                      <a:pt x="2648114" y="778983"/>
                    </a:lnTo>
                    <a:lnTo>
                      <a:pt x="2648114" y="778723"/>
                    </a:lnTo>
                    <a:lnTo>
                      <a:pt x="2616595" y="778918"/>
                    </a:lnTo>
                    <a:lnTo>
                      <a:pt x="2574272" y="779287"/>
                    </a:lnTo>
                    <a:lnTo>
                      <a:pt x="2574316" y="779504"/>
                    </a:lnTo>
                    <a:lnTo>
                      <a:pt x="2566550" y="779525"/>
                    </a:lnTo>
                    <a:lnTo>
                      <a:pt x="2566529" y="778159"/>
                    </a:lnTo>
                    <a:lnTo>
                      <a:pt x="2550281" y="778462"/>
                    </a:lnTo>
                    <a:lnTo>
                      <a:pt x="2540216" y="778875"/>
                    </a:lnTo>
                    <a:lnTo>
                      <a:pt x="2539348" y="778961"/>
                    </a:lnTo>
                    <a:lnTo>
                      <a:pt x="2538090" y="779612"/>
                    </a:lnTo>
                    <a:lnTo>
                      <a:pt x="2527091" y="780458"/>
                    </a:lnTo>
                    <a:lnTo>
                      <a:pt x="2525226" y="781022"/>
                    </a:lnTo>
                    <a:lnTo>
                      <a:pt x="2513708" y="782887"/>
                    </a:lnTo>
                    <a:lnTo>
                      <a:pt x="2506613" y="783886"/>
                    </a:lnTo>
                    <a:lnTo>
                      <a:pt x="2500019" y="784450"/>
                    </a:lnTo>
                    <a:lnTo>
                      <a:pt x="2490995" y="786424"/>
                    </a:lnTo>
                    <a:lnTo>
                      <a:pt x="2484032" y="788159"/>
                    </a:lnTo>
                    <a:lnTo>
                      <a:pt x="2474552" y="790936"/>
                    </a:lnTo>
                    <a:lnTo>
                      <a:pt x="2471645" y="791305"/>
                    </a:lnTo>
                    <a:lnTo>
                      <a:pt x="2468760" y="792042"/>
                    </a:lnTo>
                    <a:lnTo>
                      <a:pt x="2461407" y="794645"/>
                    </a:lnTo>
                    <a:lnTo>
                      <a:pt x="2454682" y="797226"/>
                    </a:lnTo>
                    <a:lnTo>
                      <a:pt x="2443663" y="801998"/>
                    </a:lnTo>
                    <a:lnTo>
                      <a:pt x="2434486" y="806598"/>
                    </a:lnTo>
                    <a:lnTo>
                      <a:pt x="2451624" y="793213"/>
                    </a:lnTo>
                    <a:lnTo>
                      <a:pt x="2458304" y="787660"/>
                    </a:lnTo>
                    <a:lnTo>
                      <a:pt x="2427458" y="777616"/>
                    </a:lnTo>
                    <a:lnTo>
                      <a:pt x="2409844" y="772063"/>
                    </a:lnTo>
                    <a:lnTo>
                      <a:pt x="2408997" y="768180"/>
                    </a:lnTo>
                    <a:lnTo>
                      <a:pt x="2395201" y="764016"/>
                    </a:lnTo>
                    <a:lnTo>
                      <a:pt x="2374333" y="780089"/>
                    </a:lnTo>
                    <a:lnTo>
                      <a:pt x="2361751" y="779894"/>
                    </a:lnTo>
                    <a:lnTo>
                      <a:pt x="2336285" y="780024"/>
                    </a:lnTo>
                    <a:lnTo>
                      <a:pt x="2328866" y="780068"/>
                    </a:lnTo>
                    <a:lnTo>
                      <a:pt x="2327760" y="788810"/>
                    </a:lnTo>
                    <a:lnTo>
                      <a:pt x="2325959" y="815860"/>
                    </a:lnTo>
                    <a:lnTo>
                      <a:pt x="2325243" y="832607"/>
                    </a:lnTo>
                    <a:lnTo>
                      <a:pt x="2324158" y="838269"/>
                    </a:lnTo>
                    <a:lnTo>
                      <a:pt x="2324180" y="847532"/>
                    </a:lnTo>
                    <a:lnTo>
                      <a:pt x="2323052" y="850417"/>
                    </a:lnTo>
                    <a:lnTo>
                      <a:pt x="2321317" y="851869"/>
                    </a:lnTo>
                    <a:lnTo>
                      <a:pt x="2309928" y="853713"/>
                    </a:lnTo>
                    <a:lnTo>
                      <a:pt x="2296458" y="855276"/>
                    </a:lnTo>
                    <a:lnTo>
                      <a:pt x="2282423" y="856208"/>
                    </a:lnTo>
                    <a:lnTo>
                      <a:pt x="2268496" y="856534"/>
                    </a:lnTo>
                    <a:lnTo>
                      <a:pt x="1959834" y="856838"/>
                    </a:lnTo>
                    <a:lnTo>
                      <a:pt x="1931352" y="856794"/>
                    </a:lnTo>
                    <a:lnTo>
                      <a:pt x="1903325" y="856469"/>
                    </a:lnTo>
                    <a:lnTo>
                      <a:pt x="1891828" y="854820"/>
                    </a:lnTo>
                    <a:lnTo>
                      <a:pt x="1885754" y="853605"/>
                    </a:lnTo>
                    <a:lnTo>
                      <a:pt x="1880678" y="852477"/>
                    </a:lnTo>
                    <a:lnTo>
                      <a:pt x="1870070" y="849700"/>
                    </a:lnTo>
                    <a:lnTo>
                      <a:pt x="1863693" y="847727"/>
                    </a:lnTo>
                    <a:lnTo>
                      <a:pt x="1849745" y="842845"/>
                    </a:lnTo>
                    <a:lnTo>
                      <a:pt x="1835428" y="837336"/>
                    </a:lnTo>
                    <a:lnTo>
                      <a:pt x="1822607" y="831913"/>
                    </a:lnTo>
                    <a:lnTo>
                      <a:pt x="1814885" y="828246"/>
                    </a:lnTo>
                    <a:lnTo>
                      <a:pt x="1807444" y="824429"/>
                    </a:lnTo>
                    <a:lnTo>
                      <a:pt x="1787465" y="813019"/>
                    </a:lnTo>
                    <a:lnTo>
                      <a:pt x="1782216" y="809656"/>
                    </a:lnTo>
                    <a:lnTo>
                      <a:pt x="1769938" y="801023"/>
                    </a:lnTo>
                    <a:lnTo>
                      <a:pt x="1766945" y="798658"/>
                    </a:lnTo>
                    <a:lnTo>
                      <a:pt x="1761912" y="793821"/>
                    </a:lnTo>
                    <a:lnTo>
                      <a:pt x="1760935" y="792736"/>
                    </a:lnTo>
                    <a:lnTo>
                      <a:pt x="1758940" y="793560"/>
                    </a:lnTo>
                    <a:lnTo>
                      <a:pt x="1754428" y="789525"/>
                    </a:lnTo>
                    <a:lnTo>
                      <a:pt x="1752453" y="787161"/>
                    </a:lnTo>
                    <a:lnTo>
                      <a:pt x="1750393" y="785122"/>
                    </a:lnTo>
                    <a:lnTo>
                      <a:pt x="1747096" y="782345"/>
                    </a:lnTo>
                    <a:lnTo>
                      <a:pt x="1742692" y="784254"/>
                    </a:lnTo>
                    <a:lnTo>
                      <a:pt x="1737854" y="780046"/>
                    </a:lnTo>
                    <a:lnTo>
                      <a:pt x="1723213" y="785577"/>
                    </a:lnTo>
                    <a:lnTo>
                      <a:pt x="1717680" y="787270"/>
                    </a:lnTo>
                    <a:lnTo>
                      <a:pt x="1712041" y="789439"/>
                    </a:lnTo>
                    <a:lnTo>
                      <a:pt x="1707615" y="791738"/>
                    </a:lnTo>
                    <a:lnTo>
                      <a:pt x="1682279" y="801521"/>
                    </a:lnTo>
                    <a:lnTo>
                      <a:pt x="1679849" y="799092"/>
                    </a:lnTo>
                    <a:lnTo>
                      <a:pt x="1678136" y="799786"/>
                    </a:lnTo>
                    <a:lnTo>
                      <a:pt x="1672257" y="800003"/>
                    </a:lnTo>
                    <a:lnTo>
                      <a:pt x="1669740" y="798788"/>
                    </a:lnTo>
                    <a:lnTo>
                      <a:pt x="1667224" y="795730"/>
                    </a:lnTo>
                    <a:lnTo>
                      <a:pt x="1664729" y="793365"/>
                    </a:lnTo>
                    <a:lnTo>
                      <a:pt x="1661519" y="790848"/>
                    </a:lnTo>
                    <a:lnTo>
                      <a:pt x="1659806" y="789894"/>
                    </a:lnTo>
                    <a:lnTo>
                      <a:pt x="1656660" y="787009"/>
                    </a:lnTo>
                    <a:lnTo>
                      <a:pt x="1648048" y="777898"/>
                    </a:lnTo>
                    <a:lnTo>
                      <a:pt x="1643210" y="772367"/>
                    </a:lnTo>
                    <a:lnTo>
                      <a:pt x="1638829" y="767074"/>
                    </a:lnTo>
                    <a:lnTo>
                      <a:pt x="1629978" y="755252"/>
                    </a:lnTo>
                    <a:lnTo>
                      <a:pt x="1626203" y="749699"/>
                    </a:lnTo>
                    <a:lnTo>
                      <a:pt x="1619002" y="737963"/>
                    </a:lnTo>
                    <a:lnTo>
                      <a:pt x="1616160" y="732821"/>
                    </a:lnTo>
                    <a:lnTo>
                      <a:pt x="1611843" y="724166"/>
                    </a:lnTo>
                    <a:lnTo>
                      <a:pt x="1605401" y="709090"/>
                    </a:lnTo>
                    <a:lnTo>
                      <a:pt x="1602320" y="703472"/>
                    </a:lnTo>
                    <a:lnTo>
                      <a:pt x="1600541" y="700933"/>
                    </a:lnTo>
                    <a:lnTo>
                      <a:pt x="1597591" y="697571"/>
                    </a:lnTo>
                    <a:lnTo>
                      <a:pt x="1593361" y="693732"/>
                    </a:lnTo>
                    <a:lnTo>
                      <a:pt x="1587635" y="689762"/>
                    </a:lnTo>
                    <a:lnTo>
                      <a:pt x="1582406" y="686855"/>
                    </a:lnTo>
                    <a:lnTo>
                      <a:pt x="1581170" y="684816"/>
                    </a:lnTo>
                    <a:lnTo>
                      <a:pt x="1577200" y="682821"/>
                    </a:lnTo>
                    <a:lnTo>
                      <a:pt x="1573187" y="681302"/>
                    </a:lnTo>
                    <a:lnTo>
                      <a:pt x="1566918" y="679263"/>
                    </a:lnTo>
                    <a:lnTo>
                      <a:pt x="1561604" y="677831"/>
                    </a:lnTo>
                    <a:lnTo>
                      <a:pt x="1556245" y="676660"/>
                    </a:lnTo>
                    <a:lnTo>
                      <a:pt x="1547395" y="675445"/>
                    </a:lnTo>
                    <a:lnTo>
                      <a:pt x="1539694" y="674946"/>
                    </a:lnTo>
                    <a:lnTo>
                      <a:pt x="1533772" y="674881"/>
                    </a:lnTo>
                    <a:lnTo>
                      <a:pt x="1528740" y="675055"/>
                    </a:lnTo>
                    <a:lnTo>
                      <a:pt x="1522883" y="675510"/>
                    </a:lnTo>
                    <a:lnTo>
                      <a:pt x="1514445" y="676703"/>
                    </a:lnTo>
                    <a:lnTo>
                      <a:pt x="1507394" y="678265"/>
                    </a:lnTo>
                    <a:lnTo>
                      <a:pt x="1495680" y="681800"/>
                    </a:lnTo>
                    <a:lnTo>
                      <a:pt x="1482469" y="687441"/>
                    </a:lnTo>
                    <a:lnTo>
                      <a:pt x="1472166" y="691432"/>
                    </a:lnTo>
                    <a:lnTo>
                      <a:pt x="1464660" y="693580"/>
                    </a:lnTo>
                    <a:lnTo>
                      <a:pt x="1459237" y="694643"/>
                    </a:lnTo>
                    <a:lnTo>
                      <a:pt x="1455657" y="695250"/>
                    </a:lnTo>
                    <a:lnTo>
                      <a:pt x="1450343" y="695402"/>
                    </a:lnTo>
                    <a:lnTo>
                      <a:pt x="1441644" y="695098"/>
                    </a:lnTo>
                    <a:lnTo>
                      <a:pt x="1417566" y="696812"/>
                    </a:lnTo>
                    <a:lnTo>
                      <a:pt x="1401145" y="699068"/>
                    </a:lnTo>
                    <a:lnTo>
                      <a:pt x="1394311" y="699632"/>
                    </a:lnTo>
                    <a:lnTo>
                      <a:pt x="1010268" y="699979"/>
                    </a:lnTo>
                    <a:lnTo>
                      <a:pt x="966471" y="793278"/>
                    </a:lnTo>
                    <a:lnTo>
                      <a:pt x="915320" y="738006"/>
                    </a:lnTo>
                    <a:lnTo>
                      <a:pt x="916730" y="730435"/>
                    </a:lnTo>
                    <a:lnTo>
                      <a:pt x="917533" y="727745"/>
                    </a:lnTo>
                    <a:lnTo>
                      <a:pt x="918379" y="726358"/>
                    </a:lnTo>
                    <a:lnTo>
                      <a:pt x="920136" y="723429"/>
                    </a:lnTo>
                    <a:lnTo>
                      <a:pt x="923368" y="719784"/>
                    </a:lnTo>
                    <a:lnTo>
                      <a:pt x="928748" y="715945"/>
                    </a:lnTo>
                    <a:lnTo>
                      <a:pt x="884842" y="703971"/>
                    </a:lnTo>
                    <a:lnTo>
                      <a:pt x="878204" y="702452"/>
                    </a:lnTo>
                    <a:lnTo>
                      <a:pt x="845449" y="696877"/>
                    </a:lnTo>
                    <a:lnTo>
                      <a:pt x="802086" y="691172"/>
                    </a:lnTo>
                    <a:lnTo>
                      <a:pt x="788072" y="689870"/>
                    </a:lnTo>
                    <a:lnTo>
                      <a:pt x="680759" y="676334"/>
                    </a:lnTo>
                    <a:lnTo>
                      <a:pt x="671020" y="704686"/>
                    </a:lnTo>
                    <a:lnTo>
                      <a:pt x="647635" y="698265"/>
                    </a:lnTo>
                    <a:lnTo>
                      <a:pt x="630173" y="748592"/>
                    </a:lnTo>
                    <a:lnTo>
                      <a:pt x="623817" y="747269"/>
                    </a:lnTo>
                    <a:lnTo>
                      <a:pt x="598523" y="743820"/>
                    </a:lnTo>
                    <a:lnTo>
                      <a:pt x="599196" y="741889"/>
                    </a:lnTo>
                    <a:lnTo>
                      <a:pt x="435201" y="720652"/>
                    </a:lnTo>
                    <a:lnTo>
                      <a:pt x="114630" y="679567"/>
                    </a:lnTo>
                    <a:lnTo>
                      <a:pt x="7144" y="665554"/>
                    </a:lnTo>
                    <a:lnTo>
                      <a:pt x="8771" y="661627"/>
                    </a:lnTo>
                    <a:lnTo>
                      <a:pt x="12242" y="651020"/>
                    </a:lnTo>
                    <a:lnTo>
                      <a:pt x="30571" y="598610"/>
                    </a:lnTo>
                    <a:lnTo>
                      <a:pt x="35474" y="583707"/>
                    </a:lnTo>
                    <a:lnTo>
                      <a:pt x="37274" y="580172"/>
                    </a:lnTo>
                    <a:lnTo>
                      <a:pt x="54303" y="531060"/>
                    </a:lnTo>
                    <a:lnTo>
                      <a:pt x="56798" y="522643"/>
                    </a:lnTo>
                    <a:lnTo>
                      <a:pt x="64499" y="500712"/>
                    </a:lnTo>
                    <a:lnTo>
                      <a:pt x="87319" y="433488"/>
                    </a:lnTo>
                    <a:lnTo>
                      <a:pt x="98274" y="402164"/>
                    </a:lnTo>
                    <a:lnTo>
                      <a:pt x="136691" y="288908"/>
                    </a:lnTo>
                    <a:lnTo>
                      <a:pt x="139750" y="280512"/>
                    </a:lnTo>
                    <a:lnTo>
                      <a:pt x="141637" y="276520"/>
                    </a:lnTo>
                    <a:lnTo>
                      <a:pt x="157190" y="229969"/>
                    </a:lnTo>
                    <a:lnTo>
                      <a:pt x="196606" y="114695"/>
                    </a:lnTo>
                    <a:lnTo>
                      <a:pt x="233808" y="7144"/>
                    </a:lnTo>
                    <a:lnTo>
                      <a:pt x="472708" y="38490"/>
                    </a:lnTo>
                    <a:lnTo>
                      <a:pt x="537438" y="46668"/>
                    </a:lnTo>
                    <a:lnTo>
                      <a:pt x="840655" y="85128"/>
                    </a:lnTo>
                    <a:lnTo>
                      <a:pt x="848334" y="62785"/>
                    </a:lnTo>
                    <a:lnTo>
                      <a:pt x="955104" y="76451"/>
                    </a:lnTo>
                    <a:lnTo>
                      <a:pt x="1193331" y="107905"/>
                    </a:lnTo>
                    <a:lnTo>
                      <a:pt x="1593274" y="159187"/>
                    </a:lnTo>
                    <a:lnTo>
                      <a:pt x="1697160" y="172310"/>
                    </a:lnTo>
                    <a:lnTo>
                      <a:pt x="1768137" y="181551"/>
                    </a:lnTo>
                    <a:lnTo>
                      <a:pt x="2079793" y="221899"/>
                    </a:lnTo>
                    <a:lnTo>
                      <a:pt x="2118752" y="225934"/>
                    </a:lnTo>
                    <a:lnTo>
                      <a:pt x="2153873" y="230142"/>
                    </a:lnTo>
                    <a:lnTo>
                      <a:pt x="2172811" y="232399"/>
                    </a:lnTo>
                    <a:lnTo>
                      <a:pt x="2193462" y="235348"/>
                    </a:lnTo>
                    <a:lnTo>
                      <a:pt x="2240317" y="242681"/>
                    </a:lnTo>
                    <a:lnTo>
                      <a:pt x="2264092" y="246108"/>
                    </a:lnTo>
                    <a:lnTo>
                      <a:pt x="2286067" y="249058"/>
                    </a:lnTo>
                    <a:lnTo>
                      <a:pt x="2340493" y="256130"/>
                    </a:lnTo>
                    <a:lnTo>
                      <a:pt x="2534814" y="280360"/>
                    </a:lnTo>
                    <a:lnTo>
                      <a:pt x="2558741" y="283766"/>
                    </a:lnTo>
                    <a:lnTo>
                      <a:pt x="2594273" y="288950"/>
                    </a:lnTo>
                    <a:lnTo>
                      <a:pt x="2628330" y="294916"/>
                    </a:lnTo>
                    <a:lnTo>
                      <a:pt x="2653927" y="299710"/>
                    </a:lnTo>
                    <a:lnTo>
                      <a:pt x="2668548" y="302812"/>
                    </a:lnTo>
                    <a:lnTo>
                      <a:pt x="2768963" y="319537"/>
                    </a:lnTo>
                    <a:lnTo>
                      <a:pt x="2761001" y="326912"/>
                    </a:lnTo>
                    <a:lnTo>
                      <a:pt x="2872999" y="357759"/>
                    </a:lnTo>
                    <a:lnTo>
                      <a:pt x="2932653" y="379386"/>
                    </a:lnTo>
                    <a:lnTo>
                      <a:pt x="2938033" y="381339"/>
                    </a:lnTo>
                    <a:lnTo>
                      <a:pt x="3007969" y="412337"/>
                    </a:lnTo>
                    <a:lnTo>
                      <a:pt x="3092331" y="461232"/>
                    </a:lnTo>
                    <a:lnTo>
                      <a:pt x="3147821" y="500972"/>
                    </a:lnTo>
                    <a:lnTo>
                      <a:pt x="3346351" y="644078"/>
                    </a:lnTo>
                    <a:lnTo>
                      <a:pt x="3414877" y="694513"/>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latin typeface="+mn-lt"/>
                  <a:cs typeface="+mn-cs"/>
                </a:endParaRPr>
              </a:p>
            </p:txBody>
          </p:sp>
          <p:sp>
            <p:nvSpPr>
              <p:cNvPr id="91" name="Freeform: Shape 90">
                <a:extLst>
                  <a:ext uri="{FF2B5EF4-FFF2-40B4-BE49-F238E27FC236}">
                    <a16:creationId xmlns:a16="http://schemas.microsoft.com/office/drawing/2014/main" id="{C5DD2435-DA4E-4D0E-8BFA-6A1D9B5E5B62}"/>
                  </a:ext>
                </a:extLst>
              </p:cNvPr>
              <p:cNvSpPr/>
              <p:nvPr/>
            </p:nvSpPr>
            <p:spPr>
              <a:xfrm>
                <a:off x="5478542" y="4026044"/>
                <a:ext cx="370637" cy="401961"/>
              </a:xfrm>
              <a:custGeom>
                <a:avLst/>
                <a:gdLst>
                  <a:gd name="connsiteX0" fmla="*/ 1303181 w 1304925"/>
                  <a:gd name="connsiteY0" fmla="*/ 238950 h 942975"/>
                  <a:gd name="connsiteX1" fmla="*/ 1244243 w 1304925"/>
                  <a:gd name="connsiteY1" fmla="*/ 242594 h 942975"/>
                  <a:gd name="connsiteX2" fmla="*/ 1243028 w 1304925"/>
                  <a:gd name="connsiteY2" fmla="*/ 246629 h 942975"/>
                  <a:gd name="connsiteX3" fmla="*/ 1242812 w 1304925"/>
                  <a:gd name="connsiteY3" fmla="*/ 249123 h 942975"/>
                  <a:gd name="connsiteX4" fmla="*/ 1242963 w 1304925"/>
                  <a:gd name="connsiteY4" fmla="*/ 249448 h 942975"/>
                  <a:gd name="connsiteX5" fmla="*/ 1240902 w 1304925"/>
                  <a:gd name="connsiteY5" fmla="*/ 249817 h 942975"/>
                  <a:gd name="connsiteX6" fmla="*/ 1237887 w 1304925"/>
                  <a:gd name="connsiteY6" fmla="*/ 242963 h 942975"/>
                  <a:gd name="connsiteX7" fmla="*/ 1214915 w 1304925"/>
                  <a:gd name="connsiteY7" fmla="*/ 244394 h 942975"/>
                  <a:gd name="connsiteX8" fmla="*/ 1105628 w 1304925"/>
                  <a:gd name="connsiteY8" fmla="*/ 251141 h 942975"/>
                  <a:gd name="connsiteX9" fmla="*/ 1100725 w 1304925"/>
                  <a:gd name="connsiteY9" fmla="*/ 250316 h 942975"/>
                  <a:gd name="connsiteX10" fmla="*/ 1073241 w 1304925"/>
                  <a:gd name="connsiteY10" fmla="*/ 245717 h 942975"/>
                  <a:gd name="connsiteX11" fmla="*/ 1062807 w 1304925"/>
                  <a:gd name="connsiteY11" fmla="*/ 268213 h 942975"/>
                  <a:gd name="connsiteX12" fmla="*/ 1046234 w 1304925"/>
                  <a:gd name="connsiteY12" fmla="*/ 292053 h 942975"/>
                  <a:gd name="connsiteX13" fmla="*/ 1041896 w 1304925"/>
                  <a:gd name="connsiteY13" fmla="*/ 297280 h 942975"/>
                  <a:gd name="connsiteX14" fmla="*/ 1032199 w 1304925"/>
                  <a:gd name="connsiteY14" fmla="*/ 309016 h 942975"/>
                  <a:gd name="connsiteX15" fmla="*/ 1026971 w 1304925"/>
                  <a:gd name="connsiteY15" fmla="*/ 315003 h 942975"/>
                  <a:gd name="connsiteX16" fmla="*/ 1015691 w 1304925"/>
                  <a:gd name="connsiteY16" fmla="*/ 331273 h 942975"/>
                  <a:gd name="connsiteX17" fmla="*/ 1012112 w 1304925"/>
                  <a:gd name="connsiteY17" fmla="*/ 336826 h 942975"/>
                  <a:gd name="connsiteX18" fmla="*/ 992480 w 1304925"/>
                  <a:gd name="connsiteY18" fmla="*/ 368736 h 942975"/>
                  <a:gd name="connsiteX19" fmla="*/ 990094 w 1304925"/>
                  <a:gd name="connsiteY19" fmla="*/ 371838 h 942975"/>
                  <a:gd name="connsiteX20" fmla="*/ 986515 w 1304925"/>
                  <a:gd name="connsiteY20" fmla="*/ 375178 h 942975"/>
                  <a:gd name="connsiteX21" fmla="*/ 983196 w 1304925"/>
                  <a:gd name="connsiteY21" fmla="*/ 377478 h 942975"/>
                  <a:gd name="connsiteX22" fmla="*/ 978163 w 1304925"/>
                  <a:gd name="connsiteY22" fmla="*/ 380102 h 942975"/>
                  <a:gd name="connsiteX23" fmla="*/ 971829 w 1304925"/>
                  <a:gd name="connsiteY23" fmla="*/ 382618 h 942975"/>
                  <a:gd name="connsiteX24" fmla="*/ 969552 w 1304925"/>
                  <a:gd name="connsiteY24" fmla="*/ 384116 h 942975"/>
                  <a:gd name="connsiteX25" fmla="*/ 968141 w 1304925"/>
                  <a:gd name="connsiteY25" fmla="*/ 385590 h 942975"/>
                  <a:gd name="connsiteX26" fmla="*/ 967230 w 1304925"/>
                  <a:gd name="connsiteY26" fmla="*/ 387044 h 942975"/>
                  <a:gd name="connsiteX27" fmla="*/ 966796 w 1304925"/>
                  <a:gd name="connsiteY27" fmla="*/ 388237 h 942975"/>
                  <a:gd name="connsiteX28" fmla="*/ 966687 w 1304925"/>
                  <a:gd name="connsiteY28" fmla="*/ 389755 h 942975"/>
                  <a:gd name="connsiteX29" fmla="*/ 967057 w 1304925"/>
                  <a:gd name="connsiteY29" fmla="*/ 391426 h 942975"/>
                  <a:gd name="connsiteX30" fmla="*/ 967968 w 1304925"/>
                  <a:gd name="connsiteY30" fmla="*/ 393053 h 942975"/>
                  <a:gd name="connsiteX31" fmla="*/ 972805 w 1304925"/>
                  <a:gd name="connsiteY31" fmla="*/ 398411 h 942975"/>
                  <a:gd name="connsiteX32" fmla="*/ 973196 w 1304925"/>
                  <a:gd name="connsiteY32" fmla="*/ 399669 h 942975"/>
                  <a:gd name="connsiteX33" fmla="*/ 972957 w 1304925"/>
                  <a:gd name="connsiteY33" fmla="*/ 401036 h 942975"/>
                  <a:gd name="connsiteX34" fmla="*/ 936188 w 1304925"/>
                  <a:gd name="connsiteY34" fmla="*/ 459887 h 942975"/>
                  <a:gd name="connsiteX35" fmla="*/ 934757 w 1304925"/>
                  <a:gd name="connsiteY35" fmla="*/ 462208 h 942975"/>
                  <a:gd name="connsiteX36" fmla="*/ 938943 w 1304925"/>
                  <a:gd name="connsiteY36" fmla="*/ 463249 h 942975"/>
                  <a:gd name="connsiteX37" fmla="*/ 934778 w 1304925"/>
                  <a:gd name="connsiteY37" fmla="*/ 469931 h 942975"/>
                  <a:gd name="connsiteX38" fmla="*/ 934280 w 1304925"/>
                  <a:gd name="connsiteY38" fmla="*/ 469823 h 942975"/>
                  <a:gd name="connsiteX39" fmla="*/ 930613 w 1304925"/>
                  <a:gd name="connsiteY39" fmla="*/ 475506 h 942975"/>
                  <a:gd name="connsiteX40" fmla="*/ 932869 w 1304925"/>
                  <a:gd name="connsiteY40" fmla="*/ 476048 h 942975"/>
                  <a:gd name="connsiteX41" fmla="*/ 902044 w 1304925"/>
                  <a:gd name="connsiteY41" fmla="*/ 525355 h 942975"/>
                  <a:gd name="connsiteX42" fmla="*/ 889094 w 1304925"/>
                  <a:gd name="connsiteY42" fmla="*/ 545962 h 942975"/>
                  <a:gd name="connsiteX43" fmla="*/ 886751 w 1304925"/>
                  <a:gd name="connsiteY43" fmla="*/ 550778 h 942975"/>
                  <a:gd name="connsiteX44" fmla="*/ 886014 w 1304925"/>
                  <a:gd name="connsiteY44" fmla="*/ 553663 h 942975"/>
                  <a:gd name="connsiteX45" fmla="*/ 879267 w 1304925"/>
                  <a:gd name="connsiteY45" fmla="*/ 552926 h 942975"/>
                  <a:gd name="connsiteX46" fmla="*/ 878660 w 1304925"/>
                  <a:gd name="connsiteY46" fmla="*/ 555985 h 942975"/>
                  <a:gd name="connsiteX47" fmla="*/ 878183 w 1304925"/>
                  <a:gd name="connsiteY47" fmla="*/ 558870 h 942975"/>
                  <a:gd name="connsiteX48" fmla="*/ 877793 w 1304925"/>
                  <a:gd name="connsiteY48" fmla="*/ 563946 h 942975"/>
                  <a:gd name="connsiteX49" fmla="*/ 878053 w 1304925"/>
                  <a:gd name="connsiteY49" fmla="*/ 570453 h 942975"/>
                  <a:gd name="connsiteX50" fmla="*/ 877511 w 1304925"/>
                  <a:gd name="connsiteY50" fmla="*/ 572645 h 942975"/>
                  <a:gd name="connsiteX51" fmla="*/ 876448 w 1304925"/>
                  <a:gd name="connsiteY51" fmla="*/ 575074 h 942975"/>
                  <a:gd name="connsiteX52" fmla="*/ 873909 w 1304925"/>
                  <a:gd name="connsiteY52" fmla="*/ 578567 h 942975"/>
                  <a:gd name="connsiteX53" fmla="*/ 872629 w 1304925"/>
                  <a:gd name="connsiteY53" fmla="*/ 579912 h 942975"/>
                  <a:gd name="connsiteX54" fmla="*/ 871175 w 1304925"/>
                  <a:gd name="connsiteY54" fmla="*/ 580996 h 942975"/>
                  <a:gd name="connsiteX55" fmla="*/ 863822 w 1304925"/>
                  <a:gd name="connsiteY55" fmla="*/ 585269 h 942975"/>
                  <a:gd name="connsiteX56" fmla="*/ 862781 w 1304925"/>
                  <a:gd name="connsiteY56" fmla="*/ 586072 h 942975"/>
                  <a:gd name="connsiteX57" fmla="*/ 860482 w 1304925"/>
                  <a:gd name="connsiteY57" fmla="*/ 588133 h 942975"/>
                  <a:gd name="connsiteX58" fmla="*/ 857879 w 1304925"/>
                  <a:gd name="connsiteY58" fmla="*/ 591279 h 942975"/>
                  <a:gd name="connsiteX59" fmla="*/ 856295 w 1304925"/>
                  <a:gd name="connsiteY59" fmla="*/ 594011 h 942975"/>
                  <a:gd name="connsiteX60" fmla="*/ 855362 w 1304925"/>
                  <a:gd name="connsiteY60" fmla="*/ 596679 h 942975"/>
                  <a:gd name="connsiteX61" fmla="*/ 855622 w 1304925"/>
                  <a:gd name="connsiteY61" fmla="*/ 599739 h 942975"/>
                  <a:gd name="connsiteX62" fmla="*/ 856751 w 1304925"/>
                  <a:gd name="connsiteY62" fmla="*/ 603448 h 942975"/>
                  <a:gd name="connsiteX63" fmla="*/ 868486 w 1304925"/>
                  <a:gd name="connsiteY63" fmla="*/ 629609 h 942975"/>
                  <a:gd name="connsiteX64" fmla="*/ 882130 w 1304925"/>
                  <a:gd name="connsiteY64" fmla="*/ 652234 h 942975"/>
                  <a:gd name="connsiteX65" fmla="*/ 884994 w 1304925"/>
                  <a:gd name="connsiteY65" fmla="*/ 656095 h 942975"/>
                  <a:gd name="connsiteX66" fmla="*/ 889029 w 1304925"/>
                  <a:gd name="connsiteY66" fmla="*/ 660607 h 942975"/>
                  <a:gd name="connsiteX67" fmla="*/ 895754 w 1304925"/>
                  <a:gd name="connsiteY67" fmla="*/ 666833 h 942975"/>
                  <a:gd name="connsiteX68" fmla="*/ 903542 w 1304925"/>
                  <a:gd name="connsiteY68" fmla="*/ 672755 h 942975"/>
                  <a:gd name="connsiteX69" fmla="*/ 904430 w 1304925"/>
                  <a:gd name="connsiteY69" fmla="*/ 673666 h 942975"/>
                  <a:gd name="connsiteX70" fmla="*/ 906729 w 1304925"/>
                  <a:gd name="connsiteY70" fmla="*/ 676899 h 942975"/>
                  <a:gd name="connsiteX71" fmla="*/ 912175 w 1304925"/>
                  <a:gd name="connsiteY71" fmla="*/ 684491 h 942975"/>
                  <a:gd name="connsiteX72" fmla="*/ 915211 w 1304925"/>
                  <a:gd name="connsiteY72" fmla="*/ 690022 h 942975"/>
                  <a:gd name="connsiteX73" fmla="*/ 916643 w 1304925"/>
                  <a:gd name="connsiteY73" fmla="*/ 694252 h 942975"/>
                  <a:gd name="connsiteX74" fmla="*/ 917837 w 1304925"/>
                  <a:gd name="connsiteY74" fmla="*/ 702973 h 942975"/>
                  <a:gd name="connsiteX75" fmla="*/ 918769 w 1304925"/>
                  <a:gd name="connsiteY75" fmla="*/ 706595 h 942975"/>
                  <a:gd name="connsiteX76" fmla="*/ 920245 w 1304925"/>
                  <a:gd name="connsiteY76" fmla="*/ 710500 h 942975"/>
                  <a:gd name="connsiteX77" fmla="*/ 922131 w 1304925"/>
                  <a:gd name="connsiteY77" fmla="*/ 714448 h 942975"/>
                  <a:gd name="connsiteX78" fmla="*/ 925125 w 1304925"/>
                  <a:gd name="connsiteY78" fmla="*/ 717203 h 942975"/>
                  <a:gd name="connsiteX79" fmla="*/ 930179 w 1304925"/>
                  <a:gd name="connsiteY79" fmla="*/ 721064 h 942975"/>
                  <a:gd name="connsiteX80" fmla="*/ 935559 w 1304925"/>
                  <a:gd name="connsiteY80" fmla="*/ 724470 h 942975"/>
                  <a:gd name="connsiteX81" fmla="*/ 941199 w 1304925"/>
                  <a:gd name="connsiteY81" fmla="*/ 727442 h 942975"/>
                  <a:gd name="connsiteX82" fmla="*/ 944171 w 1304925"/>
                  <a:gd name="connsiteY82" fmla="*/ 729438 h 942975"/>
                  <a:gd name="connsiteX83" fmla="*/ 947794 w 1304925"/>
                  <a:gd name="connsiteY83" fmla="*/ 732344 h 942975"/>
                  <a:gd name="connsiteX84" fmla="*/ 951395 w 1304925"/>
                  <a:gd name="connsiteY84" fmla="*/ 735967 h 942975"/>
                  <a:gd name="connsiteX85" fmla="*/ 955799 w 1304925"/>
                  <a:gd name="connsiteY85" fmla="*/ 741997 h 942975"/>
                  <a:gd name="connsiteX86" fmla="*/ 957816 w 1304925"/>
                  <a:gd name="connsiteY86" fmla="*/ 745924 h 942975"/>
                  <a:gd name="connsiteX87" fmla="*/ 959009 w 1304925"/>
                  <a:gd name="connsiteY87" fmla="*/ 750132 h 942975"/>
                  <a:gd name="connsiteX88" fmla="*/ 959312 w 1304925"/>
                  <a:gd name="connsiteY88" fmla="*/ 753148 h 942975"/>
                  <a:gd name="connsiteX89" fmla="*/ 959161 w 1304925"/>
                  <a:gd name="connsiteY89" fmla="*/ 754514 h 942975"/>
                  <a:gd name="connsiteX90" fmla="*/ 959009 w 1304925"/>
                  <a:gd name="connsiteY90" fmla="*/ 758332 h 942975"/>
                  <a:gd name="connsiteX91" fmla="*/ 959270 w 1304925"/>
                  <a:gd name="connsiteY91" fmla="*/ 760870 h 942975"/>
                  <a:gd name="connsiteX92" fmla="*/ 959811 w 1304925"/>
                  <a:gd name="connsiteY92" fmla="*/ 763408 h 942975"/>
                  <a:gd name="connsiteX93" fmla="*/ 961156 w 1304925"/>
                  <a:gd name="connsiteY93" fmla="*/ 767118 h 942975"/>
                  <a:gd name="connsiteX94" fmla="*/ 962067 w 1304925"/>
                  <a:gd name="connsiteY94" fmla="*/ 768961 h 942975"/>
                  <a:gd name="connsiteX95" fmla="*/ 963391 w 1304925"/>
                  <a:gd name="connsiteY95" fmla="*/ 770696 h 942975"/>
                  <a:gd name="connsiteX96" fmla="*/ 965040 w 1304925"/>
                  <a:gd name="connsiteY96" fmla="*/ 772216 h 942975"/>
                  <a:gd name="connsiteX97" fmla="*/ 966948 w 1304925"/>
                  <a:gd name="connsiteY97" fmla="*/ 773495 h 942975"/>
                  <a:gd name="connsiteX98" fmla="*/ 970679 w 1304925"/>
                  <a:gd name="connsiteY98" fmla="*/ 775187 h 942975"/>
                  <a:gd name="connsiteX99" fmla="*/ 980636 w 1304925"/>
                  <a:gd name="connsiteY99" fmla="*/ 778029 h 942975"/>
                  <a:gd name="connsiteX100" fmla="*/ 987751 w 1304925"/>
                  <a:gd name="connsiteY100" fmla="*/ 780870 h 942975"/>
                  <a:gd name="connsiteX101" fmla="*/ 991331 w 1304925"/>
                  <a:gd name="connsiteY101" fmla="*/ 782671 h 942975"/>
                  <a:gd name="connsiteX102" fmla="*/ 994433 w 1304925"/>
                  <a:gd name="connsiteY102" fmla="*/ 784493 h 942975"/>
                  <a:gd name="connsiteX103" fmla="*/ 1000290 w 1304925"/>
                  <a:gd name="connsiteY103" fmla="*/ 788419 h 942975"/>
                  <a:gd name="connsiteX104" fmla="*/ 1002784 w 1304925"/>
                  <a:gd name="connsiteY104" fmla="*/ 790415 h 942975"/>
                  <a:gd name="connsiteX105" fmla="*/ 1006624 w 1304925"/>
                  <a:gd name="connsiteY105" fmla="*/ 793495 h 942975"/>
                  <a:gd name="connsiteX106" fmla="*/ 1007838 w 1304925"/>
                  <a:gd name="connsiteY106" fmla="*/ 795557 h 942975"/>
                  <a:gd name="connsiteX107" fmla="*/ 1008857 w 1304925"/>
                  <a:gd name="connsiteY107" fmla="*/ 797595 h 942975"/>
                  <a:gd name="connsiteX108" fmla="*/ 1010182 w 1304925"/>
                  <a:gd name="connsiteY108" fmla="*/ 801370 h 942975"/>
                  <a:gd name="connsiteX109" fmla="*/ 1011136 w 1304925"/>
                  <a:gd name="connsiteY109" fmla="*/ 806923 h 942975"/>
                  <a:gd name="connsiteX110" fmla="*/ 1013175 w 1304925"/>
                  <a:gd name="connsiteY110" fmla="*/ 810958 h 942975"/>
                  <a:gd name="connsiteX111" fmla="*/ 1014954 w 1304925"/>
                  <a:gd name="connsiteY111" fmla="*/ 812910 h 942975"/>
                  <a:gd name="connsiteX112" fmla="*/ 1016884 w 1304925"/>
                  <a:gd name="connsiteY112" fmla="*/ 814429 h 942975"/>
                  <a:gd name="connsiteX113" fmla="*/ 1021461 w 1304925"/>
                  <a:gd name="connsiteY113" fmla="*/ 816728 h 942975"/>
                  <a:gd name="connsiteX114" fmla="*/ 989053 w 1304925"/>
                  <a:gd name="connsiteY114" fmla="*/ 825947 h 942975"/>
                  <a:gd name="connsiteX115" fmla="*/ 945299 w 1304925"/>
                  <a:gd name="connsiteY115" fmla="*/ 837618 h 942975"/>
                  <a:gd name="connsiteX116" fmla="*/ 920744 w 1304925"/>
                  <a:gd name="connsiteY116" fmla="*/ 844408 h 942975"/>
                  <a:gd name="connsiteX117" fmla="*/ 919311 w 1304925"/>
                  <a:gd name="connsiteY117" fmla="*/ 842434 h 942975"/>
                  <a:gd name="connsiteX118" fmla="*/ 918682 w 1304925"/>
                  <a:gd name="connsiteY118" fmla="*/ 842607 h 942975"/>
                  <a:gd name="connsiteX119" fmla="*/ 915169 w 1304925"/>
                  <a:gd name="connsiteY119" fmla="*/ 837574 h 942975"/>
                  <a:gd name="connsiteX120" fmla="*/ 905428 w 1304925"/>
                  <a:gd name="connsiteY120" fmla="*/ 840330 h 942975"/>
                  <a:gd name="connsiteX121" fmla="*/ 908487 w 1304925"/>
                  <a:gd name="connsiteY121" fmla="*/ 844711 h 942975"/>
                  <a:gd name="connsiteX122" fmla="*/ 909073 w 1304925"/>
                  <a:gd name="connsiteY122" fmla="*/ 844560 h 942975"/>
                  <a:gd name="connsiteX123" fmla="*/ 910200 w 1304925"/>
                  <a:gd name="connsiteY123" fmla="*/ 844863 h 942975"/>
                  <a:gd name="connsiteX124" fmla="*/ 910548 w 1304925"/>
                  <a:gd name="connsiteY124" fmla="*/ 845384 h 942975"/>
                  <a:gd name="connsiteX125" fmla="*/ 911350 w 1304925"/>
                  <a:gd name="connsiteY125" fmla="*/ 845340 h 942975"/>
                  <a:gd name="connsiteX126" fmla="*/ 911676 w 1304925"/>
                  <a:gd name="connsiteY126" fmla="*/ 845839 h 942975"/>
                  <a:gd name="connsiteX127" fmla="*/ 909441 w 1304925"/>
                  <a:gd name="connsiteY127" fmla="*/ 846403 h 942975"/>
                  <a:gd name="connsiteX128" fmla="*/ 909876 w 1304925"/>
                  <a:gd name="connsiteY128" fmla="*/ 847011 h 942975"/>
                  <a:gd name="connsiteX129" fmla="*/ 902956 w 1304925"/>
                  <a:gd name="connsiteY129" fmla="*/ 848746 h 942975"/>
                  <a:gd name="connsiteX130" fmla="*/ 902760 w 1304925"/>
                  <a:gd name="connsiteY130" fmla="*/ 848052 h 942975"/>
                  <a:gd name="connsiteX131" fmla="*/ 902088 w 1304925"/>
                  <a:gd name="connsiteY131" fmla="*/ 847748 h 942975"/>
                  <a:gd name="connsiteX132" fmla="*/ 901263 w 1304925"/>
                  <a:gd name="connsiteY132" fmla="*/ 846577 h 942975"/>
                  <a:gd name="connsiteX133" fmla="*/ 901480 w 1304925"/>
                  <a:gd name="connsiteY133" fmla="*/ 846208 h 942975"/>
                  <a:gd name="connsiteX134" fmla="*/ 899962 w 1304925"/>
                  <a:gd name="connsiteY134" fmla="*/ 843995 h 942975"/>
                  <a:gd name="connsiteX135" fmla="*/ 894821 w 1304925"/>
                  <a:gd name="connsiteY135" fmla="*/ 845340 h 942975"/>
                  <a:gd name="connsiteX136" fmla="*/ 893215 w 1304925"/>
                  <a:gd name="connsiteY136" fmla="*/ 843844 h 942975"/>
                  <a:gd name="connsiteX137" fmla="*/ 886360 w 1304925"/>
                  <a:gd name="connsiteY137" fmla="*/ 845796 h 942975"/>
                  <a:gd name="connsiteX138" fmla="*/ 885428 w 1304925"/>
                  <a:gd name="connsiteY138" fmla="*/ 844647 h 942975"/>
                  <a:gd name="connsiteX139" fmla="*/ 880569 w 1304925"/>
                  <a:gd name="connsiteY139" fmla="*/ 843584 h 942975"/>
                  <a:gd name="connsiteX140" fmla="*/ 879050 w 1304925"/>
                  <a:gd name="connsiteY140" fmla="*/ 845058 h 942975"/>
                  <a:gd name="connsiteX141" fmla="*/ 877705 w 1304925"/>
                  <a:gd name="connsiteY141" fmla="*/ 846012 h 942975"/>
                  <a:gd name="connsiteX142" fmla="*/ 875514 w 1304925"/>
                  <a:gd name="connsiteY142" fmla="*/ 846707 h 942975"/>
                  <a:gd name="connsiteX143" fmla="*/ 873887 w 1304925"/>
                  <a:gd name="connsiteY143" fmla="*/ 846685 h 942975"/>
                  <a:gd name="connsiteX144" fmla="*/ 872824 w 1304925"/>
                  <a:gd name="connsiteY144" fmla="*/ 846533 h 942975"/>
                  <a:gd name="connsiteX145" fmla="*/ 868161 w 1304925"/>
                  <a:gd name="connsiteY145" fmla="*/ 844321 h 942975"/>
                  <a:gd name="connsiteX146" fmla="*/ 858963 w 1304925"/>
                  <a:gd name="connsiteY146" fmla="*/ 841588 h 942975"/>
                  <a:gd name="connsiteX147" fmla="*/ 854386 w 1304925"/>
                  <a:gd name="connsiteY147" fmla="*/ 841218 h 942975"/>
                  <a:gd name="connsiteX148" fmla="*/ 851305 w 1304925"/>
                  <a:gd name="connsiteY148" fmla="*/ 841132 h 942975"/>
                  <a:gd name="connsiteX149" fmla="*/ 849266 w 1304925"/>
                  <a:gd name="connsiteY149" fmla="*/ 840416 h 942975"/>
                  <a:gd name="connsiteX150" fmla="*/ 847466 w 1304925"/>
                  <a:gd name="connsiteY150" fmla="*/ 840048 h 942975"/>
                  <a:gd name="connsiteX151" fmla="*/ 846230 w 1304925"/>
                  <a:gd name="connsiteY151" fmla="*/ 839245 h 942975"/>
                  <a:gd name="connsiteX152" fmla="*/ 844451 w 1304925"/>
                  <a:gd name="connsiteY152" fmla="*/ 839700 h 942975"/>
                  <a:gd name="connsiteX153" fmla="*/ 842737 w 1304925"/>
                  <a:gd name="connsiteY153" fmla="*/ 840155 h 942975"/>
                  <a:gd name="connsiteX154" fmla="*/ 842086 w 1304925"/>
                  <a:gd name="connsiteY154" fmla="*/ 842781 h 942975"/>
                  <a:gd name="connsiteX155" fmla="*/ 841240 w 1304925"/>
                  <a:gd name="connsiteY155" fmla="*/ 843822 h 942975"/>
                  <a:gd name="connsiteX156" fmla="*/ 839918 w 1304925"/>
                  <a:gd name="connsiteY156" fmla="*/ 844321 h 942975"/>
                  <a:gd name="connsiteX157" fmla="*/ 837314 w 1304925"/>
                  <a:gd name="connsiteY157" fmla="*/ 845037 h 942975"/>
                  <a:gd name="connsiteX158" fmla="*/ 834949 w 1304925"/>
                  <a:gd name="connsiteY158" fmla="*/ 845362 h 942975"/>
                  <a:gd name="connsiteX159" fmla="*/ 830437 w 1304925"/>
                  <a:gd name="connsiteY159" fmla="*/ 845037 h 942975"/>
                  <a:gd name="connsiteX160" fmla="*/ 824493 w 1304925"/>
                  <a:gd name="connsiteY160" fmla="*/ 847336 h 942975"/>
                  <a:gd name="connsiteX161" fmla="*/ 812303 w 1304925"/>
                  <a:gd name="connsiteY161" fmla="*/ 851003 h 942975"/>
                  <a:gd name="connsiteX162" fmla="*/ 806337 w 1304925"/>
                  <a:gd name="connsiteY162" fmla="*/ 852477 h 942975"/>
                  <a:gd name="connsiteX163" fmla="*/ 800632 w 1304925"/>
                  <a:gd name="connsiteY163" fmla="*/ 853518 h 942975"/>
                  <a:gd name="connsiteX164" fmla="*/ 799092 w 1304925"/>
                  <a:gd name="connsiteY164" fmla="*/ 853713 h 942975"/>
                  <a:gd name="connsiteX165" fmla="*/ 792476 w 1304925"/>
                  <a:gd name="connsiteY165" fmla="*/ 853605 h 942975"/>
                  <a:gd name="connsiteX166" fmla="*/ 789201 w 1304925"/>
                  <a:gd name="connsiteY166" fmla="*/ 848985 h 942975"/>
                  <a:gd name="connsiteX167" fmla="*/ 786727 w 1304925"/>
                  <a:gd name="connsiteY167" fmla="*/ 849592 h 942975"/>
                  <a:gd name="connsiteX168" fmla="*/ 791066 w 1304925"/>
                  <a:gd name="connsiteY168" fmla="*/ 855970 h 942975"/>
                  <a:gd name="connsiteX169" fmla="*/ 787313 w 1304925"/>
                  <a:gd name="connsiteY169" fmla="*/ 856946 h 942975"/>
                  <a:gd name="connsiteX170" fmla="*/ 786098 w 1304925"/>
                  <a:gd name="connsiteY170" fmla="*/ 855189 h 942975"/>
                  <a:gd name="connsiteX171" fmla="*/ 760371 w 1304925"/>
                  <a:gd name="connsiteY171" fmla="*/ 861696 h 942975"/>
                  <a:gd name="connsiteX172" fmla="*/ 758137 w 1304925"/>
                  <a:gd name="connsiteY172" fmla="*/ 858660 h 942975"/>
                  <a:gd name="connsiteX173" fmla="*/ 729654 w 1304925"/>
                  <a:gd name="connsiteY173" fmla="*/ 866339 h 942975"/>
                  <a:gd name="connsiteX174" fmla="*/ 718960 w 1304925"/>
                  <a:gd name="connsiteY174" fmla="*/ 869072 h 942975"/>
                  <a:gd name="connsiteX175" fmla="*/ 691389 w 1304925"/>
                  <a:gd name="connsiteY175" fmla="*/ 875407 h 942975"/>
                  <a:gd name="connsiteX176" fmla="*/ 670304 w 1304925"/>
                  <a:gd name="connsiteY176" fmla="*/ 880439 h 942975"/>
                  <a:gd name="connsiteX177" fmla="*/ 670304 w 1304925"/>
                  <a:gd name="connsiteY177" fmla="*/ 884451 h 942975"/>
                  <a:gd name="connsiteX178" fmla="*/ 667940 w 1304925"/>
                  <a:gd name="connsiteY178" fmla="*/ 886881 h 942975"/>
                  <a:gd name="connsiteX179" fmla="*/ 662299 w 1304925"/>
                  <a:gd name="connsiteY179" fmla="*/ 886209 h 942975"/>
                  <a:gd name="connsiteX180" fmla="*/ 661908 w 1304925"/>
                  <a:gd name="connsiteY180" fmla="*/ 885949 h 942975"/>
                  <a:gd name="connsiteX181" fmla="*/ 661106 w 1304925"/>
                  <a:gd name="connsiteY181" fmla="*/ 882738 h 942975"/>
                  <a:gd name="connsiteX182" fmla="*/ 660368 w 1304925"/>
                  <a:gd name="connsiteY182" fmla="*/ 882847 h 942975"/>
                  <a:gd name="connsiteX183" fmla="*/ 621951 w 1304925"/>
                  <a:gd name="connsiteY183" fmla="*/ 892088 h 942975"/>
                  <a:gd name="connsiteX184" fmla="*/ 611213 w 1304925"/>
                  <a:gd name="connsiteY184" fmla="*/ 894496 h 942975"/>
                  <a:gd name="connsiteX185" fmla="*/ 611083 w 1304925"/>
                  <a:gd name="connsiteY185" fmla="*/ 894300 h 942975"/>
                  <a:gd name="connsiteX186" fmla="*/ 591083 w 1304925"/>
                  <a:gd name="connsiteY186" fmla="*/ 899289 h 942975"/>
                  <a:gd name="connsiteX187" fmla="*/ 590888 w 1304925"/>
                  <a:gd name="connsiteY187" fmla="*/ 899029 h 942975"/>
                  <a:gd name="connsiteX188" fmla="*/ 581430 w 1304925"/>
                  <a:gd name="connsiteY188" fmla="*/ 901394 h 942975"/>
                  <a:gd name="connsiteX189" fmla="*/ 581647 w 1304925"/>
                  <a:gd name="connsiteY189" fmla="*/ 901784 h 942975"/>
                  <a:gd name="connsiteX190" fmla="*/ 537438 w 1304925"/>
                  <a:gd name="connsiteY190" fmla="*/ 913172 h 942975"/>
                  <a:gd name="connsiteX191" fmla="*/ 519216 w 1304925"/>
                  <a:gd name="connsiteY191" fmla="*/ 917641 h 942975"/>
                  <a:gd name="connsiteX192" fmla="*/ 435505 w 1304925"/>
                  <a:gd name="connsiteY192" fmla="*/ 939225 h 942975"/>
                  <a:gd name="connsiteX193" fmla="*/ 414636 w 1304925"/>
                  <a:gd name="connsiteY193" fmla="*/ 936774 h 942975"/>
                  <a:gd name="connsiteX194" fmla="*/ 419127 w 1304925"/>
                  <a:gd name="connsiteY194" fmla="*/ 922457 h 942975"/>
                  <a:gd name="connsiteX195" fmla="*/ 428910 w 1304925"/>
                  <a:gd name="connsiteY195" fmla="*/ 910027 h 942975"/>
                  <a:gd name="connsiteX196" fmla="*/ 409734 w 1304925"/>
                  <a:gd name="connsiteY196" fmla="*/ 904192 h 942975"/>
                  <a:gd name="connsiteX197" fmla="*/ 403790 w 1304925"/>
                  <a:gd name="connsiteY197" fmla="*/ 902717 h 942975"/>
                  <a:gd name="connsiteX198" fmla="*/ 402228 w 1304925"/>
                  <a:gd name="connsiteY198" fmla="*/ 902608 h 942975"/>
                  <a:gd name="connsiteX199" fmla="*/ 399061 w 1304925"/>
                  <a:gd name="connsiteY199" fmla="*/ 903129 h 942975"/>
                  <a:gd name="connsiteX200" fmla="*/ 390450 w 1304925"/>
                  <a:gd name="connsiteY200" fmla="*/ 904973 h 942975"/>
                  <a:gd name="connsiteX201" fmla="*/ 386892 w 1304925"/>
                  <a:gd name="connsiteY201" fmla="*/ 906036 h 942975"/>
                  <a:gd name="connsiteX202" fmla="*/ 384158 w 1304925"/>
                  <a:gd name="connsiteY202" fmla="*/ 906448 h 942975"/>
                  <a:gd name="connsiteX203" fmla="*/ 381165 w 1304925"/>
                  <a:gd name="connsiteY203" fmla="*/ 906643 h 942975"/>
                  <a:gd name="connsiteX204" fmla="*/ 377824 w 1304925"/>
                  <a:gd name="connsiteY204" fmla="*/ 906730 h 942975"/>
                  <a:gd name="connsiteX205" fmla="*/ 372401 w 1304925"/>
                  <a:gd name="connsiteY205" fmla="*/ 906383 h 942975"/>
                  <a:gd name="connsiteX206" fmla="*/ 337672 w 1304925"/>
                  <a:gd name="connsiteY206" fmla="*/ 906643 h 942975"/>
                  <a:gd name="connsiteX207" fmla="*/ 331424 w 1304925"/>
                  <a:gd name="connsiteY207" fmla="*/ 906535 h 942975"/>
                  <a:gd name="connsiteX208" fmla="*/ 326109 w 1304925"/>
                  <a:gd name="connsiteY208" fmla="*/ 906405 h 942975"/>
                  <a:gd name="connsiteX209" fmla="*/ 301141 w 1304925"/>
                  <a:gd name="connsiteY209" fmla="*/ 906600 h 942975"/>
                  <a:gd name="connsiteX210" fmla="*/ 301011 w 1304925"/>
                  <a:gd name="connsiteY210" fmla="*/ 903758 h 942975"/>
                  <a:gd name="connsiteX211" fmla="*/ 301120 w 1304925"/>
                  <a:gd name="connsiteY211" fmla="*/ 844885 h 942975"/>
                  <a:gd name="connsiteX212" fmla="*/ 314677 w 1304925"/>
                  <a:gd name="connsiteY212" fmla="*/ 840741 h 942975"/>
                  <a:gd name="connsiteX213" fmla="*/ 313506 w 1304925"/>
                  <a:gd name="connsiteY213" fmla="*/ 788311 h 942975"/>
                  <a:gd name="connsiteX214" fmla="*/ 308192 w 1304925"/>
                  <a:gd name="connsiteY214" fmla="*/ 788311 h 942975"/>
                  <a:gd name="connsiteX215" fmla="*/ 307562 w 1304925"/>
                  <a:gd name="connsiteY215" fmla="*/ 769699 h 942975"/>
                  <a:gd name="connsiteX216" fmla="*/ 336001 w 1304925"/>
                  <a:gd name="connsiteY216" fmla="*/ 769373 h 942975"/>
                  <a:gd name="connsiteX217" fmla="*/ 335155 w 1304925"/>
                  <a:gd name="connsiteY217" fmla="*/ 748613 h 942975"/>
                  <a:gd name="connsiteX218" fmla="*/ 333572 w 1304925"/>
                  <a:gd name="connsiteY218" fmla="*/ 744731 h 942975"/>
                  <a:gd name="connsiteX219" fmla="*/ 332205 w 1304925"/>
                  <a:gd name="connsiteY219" fmla="*/ 744947 h 942975"/>
                  <a:gd name="connsiteX220" fmla="*/ 318799 w 1304925"/>
                  <a:gd name="connsiteY220" fmla="*/ 715880 h 942975"/>
                  <a:gd name="connsiteX221" fmla="*/ 296521 w 1304925"/>
                  <a:gd name="connsiteY221" fmla="*/ 667571 h 942975"/>
                  <a:gd name="connsiteX222" fmla="*/ 297150 w 1304925"/>
                  <a:gd name="connsiteY222" fmla="*/ 667006 h 942975"/>
                  <a:gd name="connsiteX223" fmla="*/ 289601 w 1304925"/>
                  <a:gd name="connsiteY223" fmla="*/ 650585 h 942975"/>
                  <a:gd name="connsiteX224" fmla="*/ 276282 w 1304925"/>
                  <a:gd name="connsiteY224" fmla="*/ 652864 h 942975"/>
                  <a:gd name="connsiteX225" fmla="*/ 273766 w 1304925"/>
                  <a:gd name="connsiteY225" fmla="*/ 647353 h 942975"/>
                  <a:gd name="connsiteX226" fmla="*/ 260186 w 1304925"/>
                  <a:gd name="connsiteY226" fmla="*/ 649435 h 942975"/>
                  <a:gd name="connsiteX227" fmla="*/ 251813 w 1304925"/>
                  <a:gd name="connsiteY227" fmla="*/ 650542 h 942975"/>
                  <a:gd name="connsiteX228" fmla="*/ 240402 w 1304925"/>
                  <a:gd name="connsiteY228" fmla="*/ 651692 h 942975"/>
                  <a:gd name="connsiteX229" fmla="*/ 230597 w 1304925"/>
                  <a:gd name="connsiteY229" fmla="*/ 652342 h 942975"/>
                  <a:gd name="connsiteX230" fmla="*/ 221551 w 1304925"/>
                  <a:gd name="connsiteY230" fmla="*/ 652646 h 942975"/>
                  <a:gd name="connsiteX231" fmla="*/ 164001 w 1304925"/>
                  <a:gd name="connsiteY231" fmla="*/ 653362 h 942975"/>
                  <a:gd name="connsiteX232" fmla="*/ 163850 w 1304925"/>
                  <a:gd name="connsiteY232" fmla="*/ 648134 h 942975"/>
                  <a:gd name="connsiteX233" fmla="*/ 164067 w 1304925"/>
                  <a:gd name="connsiteY233" fmla="*/ 644273 h 942975"/>
                  <a:gd name="connsiteX234" fmla="*/ 167277 w 1304925"/>
                  <a:gd name="connsiteY234" fmla="*/ 624272 h 942975"/>
                  <a:gd name="connsiteX235" fmla="*/ 168992 w 1304925"/>
                  <a:gd name="connsiteY235" fmla="*/ 604012 h 942975"/>
                  <a:gd name="connsiteX236" fmla="*/ 170184 w 1304925"/>
                  <a:gd name="connsiteY236" fmla="*/ 603665 h 942975"/>
                  <a:gd name="connsiteX237" fmla="*/ 170206 w 1304925"/>
                  <a:gd name="connsiteY237" fmla="*/ 602927 h 942975"/>
                  <a:gd name="connsiteX238" fmla="*/ 173959 w 1304925"/>
                  <a:gd name="connsiteY238" fmla="*/ 602971 h 942975"/>
                  <a:gd name="connsiteX239" fmla="*/ 174176 w 1304925"/>
                  <a:gd name="connsiteY239" fmla="*/ 596376 h 942975"/>
                  <a:gd name="connsiteX240" fmla="*/ 154631 w 1304925"/>
                  <a:gd name="connsiteY240" fmla="*/ 595812 h 942975"/>
                  <a:gd name="connsiteX241" fmla="*/ 134110 w 1304925"/>
                  <a:gd name="connsiteY241" fmla="*/ 595096 h 942975"/>
                  <a:gd name="connsiteX242" fmla="*/ 126973 w 1304925"/>
                  <a:gd name="connsiteY242" fmla="*/ 594532 h 942975"/>
                  <a:gd name="connsiteX243" fmla="*/ 121354 w 1304925"/>
                  <a:gd name="connsiteY243" fmla="*/ 593882 h 942975"/>
                  <a:gd name="connsiteX244" fmla="*/ 7144 w 1304925"/>
                  <a:gd name="connsiteY244" fmla="*/ 576028 h 942975"/>
                  <a:gd name="connsiteX245" fmla="*/ 9053 w 1304925"/>
                  <a:gd name="connsiteY245" fmla="*/ 571473 h 942975"/>
                  <a:gd name="connsiteX246" fmla="*/ 9378 w 1304925"/>
                  <a:gd name="connsiteY246" fmla="*/ 571516 h 942975"/>
                  <a:gd name="connsiteX247" fmla="*/ 10180 w 1304925"/>
                  <a:gd name="connsiteY247" fmla="*/ 569565 h 942975"/>
                  <a:gd name="connsiteX248" fmla="*/ 10506 w 1304925"/>
                  <a:gd name="connsiteY248" fmla="*/ 569565 h 942975"/>
                  <a:gd name="connsiteX249" fmla="*/ 36688 w 1304925"/>
                  <a:gd name="connsiteY249" fmla="*/ 506613 h 942975"/>
                  <a:gd name="connsiteX250" fmla="*/ 50246 w 1304925"/>
                  <a:gd name="connsiteY250" fmla="*/ 474486 h 942975"/>
                  <a:gd name="connsiteX251" fmla="*/ 53262 w 1304925"/>
                  <a:gd name="connsiteY251" fmla="*/ 467241 h 942975"/>
                  <a:gd name="connsiteX252" fmla="*/ 53240 w 1304925"/>
                  <a:gd name="connsiteY252" fmla="*/ 466720 h 942975"/>
                  <a:gd name="connsiteX253" fmla="*/ 56538 w 1304925"/>
                  <a:gd name="connsiteY253" fmla="*/ 459128 h 942975"/>
                  <a:gd name="connsiteX254" fmla="*/ 56884 w 1304925"/>
                  <a:gd name="connsiteY254" fmla="*/ 459193 h 942975"/>
                  <a:gd name="connsiteX255" fmla="*/ 57492 w 1304925"/>
                  <a:gd name="connsiteY255" fmla="*/ 457739 h 942975"/>
                  <a:gd name="connsiteX256" fmla="*/ 57341 w 1304925"/>
                  <a:gd name="connsiteY256" fmla="*/ 457718 h 942975"/>
                  <a:gd name="connsiteX257" fmla="*/ 57991 w 1304925"/>
                  <a:gd name="connsiteY257" fmla="*/ 456199 h 942975"/>
                  <a:gd name="connsiteX258" fmla="*/ 57188 w 1304925"/>
                  <a:gd name="connsiteY258" fmla="*/ 456307 h 942975"/>
                  <a:gd name="connsiteX259" fmla="*/ 58902 w 1304925"/>
                  <a:gd name="connsiteY259" fmla="*/ 452252 h 942975"/>
                  <a:gd name="connsiteX260" fmla="*/ 60789 w 1304925"/>
                  <a:gd name="connsiteY260" fmla="*/ 447718 h 942975"/>
                  <a:gd name="connsiteX261" fmla="*/ 61049 w 1304925"/>
                  <a:gd name="connsiteY261" fmla="*/ 447761 h 942975"/>
                  <a:gd name="connsiteX262" fmla="*/ 61722 w 1304925"/>
                  <a:gd name="connsiteY262" fmla="*/ 446156 h 942975"/>
                  <a:gd name="connsiteX263" fmla="*/ 62134 w 1304925"/>
                  <a:gd name="connsiteY263" fmla="*/ 446221 h 942975"/>
                  <a:gd name="connsiteX264" fmla="*/ 62221 w 1304925"/>
                  <a:gd name="connsiteY264" fmla="*/ 446069 h 942975"/>
                  <a:gd name="connsiteX265" fmla="*/ 67405 w 1304925"/>
                  <a:gd name="connsiteY265" fmla="*/ 433618 h 942975"/>
                  <a:gd name="connsiteX266" fmla="*/ 67210 w 1304925"/>
                  <a:gd name="connsiteY266" fmla="*/ 433574 h 942975"/>
                  <a:gd name="connsiteX267" fmla="*/ 69270 w 1304925"/>
                  <a:gd name="connsiteY267" fmla="*/ 428259 h 942975"/>
                  <a:gd name="connsiteX268" fmla="*/ 69401 w 1304925"/>
                  <a:gd name="connsiteY268" fmla="*/ 427977 h 942975"/>
                  <a:gd name="connsiteX269" fmla="*/ 69748 w 1304925"/>
                  <a:gd name="connsiteY269" fmla="*/ 428043 h 942975"/>
                  <a:gd name="connsiteX270" fmla="*/ 71678 w 1304925"/>
                  <a:gd name="connsiteY270" fmla="*/ 423531 h 942975"/>
                  <a:gd name="connsiteX271" fmla="*/ 71310 w 1304925"/>
                  <a:gd name="connsiteY271" fmla="*/ 423465 h 942975"/>
                  <a:gd name="connsiteX272" fmla="*/ 74477 w 1304925"/>
                  <a:gd name="connsiteY272" fmla="*/ 415917 h 942975"/>
                  <a:gd name="connsiteX273" fmla="*/ 74564 w 1304925"/>
                  <a:gd name="connsiteY273" fmla="*/ 415700 h 942975"/>
                  <a:gd name="connsiteX274" fmla="*/ 74889 w 1304925"/>
                  <a:gd name="connsiteY274" fmla="*/ 415743 h 942975"/>
                  <a:gd name="connsiteX275" fmla="*/ 76733 w 1304925"/>
                  <a:gd name="connsiteY275" fmla="*/ 411296 h 942975"/>
                  <a:gd name="connsiteX276" fmla="*/ 76365 w 1304925"/>
                  <a:gd name="connsiteY276" fmla="*/ 411231 h 942975"/>
                  <a:gd name="connsiteX277" fmla="*/ 79575 w 1304925"/>
                  <a:gd name="connsiteY277" fmla="*/ 403595 h 942975"/>
                  <a:gd name="connsiteX278" fmla="*/ 79922 w 1304925"/>
                  <a:gd name="connsiteY278" fmla="*/ 403660 h 942975"/>
                  <a:gd name="connsiteX279" fmla="*/ 81701 w 1304925"/>
                  <a:gd name="connsiteY279" fmla="*/ 399582 h 942975"/>
                  <a:gd name="connsiteX280" fmla="*/ 81852 w 1304925"/>
                  <a:gd name="connsiteY280" fmla="*/ 399170 h 942975"/>
                  <a:gd name="connsiteX281" fmla="*/ 81462 w 1304925"/>
                  <a:gd name="connsiteY281" fmla="*/ 399083 h 942975"/>
                  <a:gd name="connsiteX282" fmla="*/ 84347 w 1304925"/>
                  <a:gd name="connsiteY282" fmla="*/ 392272 h 942975"/>
                  <a:gd name="connsiteX283" fmla="*/ 84737 w 1304925"/>
                  <a:gd name="connsiteY283" fmla="*/ 392337 h 942975"/>
                  <a:gd name="connsiteX284" fmla="*/ 85389 w 1304925"/>
                  <a:gd name="connsiteY284" fmla="*/ 390818 h 942975"/>
                  <a:gd name="connsiteX285" fmla="*/ 84890 w 1304925"/>
                  <a:gd name="connsiteY285" fmla="*/ 390754 h 942975"/>
                  <a:gd name="connsiteX286" fmla="*/ 85887 w 1304925"/>
                  <a:gd name="connsiteY286" fmla="*/ 388562 h 942975"/>
                  <a:gd name="connsiteX287" fmla="*/ 85475 w 1304925"/>
                  <a:gd name="connsiteY287" fmla="*/ 388475 h 942975"/>
                  <a:gd name="connsiteX288" fmla="*/ 88447 w 1304925"/>
                  <a:gd name="connsiteY288" fmla="*/ 381447 h 942975"/>
                  <a:gd name="connsiteX289" fmla="*/ 88707 w 1304925"/>
                  <a:gd name="connsiteY289" fmla="*/ 381491 h 942975"/>
                  <a:gd name="connsiteX290" fmla="*/ 89424 w 1304925"/>
                  <a:gd name="connsiteY290" fmla="*/ 379777 h 942975"/>
                  <a:gd name="connsiteX291" fmla="*/ 89575 w 1304925"/>
                  <a:gd name="connsiteY291" fmla="*/ 379799 h 942975"/>
                  <a:gd name="connsiteX292" fmla="*/ 92330 w 1304925"/>
                  <a:gd name="connsiteY292" fmla="*/ 371208 h 942975"/>
                  <a:gd name="connsiteX293" fmla="*/ 92633 w 1304925"/>
                  <a:gd name="connsiteY293" fmla="*/ 371252 h 942975"/>
                  <a:gd name="connsiteX294" fmla="*/ 93197 w 1304925"/>
                  <a:gd name="connsiteY294" fmla="*/ 369018 h 942975"/>
                  <a:gd name="connsiteX295" fmla="*/ 93002 w 1304925"/>
                  <a:gd name="connsiteY295" fmla="*/ 368996 h 942975"/>
                  <a:gd name="connsiteX296" fmla="*/ 94695 w 1304925"/>
                  <a:gd name="connsiteY296" fmla="*/ 361099 h 942975"/>
                  <a:gd name="connsiteX297" fmla="*/ 94977 w 1304925"/>
                  <a:gd name="connsiteY297" fmla="*/ 361121 h 942975"/>
                  <a:gd name="connsiteX298" fmla="*/ 95367 w 1304925"/>
                  <a:gd name="connsiteY298" fmla="*/ 358822 h 942975"/>
                  <a:gd name="connsiteX299" fmla="*/ 95041 w 1304925"/>
                  <a:gd name="connsiteY299" fmla="*/ 358800 h 942975"/>
                  <a:gd name="connsiteX300" fmla="*/ 96126 w 1304925"/>
                  <a:gd name="connsiteY300" fmla="*/ 350275 h 942975"/>
                  <a:gd name="connsiteX301" fmla="*/ 96408 w 1304925"/>
                  <a:gd name="connsiteY301" fmla="*/ 350297 h 942975"/>
                  <a:gd name="connsiteX302" fmla="*/ 96582 w 1304925"/>
                  <a:gd name="connsiteY302" fmla="*/ 348757 h 942975"/>
                  <a:gd name="connsiteX303" fmla="*/ 96235 w 1304925"/>
                  <a:gd name="connsiteY303" fmla="*/ 348757 h 942975"/>
                  <a:gd name="connsiteX304" fmla="*/ 96473 w 1304925"/>
                  <a:gd name="connsiteY304" fmla="*/ 345091 h 942975"/>
                  <a:gd name="connsiteX305" fmla="*/ 96278 w 1304925"/>
                  <a:gd name="connsiteY305" fmla="*/ 339820 h 942975"/>
                  <a:gd name="connsiteX306" fmla="*/ 96560 w 1304925"/>
                  <a:gd name="connsiteY306" fmla="*/ 339798 h 942975"/>
                  <a:gd name="connsiteX307" fmla="*/ 95671 w 1304925"/>
                  <a:gd name="connsiteY307" fmla="*/ 331381 h 942975"/>
                  <a:gd name="connsiteX308" fmla="*/ 96235 w 1304925"/>
                  <a:gd name="connsiteY308" fmla="*/ 331360 h 942975"/>
                  <a:gd name="connsiteX309" fmla="*/ 95627 w 1304925"/>
                  <a:gd name="connsiteY309" fmla="*/ 327975 h 942975"/>
                  <a:gd name="connsiteX310" fmla="*/ 94413 w 1304925"/>
                  <a:gd name="connsiteY310" fmla="*/ 327975 h 942975"/>
                  <a:gd name="connsiteX311" fmla="*/ 92156 w 1304925"/>
                  <a:gd name="connsiteY311" fmla="*/ 318647 h 942975"/>
                  <a:gd name="connsiteX312" fmla="*/ 104716 w 1304925"/>
                  <a:gd name="connsiteY312" fmla="*/ 318257 h 942975"/>
                  <a:gd name="connsiteX313" fmla="*/ 179729 w 1304925"/>
                  <a:gd name="connsiteY313" fmla="*/ 316847 h 942975"/>
                  <a:gd name="connsiteX314" fmla="*/ 193590 w 1304925"/>
                  <a:gd name="connsiteY314" fmla="*/ 317107 h 942975"/>
                  <a:gd name="connsiteX315" fmla="*/ 207604 w 1304925"/>
                  <a:gd name="connsiteY315" fmla="*/ 316803 h 942975"/>
                  <a:gd name="connsiteX316" fmla="*/ 212680 w 1304925"/>
                  <a:gd name="connsiteY316" fmla="*/ 316695 h 942975"/>
                  <a:gd name="connsiteX317" fmla="*/ 212680 w 1304925"/>
                  <a:gd name="connsiteY317" fmla="*/ 315958 h 942975"/>
                  <a:gd name="connsiteX318" fmla="*/ 212354 w 1304925"/>
                  <a:gd name="connsiteY318" fmla="*/ 315871 h 942975"/>
                  <a:gd name="connsiteX319" fmla="*/ 210945 w 1304925"/>
                  <a:gd name="connsiteY319" fmla="*/ 289015 h 942975"/>
                  <a:gd name="connsiteX320" fmla="*/ 211552 w 1304925"/>
                  <a:gd name="connsiteY320" fmla="*/ 277345 h 942975"/>
                  <a:gd name="connsiteX321" fmla="*/ 209642 w 1304925"/>
                  <a:gd name="connsiteY321" fmla="*/ 243353 h 942975"/>
                  <a:gd name="connsiteX322" fmla="*/ 209447 w 1304925"/>
                  <a:gd name="connsiteY322" fmla="*/ 237539 h 942975"/>
                  <a:gd name="connsiteX323" fmla="*/ 209990 w 1304925"/>
                  <a:gd name="connsiteY323" fmla="*/ 237561 h 942975"/>
                  <a:gd name="connsiteX324" fmla="*/ 209946 w 1304925"/>
                  <a:gd name="connsiteY324" fmla="*/ 234004 h 942975"/>
                  <a:gd name="connsiteX325" fmla="*/ 209404 w 1304925"/>
                  <a:gd name="connsiteY325" fmla="*/ 234004 h 942975"/>
                  <a:gd name="connsiteX326" fmla="*/ 209447 w 1304925"/>
                  <a:gd name="connsiteY326" fmla="*/ 234459 h 942975"/>
                  <a:gd name="connsiteX327" fmla="*/ 203092 w 1304925"/>
                  <a:gd name="connsiteY327" fmla="*/ 234459 h 942975"/>
                  <a:gd name="connsiteX328" fmla="*/ 197582 w 1304925"/>
                  <a:gd name="connsiteY328" fmla="*/ 130227 h 942975"/>
                  <a:gd name="connsiteX329" fmla="*/ 197799 w 1304925"/>
                  <a:gd name="connsiteY329" fmla="*/ 120856 h 942975"/>
                  <a:gd name="connsiteX330" fmla="*/ 198818 w 1304925"/>
                  <a:gd name="connsiteY330" fmla="*/ 110639 h 942975"/>
                  <a:gd name="connsiteX331" fmla="*/ 200098 w 1304925"/>
                  <a:gd name="connsiteY331" fmla="*/ 103306 h 942975"/>
                  <a:gd name="connsiteX332" fmla="*/ 201942 w 1304925"/>
                  <a:gd name="connsiteY332" fmla="*/ 95519 h 942975"/>
                  <a:gd name="connsiteX333" fmla="*/ 213461 w 1304925"/>
                  <a:gd name="connsiteY333" fmla="*/ 93654 h 942975"/>
                  <a:gd name="connsiteX334" fmla="*/ 215326 w 1304925"/>
                  <a:gd name="connsiteY334" fmla="*/ 93090 h 942975"/>
                  <a:gd name="connsiteX335" fmla="*/ 226324 w 1304925"/>
                  <a:gd name="connsiteY335" fmla="*/ 92243 h 942975"/>
                  <a:gd name="connsiteX336" fmla="*/ 227583 w 1304925"/>
                  <a:gd name="connsiteY336" fmla="*/ 91592 h 942975"/>
                  <a:gd name="connsiteX337" fmla="*/ 228450 w 1304925"/>
                  <a:gd name="connsiteY337" fmla="*/ 91506 h 942975"/>
                  <a:gd name="connsiteX338" fmla="*/ 238516 w 1304925"/>
                  <a:gd name="connsiteY338" fmla="*/ 91093 h 942975"/>
                  <a:gd name="connsiteX339" fmla="*/ 254763 w 1304925"/>
                  <a:gd name="connsiteY339" fmla="*/ 90790 h 942975"/>
                  <a:gd name="connsiteX340" fmla="*/ 254785 w 1304925"/>
                  <a:gd name="connsiteY340" fmla="*/ 92156 h 942975"/>
                  <a:gd name="connsiteX341" fmla="*/ 262551 w 1304925"/>
                  <a:gd name="connsiteY341" fmla="*/ 92135 h 942975"/>
                  <a:gd name="connsiteX342" fmla="*/ 262507 w 1304925"/>
                  <a:gd name="connsiteY342" fmla="*/ 91918 h 942975"/>
                  <a:gd name="connsiteX343" fmla="*/ 304830 w 1304925"/>
                  <a:gd name="connsiteY343" fmla="*/ 91550 h 942975"/>
                  <a:gd name="connsiteX344" fmla="*/ 336349 w 1304925"/>
                  <a:gd name="connsiteY344" fmla="*/ 91354 h 942975"/>
                  <a:gd name="connsiteX345" fmla="*/ 336349 w 1304925"/>
                  <a:gd name="connsiteY345" fmla="*/ 91614 h 942975"/>
                  <a:gd name="connsiteX346" fmla="*/ 343247 w 1304925"/>
                  <a:gd name="connsiteY346" fmla="*/ 91570 h 942975"/>
                  <a:gd name="connsiteX347" fmla="*/ 343182 w 1304925"/>
                  <a:gd name="connsiteY347" fmla="*/ 91310 h 942975"/>
                  <a:gd name="connsiteX348" fmla="*/ 433010 w 1304925"/>
                  <a:gd name="connsiteY348" fmla="*/ 90747 h 942975"/>
                  <a:gd name="connsiteX349" fmla="*/ 432945 w 1304925"/>
                  <a:gd name="connsiteY349" fmla="*/ 91072 h 942975"/>
                  <a:gd name="connsiteX350" fmla="*/ 447132 w 1304925"/>
                  <a:gd name="connsiteY350" fmla="*/ 90986 h 942975"/>
                  <a:gd name="connsiteX351" fmla="*/ 447262 w 1304925"/>
                  <a:gd name="connsiteY351" fmla="*/ 93436 h 942975"/>
                  <a:gd name="connsiteX352" fmla="*/ 474985 w 1304925"/>
                  <a:gd name="connsiteY352" fmla="*/ 93393 h 942975"/>
                  <a:gd name="connsiteX353" fmla="*/ 484790 w 1304925"/>
                  <a:gd name="connsiteY353" fmla="*/ 93480 h 942975"/>
                  <a:gd name="connsiteX354" fmla="*/ 492707 w 1304925"/>
                  <a:gd name="connsiteY354" fmla="*/ 93849 h 942975"/>
                  <a:gd name="connsiteX355" fmla="*/ 501125 w 1304925"/>
                  <a:gd name="connsiteY355" fmla="*/ 94435 h 942975"/>
                  <a:gd name="connsiteX356" fmla="*/ 518869 w 1304925"/>
                  <a:gd name="connsiteY356" fmla="*/ 96560 h 942975"/>
                  <a:gd name="connsiteX357" fmla="*/ 527502 w 1304925"/>
                  <a:gd name="connsiteY357" fmla="*/ 98057 h 942975"/>
                  <a:gd name="connsiteX358" fmla="*/ 536635 w 1304925"/>
                  <a:gd name="connsiteY358" fmla="*/ 99857 h 942975"/>
                  <a:gd name="connsiteX359" fmla="*/ 545811 w 1304925"/>
                  <a:gd name="connsiteY359" fmla="*/ 102070 h 942975"/>
                  <a:gd name="connsiteX360" fmla="*/ 554878 w 1304925"/>
                  <a:gd name="connsiteY360" fmla="*/ 104478 h 942975"/>
                  <a:gd name="connsiteX361" fmla="*/ 562774 w 1304925"/>
                  <a:gd name="connsiteY361" fmla="*/ 106908 h 942975"/>
                  <a:gd name="connsiteX362" fmla="*/ 576679 w 1304925"/>
                  <a:gd name="connsiteY362" fmla="*/ 112157 h 942975"/>
                  <a:gd name="connsiteX363" fmla="*/ 582753 w 1304925"/>
                  <a:gd name="connsiteY363" fmla="*/ 114738 h 942975"/>
                  <a:gd name="connsiteX364" fmla="*/ 593686 w 1304925"/>
                  <a:gd name="connsiteY364" fmla="*/ 120226 h 942975"/>
                  <a:gd name="connsiteX365" fmla="*/ 599478 w 1304925"/>
                  <a:gd name="connsiteY365" fmla="*/ 123459 h 942975"/>
                  <a:gd name="connsiteX366" fmla="*/ 609912 w 1304925"/>
                  <a:gd name="connsiteY366" fmla="*/ 130118 h 942975"/>
                  <a:gd name="connsiteX367" fmla="*/ 616072 w 1304925"/>
                  <a:gd name="connsiteY367" fmla="*/ 134501 h 942975"/>
                  <a:gd name="connsiteX368" fmla="*/ 633773 w 1304925"/>
                  <a:gd name="connsiteY368" fmla="*/ 148253 h 942975"/>
                  <a:gd name="connsiteX369" fmla="*/ 633600 w 1304925"/>
                  <a:gd name="connsiteY369" fmla="*/ 148340 h 942975"/>
                  <a:gd name="connsiteX370" fmla="*/ 649024 w 1304925"/>
                  <a:gd name="connsiteY370" fmla="*/ 145108 h 942975"/>
                  <a:gd name="connsiteX371" fmla="*/ 662408 w 1304925"/>
                  <a:gd name="connsiteY371" fmla="*/ 142309 h 942975"/>
                  <a:gd name="connsiteX372" fmla="*/ 663839 w 1304925"/>
                  <a:gd name="connsiteY372" fmla="*/ 141962 h 942975"/>
                  <a:gd name="connsiteX373" fmla="*/ 664491 w 1304925"/>
                  <a:gd name="connsiteY373" fmla="*/ 141051 h 942975"/>
                  <a:gd name="connsiteX374" fmla="*/ 665337 w 1304925"/>
                  <a:gd name="connsiteY374" fmla="*/ 141203 h 942975"/>
                  <a:gd name="connsiteX375" fmla="*/ 669327 w 1304925"/>
                  <a:gd name="connsiteY375" fmla="*/ 134803 h 942975"/>
                  <a:gd name="connsiteX376" fmla="*/ 673189 w 1304925"/>
                  <a:gd name="connsiteY376" fmla="*/ 131636 h 942975"/>
                  <a:gd name="connsiteX377" fmla="*/ 673883 w 1304925"/>
                  <a:gd name="connsiteY377" fmla="*/ 131940 h 942975"/>
                  <a:gd name="connsiteX378" fmla="*/ 674208 w 1304925"/>
                  <a:gd name="connsiteY378" fmla="*/ 131658 h 942975"/>
                  <a:gd name="connsiteX379" fmla="*/ 680564 w 1304925"/>
                  <a:gd name="connsiteY379" fmla="*/ 134197 h 942975"/>
                  <a:gd name="connsiteX380" fmla="*/ 685532 w 1304925"/>
                  <a:gd name="connsiteY380" fmla="*/ 135715 h 942975"/>
                  <a:gd name="connsiteX381" fmla="*/ 691410 w 1304925"/>
                  <a:gd name="connsiteY381" fmla="*/ 137125 h 942975"/>
                  <a:gd name="connsiteX382" fmla="*/ 695272 w 1304925"/>
                  <a:gd name="connsiteY382" fmla="*/ 137754 h 942975"/>
                  <a:gd name="connsiteX383" fmla="*/ 698721 w 1304925"/>
                  <a:gd name="connsiteY383" fmla="*/ 138101 h 942975"/>
                  <a:gd name="connsiteX384" fmla="*/ 786966 w 1304925"/>
                  <a:gd name="connsiteY384" fmla="*/ 96452 h 942975"/>
                  <a:gd name="connsiteX385" fmla="*/ 791478 w 1304925"/>
                  <a:gd name="connsiteY385" fmla="*/ 100400 h 942975"/>
                  <a:gd name="connsiteX386" fmla="*/ 791673 w 1304925"/>
                  <a:gd name="connsiteY386" fmla="*/ 101961 h 942975"/>
                  <a:gd name="connsiteX387" fmla="*/ 795730 w 1304925"/>
                  <a:gd name="connsiteY387" fmla="*/ 107103 h 942975"/>
                  <a:gd name="connsiteX388" fmla="*/ 797639 w 1304925"/>
                  <a:gd name="connsiteY388" fmla="*/ 110335 h 942975"/>
                  <a:gd name="connsiteX389" fmla="*/ 813626 w 1304925"/>
                  <a:gd name="connsiteY389" fmla="*/ 107514 h 942975"/>
                  <a:gd name="connsiteX390" fmla="*/ 817227 w 1304925"/>
                  <a:gd name="connsiteY390" fmla="*/ 107190 h 942975"/>
                  <a:gd name="connsiteX391" fmla="*/ 820090 w 1304925"/>
                  <a:gd name="connsiteY391" fmla="*/ 107146 h 942975"/>
                  <a:gd name="connsiteX392" fmla="*/ 886014 w 1304925"/>
                  <a:gd name="connsiteY392" fmla="*/ 113046 h 942975"/>
                  <a:gd name="connsiteX393" fmla="*/ 888682 w 1304925"/>
                  <a:gd name="connsiteY393" fmla="*/ 113133 h 942975"/>
                  <a:gd name="connsiteX394" fmla="*/ 892088 w 1304925"/>
                  <a:gd name="connsiteY394" fmla="*/ 112982 h 942975"/>
                  <a:gd name="connsiteX395" fmla="*/ 895754 w 1304925"/>
                  <a:gd name="connsiteY395" fmla="*/ 112439 h 942975"/>
                  <a:gd name="connsiteX396" fmla="*/ 898140 w 1304925"/>
                  <a:gd name="connsiteY396" fmla="*/ 111897 h 942975"/>
                  <a:gd name="connsiteX397" fmla="*/ 901697 w 1304925"/>
                  <a:gd name="connsiteY397" fmla="*/ 110639 h 942975"/>
                  <a:gd name="connsiteX398" fmla="*/ 1094826 w 1304925"/>
                  <a:gd name="connsiteY398" fmla="*/ 11742 h 942975"/>
                  <a:gd name="connsiteX399" fmla="*/ 1103112 w 1304925"/>
                  <a:gd name="connsiteY399" fmla="*/ 7144 h 942975"/>
                  <a:gd name="connsiteX400" fmla="*/ 1188016 w 1304925"/>
                  <a:gd name="connsiteY400" fmla="*/ 71462 h 942975"/>
                  <a:gd name="connsiteX401" fmla="*/ 1226737 w 1304925"/>
                  <a:gd name="connsiteY401" fmla="*/ 99662 h 942975"/>
                  <a:gd name="connsiteX402" fmla="*/ 1236434 w 1304925"/>
                  <a:gd name="connsiteY402" fmla="*/ 106734 h 942975"/>
                  <a:gd name="connsiteX403" fmla="*/ 1250577 w 1304925"/>
                  <a:gd name="connsiteY403" fmla="*/ 119316 h 942975"/>
                  <a:gd name="connsiteX404" fmla="*/ 1262638 w 1304925"/>
                  <a:gd name="connsiteY404" fmla="*/ 133242 h 942975"/>
                  <a:gd name="connsiteX405" fmla="*/ 1272291 w 1304925"/>
                  <a:gd name="connsiteY405" fmla="*/ 149295 h 942975"/>
                  <a:gd name="connsiteX406" fmla="*/ 1279363 w 1304925"/>
                  <a:gd name="connsiteY406" fmla="*/ 166041 h 942975"/>
                  <a:gd name="connsiteX407" fmla="*/ 1294310 w 1304925"/>
                  <a:gd name="connsiteY407" fmla="*/ 211856 h 942975"/>
                  <a:gd name="connsiteX408" fmla="*/ 1303181 w 1304925"/>
                  <a:gd name="connsiteY408" fmla="*/ 23895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1304925" h="942975">
                    <a:moveTo>
                      <a:pt x="1303181" y="238950"/>
                    </a:moveTo>
                    <a:lnTo>
                      <a:pt x="1244243" y="242594"/>
                    </a:lnTo>
                    <a:lnTo>
                      <a:pt x="1243028" y="246629"/>
                    </a:lnTo>
                    <a:lnTo>
                      <a:pt x="1242812" y="249123"/>
                    </a:lnTo>
                    <a:lnTo>
                      <a:pt x="1242963" y="249448"/>
                    </a:lnTo>
                    <a:lnTo>
                      <a:pt x="1240902" y="249817"/>
                    </a:lnTo>
                    <a:lnTo>
                      <a:pt x="1237887" y="242963"/>
                    </a:lnTo>
                    <a:lnTo>
                      <a:pt x="1214915" y="244394"/>
                    </a:lnTo>
                    <a:lnTo>
                      <a:pt x="1105628" y="251141"/>
                    </a:lnTo>
                    <a:lnTo>
                      <a:pt x="1100725" y="250316"/>
                    </a:lnTo>
                    <a:lnTo>
                      <a:pt x="1073241" y="245717"/>
                    </a:lnTo>
                    <a:lnTo>
                      <a:pt x="1062807" y="268213"/>
                    </a:lnTo>
                    <a:lnTo>
                      <a:pt x="1046234" y="292053"/>
                    </a:lnTo>
                    <a:lnTo>
                      <a:pt x="1041896" y="297280"/>
                    </a:lnTo>
                    <a:lnTo>
                      <a:pt x="1032199" y="309016"/>
                    </a:lnTo>
                    <a:lnTo>
                      <a:pt x="1026971" y="315003"/>
                    </a:lnTo>
                    <a:lnTo>
                      <a:pt x="1015691" y="331273"/>
                    </a:lnTo>
                    <a:lnTo>
                      <a:pt x="1012112" y="336826"/>
                    </a:lnTo>
                    <a:lnTo>
                      <a:pt x="992480" y="368736"/>
                    </a:lnTo>
                    <a:lnTo>
                      <a:pt x="990094" y="371838"/>
                    </a:lnTo>
                    <a:lnTo>
                      <a:pt x="986515" y="375178"/>
                    </a:lnTo>
                    <a:lnTo>
                      <a:pt x="983196" y="377478"/>
                    </a:lnTo>
                    <a:lnTo>
                      <a:pt x="978163" y="380102"/>
                    </a:lnTo>
                    <a:lnTo>
                      <a:pt x="971829" y="382618"/>
                    </a:lnTo>
                    <a:lnTo>
                      <a:pt x="969552" y="384116"/>
                    </a:lnTo>
                    <a:lnTo>
                      <a:pt x="968141" y="385590"/>
                    </a:lnTo>
                    <a:lnTo>
                      <a:pt x="967230" y="387044"/>
                    </a:lnTo>
                    <a:lnTo>
                      <a:pt x="966796" y="388237"/>
                    </a:lnTo>
                    <a:lnTo>
                      <a:pt x="966687" y="389755"/>
                    </a:lnTo>
                    <a:lnTo>
                      <a:pt x="967057" y="391426"/>
                    </a:lnTo>
                    <a:lnTo>
                      <a:pt x="967968" y="393053"/>
                    </a:lnTo>
                    <a:lnTo>
                      <a:pt x="972805" y="398411"/>
                    </a:lnTo>
                    <a:lnTo>
                      <a:pt x="973196" y="399669"/>
                    </a:lnTo>
                    <a:lnTo>
                      <a:pt x="972957" y="401036"/>
                    </a:lnTo>
                    <a:lnTo>
                      <a:pt x="936188" y="459887"/>
                    </a:lnTo>
                    <a:lnTo>
                      <a:pt x="934757" y="462208"/>
                    </a:lnTo>
                    <a:lnTo>
                      <a:pt x="938943" y="463249"/>
                    </a:lnTo>
                    <a:lnTo>
                      <a:pt x="934778" y="469931"/>
                    </a:lnTo>
                    <a:lnTo>
                      <a:pt x="934280" y="469823"/>
                    </a:lnTo>
                    <a:lnTo>
                      <a:pt x="930613" y="475506"/>
                    </a:lnTo>
                    <a:lnTo>
                      <a:pt x="932869" y="476048"/>
                    </a:lnTo>
                    <a:lnTo>
                      <a:pt x="902044" y="525355"/>
                    </a:lnTo>
                    <a:lnTo>
                      <a:pt x="889094" y="545962"/>
                    </a:lnTo>
                    <a:lnTo>
                      <a:pt x="886751" y="550778"/>
                    </a:lnTo>
                    <a:lnTo>
                      <a:pt x="886014" y="553663"/>
                    </a:lnTo>
                    <a:lnTo>
                      <a:pt x="879267" y="552926"/>
                    </a:lnTo>
                    <a:lnTo>
                      <a:pt x="878660" y="555985"/>
                    </a:lnTo>
                    <a:lnTo>
                      <a:pt x="878183" y="558870"/>
                    </a:lnTo>
                    <a:lnTo>
                      <a:pt x="877793" y="563946"/>
                    </a:lnTo>
                    <a:lnTo>
                      <a:pt x="878053" y="570453"/>
                    </a:lnTo>
                    <a:lnTo>
                      <a:pt x="877511" y="572645"/>
                    </a:lnTo>
                    <a:lnTo>
                      <a:pt x="876448" y="575074"/>
                    </a:lnTo>
                    <a:lnTo>
                      <a:pt x="873909" y="578567"/>
                    </a:lnTo>
                    <a:lnTo>
                      <a:pt x="872629" y="579912"/>
                    </a:lnTo>
                    <a:lnTo>
                      <a:pt x="871175" y="580996"/>
                    </a:lnTo>
                    <a:lnTo>
                      <a:pt x="863822" y="585269"/>
                    </a:lnTo>
                    <a:lnTo>
                      <a:pt x="862781" y="586072"/>
                    </a:lnTo>
                    <a:lnTo>
                      <a:pt x="860482" y="588133"/>
                    </a:lnTo>
                    <a:lnTo>
                      <a:pt x="857879" y="591279"/>
                    </a:lnTo>
                    <a:lnTo>
                      <a:pt x="856295" y="594011"/>
                    </a:lnTo>
                    <a:lnTo>
                      <a:pt x="855362" y="596679"/>
                    </a:lnTo>
                    <a:lnTo>
                      <a:pt x="855622" y="599739"/>
                    </a:lnTo>
                    <a:lnTo>
                      <a:pt x="856751" y="603448"/>
                    </a:lnTo>
                    <a:lnTo>
                      <a:pt x="868486" y="629609"/>
                    </a:lnTo>
                    <a:lnTo>
                      <a:pt x="882130" y="652234"/>
                    </a:lnTo>
                    <a:lnTo>
                      <a:pt x="884994" y="656095"/>
                    </a:lnTo>
                    <a:lnTo>
                      <a:pt x="889029" y="660607"/>
                    </a:lnTo>
                    <a:lnTo>
                      <a:pt x="895754" y="666833"/>
                    </a:lnTo>
                    <a:lnTo>
                      <a:pt x="903542" y="672755"/>
                    </a:lnTo>
                    <a:lnTo>
                      <a:pt x="904430" y="673666"/>
                    </a:lnTo>
                    <a:lnTo>
                      <a:pt x="906729" y="676899"/>
                    </a:lnTo>
                    <a:lnTo>
                      <a:pt x="912175" y="684491"/>
                    </a:lnTo>
                    <a:lnTo>
                      <a:pt x="915211" y="690022"/>
                    </a:lnTo>
                    <a:lnTo>
                      <a:pt x="916643" y="694252"/>
                    </a:lnTo>
                    <a:lnTo>
                      <a:pt x="917837" y="702973"/>
                    </a:lnTo>
                    <a:lnTo>
                      <a:pt x="918769" y="706595"/>
                    </a:lnTo>
                    <a:lnTo>
                      <a:pt x="920245" y="710500"/>
                    </a:lnTo>
                    <a:lnTo>
                      <a:pt x="922131" y="714448"/>
                    </a:lnTo>
                    <a:lnTo>
                      <a:pt x="925125" y="717203"/>
                    </a:lnTo>
                    <a:lnTo>
                      <a:pt x="930179" y="721064"/>
                    </a:lnTo>
                    <a:lnTo>
                      <a:pt x="935559" y="724470"/>
                    </a:lnTo>
                    <a:lnTo>
                      <a:pt x="941199" y="727442"/>
                    </a:lnTo>
                    <a:lnTo>
                      <a:pt x="944171" y="729438"/>
                    </a:lnTo>
                    <a:lnTo>
                      <a:pt x="947794" y="732344"/>
                    </a:lnTo>
                    <a:lnTo>
                      <a:pt x="951395" y="735967"/>
                    </a:lnTo>
                    <a:lnTo>
                      <a:pt x="955799" y="741997"/>
                    </a:lnTo>
                    <a:lnTo>
                      <a:pt x="957816" y="745924"/>
                    </a:lnTo>
                    <a:lnTo>
                      <a:pt x="959009" y="750132"/>
                    </a:lnTo>
                    <a:lnTo>
                      <a:pt x="959312" y="753148"/>
                    </a:lnTo>
                    <a:lnTo>
                      <a:pt x="959161" y="754514"/>
                    </a:lnTo>
                    <a:lnTo>
                      <a:pt x="959009" y="758332"/>
                    </a:lnTo>
                    <a:lnTo>
                      <a:pt x="959270" y="760870"/>
                    </a:lnTo>
                    <a:lnTo>
                      <a:pt x="959811" y="763408"/>
                    </a:lnTo>
                    <a:lnTo>
                      <a:pt x="961156" y="767118"/>
                    </a:lnTo>
                    <a:lnTo>
                      <a:pt x="962067" y="768961"/>
                    </a:lnTo>
                    <a:lnTo>
                      <a:pt x="963391" y="770696"/>
                    </a:lnTo>
                    <a:lnTo>
                      <a:pt x="965040" y="772216"/>
                    </a:lnTo>
                    <a:lnTo>
                      <a:pt x="966948" y="773495"/>
                    </a:lnTo>
                    <a:lnTo>
                      <a:pt x="970679" y="775187"/>
                    </a:lnTo>
                    <a:lnTo>
                      <a:pt x="980636" y="778029"/>
                    </a:lnTo>
                    <a:lnTo>
                      <a:pt x="987751" y="780870"/>
                    </a:lnTo>
                    <a:lnTo>
                      <a:pt x="991331" y="782671"/>
                    </a:lnTo>
                    <a:lnTo>
                      <a:pt x="994433" y="784493"/>
                    </a:lnTo>
                    <a:lnTo>
                      <a:pt x="1000290" y="788419"/>
                    </a:lnTo>
                    <a:lnTo>
                      <a:pt x="1002784" y="790415"/>
                    </a:lnTo>
                    <a:lnTo>
                      <a:pt x="1006624" y="793495"/>
                    </a:lnTo>
                    <a:lnTo>
                      <a:pt x="1007838" y="795557"/>
                    </a:lnTo>
                    <a:lnTo>
                      <a:pt x="1008857" y="797595"/>
                    </a:lnTo>
                    <a:lnTo>
                      <a:pt x="1010182" y="801370"/>
                    </a:lnTo>
                    <a:lnTo>
                      <a:pt x="1011136" y="806923"/>
                    </a:lnTo>
                    <a:lnTo>
                      <a:pt x="1013175" y="810958"/>
                    </a:lnTo>
                    <a:lnTo>
                      <a:pt x="1014954" y="812910"/>
                    </a:lnTo>
                    <a:lnTo>
                      <a:pt x="1016884" y="814429"/>
                    </a:lnTo>
                    <a:lnTo>
                      <a:pt x="1021461" y="816728"/>
                    </a:lnTo>
                    <a:lnTo>
                      <a:pt x="989053" y="825947"/>
                    </a:lnTo>
                    <a:lnTo>
                      <a:pt x="945299" y="837618"/>
                    </a:lnTo>
                    <a:lnTo>
                      <a:pt x="920744" y="844408"/>
                    </a:lnTo>
                    <a:lnTo>
                      <a:pt x="919311" y="842434"/>
                    </a:lnTo>
                    <a:lnTo>
                      <a:pt x="918682" y="842607"/>
                    </a:lnTo>
                    <a:lnTo>
                      <a:pt x="915169" y="837574"/>
                    </a:lnTo>
                    <a:lnTo>
                      <a:pt x="905428" y="840330"/>
                    </a:lnTo>
                    <a:lnTo>
                      <a:pt x="908487" y="844711"/>
                    </a:lnTo>
                    <a:lnTo>
                      <a:pt x="909073" y="844560"/>
                    </a:lnTo>
                    <a:lnTo>
                      <a:pt x="910200" y="844863"/>
                    </a:lnTo>
                    <a:lnTo>
                      <a:pt x="910548" y="845384"/>
                    </a:lnTo>
                    <a:lnTo>
                      <a:pt x="911350" y="845340"/>
                    </a:lnTo>
                    <a:lnTo>
                      <a:pt x="911676" y="845839"/>
                    </a:lnTo>
                    <a:lnTo>
                      <a:pt x="909441" y="846403"/>
                    </a:lnTo>
                    <a:lnTo>
                      <a:pt x="909876" y="847011"/>
                    </a:lnTo>
                    <a:lnTo>
                      <a:pt x="902956" y="848746"/>
                    </a:lnTo>
                    <a:lnTo>
                      <a:pt x="902760" y="848052"/>
                    </a:lnTo>
                    <a:lnTo>
                      <a:pt x="902088" y="847748"/>
                    </a:lnTo>
                    <a:lnTo>
                      <a:pt x="901263" y="846577"/>
                    </a:lnTo>
                    <a:lnTo>
                      <a:pt x="901480" y="846208"/>
                    </a:lnTo>
                    <a:lnTo>
                      <a:pt x="899962" y="843995"/>
                    </a:lnTo>
                    <a:lnTo>
                      <a:pt x="894821" y="845340"/>
                    </a:lnTo>
                    <a:lnTo>
                      <a:pt x="893215" y="843844"/>
                    </a:lnTo>
                    <a:lnTo>
                      <a:pt x="886360" y="845796"/>
                    </a:lnTo>
                    <a:lnTo>
                      <a:pt x="885428" y="844647"/>
                    </a:lnTo>
                    <a:lnTo>
                      <a:pt x="880569" y="843584"/>
                    </a:lnTo>
                    <a:lnTo>
                      <a:pt x="879050" y="845058"/>
                    </a:lnTo>
                    <a:lnTo>
                      <a:pt x="877705" y="846012"/>
                    </a:lnTo>
                    <a:lnTo>
                      <a:pt x="875514" y="846707"/>
                    </a:lnTo>
                    <a:lnTo>
                      <a:pt x="873887" y="846685"/>
                    </a:lnTo>
                    <a:lnTo>
                      <a:pt x="872824" y="846533"/>
                    </a:lnTo>
                    <a:lnTo>
                      <a:pt x="868161" y="844321"/>
                    </a:lnTo>
                    <a:lnTo>
                      <a:pt x="858963" y="841588"/>
                    </a:lnTo>
                    <a:lnTo>
                      <a:pt x="854386" y="841218"/>
                    </a:lnTo>
                    <a:lnTo>
                      <a:pt x="851305" y="841132"/>
                    </a:lnTo>
                    <a:lnTo>
                      <a:pt x="849266" y="840416"/>
                    </a:lnTo>
                    <a:lnTo>
                      <a:pt x="847466" y="840048"/>
                    </a:lnTo>
                    <a:lnTo>
                      <a:pt x="846230" y="839245"/>
                    </a:lnTo>
                    <a:lnTo>
                      <a:pt x="844451" y="839700"/>
                    </a:lnTo>
                    <a:lnTo>
                      <a:pt x="842737" y="840155"/>
                    </a:lnTo>
                    <a:lnTo>
                      <a:pt x="842086" y="842781"/>
                    </a:lnTo>
                    <a:lnTo>
                      <a:pt x="841240" y="843822"/>
                    </a:lnTo>
                    <a:lnTo>
                      <a:pt x="839918" y="844321"/>
                    </a:lnTo>
                    <a:lnTo>
                      <a:pt x="837314" y="845037"/>
                    </a:lnTo>
                    <a:lnTo>
                      <a:pt x="834949" y="845362"/>
                    </a:lnTo>
                    <a:lnTo>
                      <a:pt x="830437" y="845037"/>
                    </a:lnTo>
                    <a:lnTo>
                      <a:pt x="824493" y="847336"/>
                    </a:lnTo>
                    <a:lnTo>
                      <a:pt x="812303" y="851003"/>
                    </a:lnTo>
                    <a:lnTo>
                      <a:pt x="806337" y="852477"/>
                    </a:lnTo>
                    <a:lnTo>
                      <a:pt x="800632" y="853518"/>
                    </a:lnTo>
                    <a:lnTo>
                      <a:pt x="799092" y="853713"/>
                    </a:lnTo>
                    <a:lnTo>
                      <a:pt x="792476" y="853605"/>
                    </a:lnTo>
                    <a:lnTo>
                      <a:pt x="789201" y="848985"/>
                    </a:lnTo>
                    <a:lnTo>
                      <a:pt x="786727" y="849592"/>
                    </a:lnTo>
                    <a:lnTo>
                      <a:pt x="791066" y="855970"/>
                    </a:lnTo>
                    <a:lnTo>
                      <a:pt x="787313" y="856946"/>
                    </a:lnTo>
                    <a:lnTo>
                      <a:pt x="786098" y="855189"/>
                    </a:lnTo>
                    <a:lnTo>
                      <a:pt x="760371" y="861696"/>
                    </a:lnTo>
                    <a:lnTo>
                      <a:pt x="758137" y="858660"/>
                    </a:lnTo>
                    <a:lnTo>
                      <a:pt x="729654" y="866339"/>
                    </a:lnTo>
                    <a:lnTo>
                      <a:pt x="718960" y="869072"/>
                    </a:lnTo>
                    <a:lnTo>
                      <a:pt x="691389" y="875407"/>
                    </a:lnTo>
                    <a:lnTo>
                      <a:pt x="670304" y="880439"/>
                    </a:lnTo>
                    <a:lnTo>
                      <a:pt x="670304" y="884451"/>
                    </a:lnTo>
                    <a:lnTo>
                      <a:pt x="667940" y="886881"/>
                    </a:lnTo>
                    <a:lnTo>
                      <a:pt x="662299" y="886209"/>
                    </a:lnTo>
                    <a:lnTo>
                      <a:pt x="661908" y="885949"/>
                    </a:lnTo>
                    <a:lnTo>
                      <a:pt x="661106" y="882738"/>
                    </a:lnTo>
                    <a:lnTo>
                      <a:pt x="660368" y="882847"/>
                    </a:lnTo>
                    <a:lnTo>
                      <a:pt x="621951" y="892088"/>
                    </a:lnTo>
                    <a:lnTo>
                      <a:pt x="611213" y="894496"/>
                    </a:lnTo>
                    <a:lnTo>
                      <a:pt x="611083" y="894300"/>
                    </a:lnTo>
                    <a:lnTo>
                      <a:pt x="591083" y="899289"/>
                    </a:lnTo>
                    <a:lnTo>
                      <a:pt x="590888" y="899029"/>
                    </a:lnTo>
                    <a:lnTo>
                      <a:pt x="581430" y="901394"/>
                    </a:lnTo>
                    <a:lnTo>
                      <a:pt x="581647" y="901784"/>
                    </a:lnTo>
                    <a:lnTo>
                      <a:pt x="537438" y="913172"/>
                    </a:lnTo>
                    <a:lnTo>
                      <a:pt x="519216" y="917641"/>
                    </a:lnTo>
                    <a:lnTo>
                      <a:pt x="435505" y="939225"/>
                    </a:lnTo>
                    <a:lnTo>
                      <a:pt x="414636" y="936774"/>
                    </a:lnTo>
                    <a:lnTo>
                      <a:pt x="419127" y="922457"/>
                    </a:lnTo>
                    <a:lnTo>
                      <a:pt x="428910" y="910027"/>
                    </a:lnTo>
                    <a:lnTo>
                      <a:pt x="409734" y="904192"/>
                    </a:lnTo>
                    <a:lnTo>
                      <a:pt x="403790" y="902717"/>
                    </a:lnTo>
                    <a:lnTo>
                      <a:pt x="402228" y="902608"/>
                    </a:lnTo>
                    <a:lnTo>
                      <a:pt x="399061" y="903129"/>
                    </a:lnTo>
                    <a:lnTo>
                      <a:pt x="390450" y="904973"/>
                    </a:lnTo>
                    <a:lnTo>
                      <a:pt x="386892" y="906036"/>
                    </a:lnTo>
                    <a:lnTo>
                      <a:pt x="384158" y="906448"/>
                    </a:lnTo>
                    <a:lnTo>
                      <a:pt x="381165" y="906643"/>
                    </a:lnTo>
                    <a:lnTo>
                      <a:pt x="377824" y="906730"/>
                    </a:lnTo>
                    <a:lnTo>
                      <a:pt x="372401" y="906383"/>
                    </a:lnTo>
                    <a:lnTo>
                      <a:pt x="337672" y="906643"/>
                    </a:lnTo>
                    <a:lnTo>
                      <a:pt x="331424" y="906535"/>
                    </a:lnTo>
                    <a:lnTo>
                      <a:pt x="326109" y="906405"/>
                    </a:lnTo>
                    <a:lnTo>
                      <a:pt x="301141" y="906600"/>
                    </a:lnTo>
                    <a:lnTo>
                      <a:pt x="301011" y="903758"/>
                    </a:lnTo>
                    <a:lnTo>
                      <a:pt x="301120" y="844885"/>
                    </a:lnTo>
                    <a:lnTo>
                      <a:pt x="314677" y="840741"/>
                    </a:lnTo>
                    <a:lnTo>
                      <a:pt x="313506" y="788311"/>
                    </a:lnTo>
                    <a:lnTo>
                      <a:pt x="308192" y="788311"/>
                    </a:lnTo>
                    <a:lnTo>
                      <a:pt x="307562" y="769699"/>
                    </a:lnTo>
                    <a:lnTo>
                      <a:pt x="336001" y="769373"/>
                    </a:lnTo>
                    <a:lnTo>
                      <a:pt x="335155" y="748613"/>
                    </a:lnTo>
                    <a:lnTo>
                      <a:pt x="333572" y="744731"/>
                    </a:lnTo>
                    <a:lnTo>
                      <a:pt x="332205" y="744947"/>
                    </a:lnTo>
                    <a:lnTo>
                      <a:pt x="318799" y="715880"/>
                    </a:lnTo>
                    <a:lnTo>
                      <a:pt x="296521" y="667571"/>
                    </a:lnTo>
                    <a:lnTo>
                      <a:pt x="297150" y="667006"/>
                    </a:lnTo>
                    <a:lnTo>
                      <a:pt x="289601" y="650585"/>
                    </a:lnTo>
                    <a:lnTo>
                      <a:pt x="276282" y="652864"/>
                    </a:lnTo>
                    <a:lnTo>
                      <a:pt x="273766" y="647353"/>
                    </a:lnTo>
                    <a:lnTo>
                      <a:pt x="260186" y="649435"/>
                    </a:lnTo>
                    <a:lnTo>
                      <a:pt x="251813" y="650542"/>
                    </a:lnTo>
                    <a:lnTo>
                      <a:pt x="240402" y="651692"/>
                    </a:lnTo>
                    <a:lnTo>
                      <a:pt x="230597" y="652342"/>
                    </a:lnTo>
                    <a:lnTo>
                      <a:pt x="221551" y="652646"/>
                    </a:lnTo>
                    <a:lnTo>
                      <a:pt x="164001" y="653362"/>
                    </a:lnTo>
                    <a:lnTo>
                      <a:pt x="163850" y="648134"/>
                    </a:lnTo>
                    <a:lnTo>
                      <a:pt x="164067" y="644273"/>
                    </a:lnTo>
                    <a:lnTo>
                      <a:pt x="167277" y="624272"/>
                    </a:lnTo>
                    <a:lnTo>
                      <a:pt x="168992" y="604012"/>
                    </a:lnTo>
                    <a:lnTo>
                      <a:pt x="170184" y="603665"/>
                    </a:lnTo>
                    <a:lnTo>
                      <a:pt x="170206" y="602927"/>
                    </a:lnTo>
                    <a:lnTo>
                      <a:pt x="173959" y="602971"/>
                    </a:lnTo>
                    <a:lnTo>
                      <a:pt x="174176" y="596376"/>
                    </a:lnTo>
                    <a:lnTo>
                      <a:pt x="154631" y="595812"/>
                    </a:lnTo>
                    <a:lnTo>
                      <a:pt x="134110" y="595096"/>
                    </a:lnTo>
                    <a:lnTo>
                      <a:pt x="126973" y="594532"/>
                    </a:lnTo>
                    <a:lnTo>
                      <a:pt x="121354" y="593882"/>
                    </a:lnTo>
                    <a:lnTo>
                      <a:pt x="7144" y="576028"/>
                    </a:lnTo>
                    <a:lnTo>
                      <a:pt x="9053" y="571473"/>
                    </a:lnTo>
                    <a:lnTo>
                      <a:pt x="9378" y="571516"/>
                    </a:lnTo>
                    <a:lnTo>
                      <a:pt x="10180" y="569565"/>
                    </a:lnTo>
                    <a:lnTo>
                      <a:pt x="10506" y="569565"/>
                    </a:lnTo>
                    <a:lnTo>
                      <a:pt x="36688" y="506613"/>
                    </a:lnTo>
                    <a:lnTo>
                      <a:pt x="50246" y="474486"/>
                    </a:lnTo>
                    <a:lnTo>
                      <a:pt x="53262" y="467241"/>
                    </a:lnTo>
                    <a:lnTo>
                      <a:pt x="53240" y="466720"/>
                    </a:lnTo>
                    <a:lnTo>
                      <a:pt x="56538" y="459128"/>
                    </a:lnTo>
                    <a:lnTo>
                      <a:pt x="56884" y="459193"/>
                    </a:lnTo>
                    <a:lnTo>
                      <a:pt x="57492" y="457739"/>
                    </a:lnTo>
                    <a:lnTo>
                      <a:pt x="57341" y="457718"/>
                    </a:lnTo>
                    <a:lnTo>
                      <a:pt x="57991" y="456199"/>
                    </a:lnTo>
                    <a:lnTo>
                      <a:pt x="57188" y="456307"/>
                    </a:lnTo>
                    <a:lnTo>
                      <a:pt x="58902" y="452252"/>
                    </a:lnTo>
                    <a:lnTo>
                      <a:pt x="60789" y="447718"/>
                    </a:lnTo>
                    <a:lnTo>
                      <a:pt x="61049" y="447761"/>
                    </a:lnTo>
                    <a:lnTo>
                      <a:pt x="61722" y="446156"/>
                    </a:lnTo>
                    <a:lnTo>
                      <a:pt x="62134" y="446221"/>
                    </a:lnTo>
                    <a:lnTo>
                      <a:pt x="62221" y="446069"/>
                    </a:lnTo>
                    <a:lnTo>
                      <a:pt x="67405" y="433618"/>
                    </a:lnTo>
                    <a:lnTo>
                      <a:pt x="67210" y="433574"/>
                    </a:lnTo>
                    <a:lnTo>
                      <a:pt x="69270" y="428259"/>
                    </a:lnTo>
                    <a:lnTo>
                      <a:pt x="69401" y="427977"/>
                    </a:lnTo>
                    <a:lnTo>
                      <a:pt x="69748" y="428043"/>
                    </a:lnTo>
                    <a:lnTo>
                      <a:pt x="71678" y="423531"/>
                    </a:lnTo>
                    <a:lnTo>
                      <a:pt x="71310" y="423465"/>
                    </a:lnTo>
                    <a:lnTo>
                      <a:pt x="74477" y="415917"/>
                    </a:lnTo>
                    <a:lnTo>
                      <a:pt x="74564" y="415700"/>
                    </a:lnTo>
                    <a:lnTo>
                      <a:pt x="74889" y="415743"/>
                    </a:lnTo>
                    <a:lnTo>
                      <a:pt x="76733" y="411296"/>
                    </a:lnTo>
                    <a:lnTo>
                      <a:pt x="76365" y="411231"/>
                    </a:lnTo>
                    <a:lnTo>
                      <a:pt x="79575" y="403595"/>
                    </a:lnTo>
                    <a:lnTo>
                      <a:pt x="79922" y="403660"/>
                    </a:lnTo>
                    <a:lnTo>
                      <a:pt x="81701" y="399582"/>
                    </a:lnTo>
                    <a:lnTo>
                      <a:pt x="81852" y="399170"/>
                    </a:lnTo>
                    <a:lnTo>
                      <a:pt x="81462" y="399083"/>
                    </a:lnTo>
                    <a:lnTo>
                      <a:pt x="84347" y="392272"/>
                    </a:lnTo>
                    <a:lnTo>
                      <a:pt x="84737" y="392337"/>
                    </a:lnTo>
                    <a:lnTo>
                      <a:pt x="85389" y="390818"/>
                    </a:lnTo>
                    <a:lnTo>
                      <a:pt x="84890" y="390754"/>
                    </a:lnTo>
                    <a:lnTo>
                      <a:pt x="85887" y="388562"/>
                    </a:lnTo>
                    <a:lnTo>
                      <a:pt x="85475" y="388475"/>
                    </a:lnTo>
                    <a:lnTo>
                      <a:pt x="88447" y="381447"/>
                    </a:lnTo>
                    <a:lnTo>
                      <a:pt x="88707" y="381491"/>
                    </a:lnTo>
                    <a:lnTo>
                      <a:pt x="89424" y="379777"/>
                    </a:lnTo>
                    <a:lnTo>
                      <a:pt x="89575" y="379799"/>
                    </a:lnTo>
                    <a:lnTo>
                      <a:pt x="92330" y="371208"/>
                    </a:lnTo>
                    <a:lnTo>
                      <a:pt x="92633" y="371252"/>
                    </a:lnTo>
                    <a:lnTo>
                      <a:pt x="93197" y="369018"/>
                    </a:lnTo>
                    <a:lnTo>
                      <a:pt x="93002" y="368996"/>
                    </a:lnTo>
                    <a:lnTo>
                      <a:pt x="94695" y="361099"/>
                    </a:lnTo>
                    <a:lnTo>
                      <a:pt x="94977" y="361121"/>
                    </a:lnTo>
                    <a:lnTo>
                      <a:pt x="95367" y="358822"/>
                    </a:lnTo>
                    <a:lnTo>
                      <a:pt x="95041" y="358800"/>
                    </a:lnTo>
                    <a:lnTo>
                      <a:pt x="96126" y="350275"/>
                    </a:lnTo>
                    <a:lnTo>
                      <a:pt x="96408" y="350297"/>
                    </a:lnTo>
                    <a:lnTo>
                      <a:pt x="96582" y="348757"/>
                    </a:lnTo>
                    <a:lnTo>
                      <a:pt x="96235" y="348757"/>
                    </a:lnTo>
                    <a:lnTo>
                      <a:pt x="96473" y="345091"/>
                    </a:lnTo>
                    <a:lnTo>
                      <a:pt x="96278" y="339820"/>
                    </a:lnTo>
                    <a:lnTo>
                      <a:pt x="96560" y="339798"/>
                    </a:lnTo>
                    <a:lnTo>
                      <a:pt x="95671" y="331381"/>
                    </a:lnTo>
                    <a:lnTo>
                      <a:pt x="96235" y="331360"/>
                    </a:lnTo>
                    <a:lnTo>
                      <a:pt x="95627" y="327975"/>
                    </a:lnTo>
                    <a:lnTo>
                      <a:pt x="94413" y="327975"/>
                    </a:lnTo>
                    <a:lnTo>
                      <a:pt x="92156" y="318647"/>
                    </a:lnTo>
                    <a:lnTo>
                      <a:pt x="104716" y="318257"/>
                    </a:lnTo>
                    <a:lnTo>
                      <a:pt x="179729" y="316847"/>
                    </a:lnTo>
                    <a:lnTo>
                      <a:pt x="193590" y="317107"/>
                    </a:lnTo>
                    <a:lnTo>
                      <a:pt x="207604" y="316803"/>
                    </a:lnTo>
                    <a:lnTo>
                      <a:pt x="212680" y="316695"/>
                    </a:lnTo>
                    <a:lnTo>
                      <a:pt x="212680" y="315958"/>
                    </a:lnTo>
                    <a:lnTo>
                      <a:pt x="212354" y="315871"/>
                    </a:lnTo>
                    <a:lnTo>
                      <a:pt x="210945" y="289015"/>
                    </a:lnTo>
                    <a:lnTo>
                      <a:pt x="211552" y="277345"/>
                    </a:lnTo>
                    <a:lnTo>
                      <a:pt x="209642" y="243353"/>
                    </a:lnTo>
                    <a:lnTo>
                      <a:pt x="209447" y="237539"/>
                    </a:lnTo>
                    <a:lnTo>
                      <a:pt x="209990" y="237561"/>
                    </a:lnTo>
                    <a:lnTo>
                      <a:pt x="209946" y="234004"/>
                    </a:lnTo>
                    <a:lnTo>
                      <a:pt x="209404" y="234004"/>
                    </a:lnTo>
                    <a:lnTo>
                      <a:pt x="209447" y="234459"/>
                    </a:lnTo>
                    <a:lnTo>
                      <a:pt x="203092" y="234459"/>
                    </a:lnTo>
                    <a:lnTo>
                      <a:pt x="197582" y="130227"/>
                    </a:lnTo>
                    <a:lnTo>
                      <a:pt x="197799" y="120856"/>
                    </a:lnTo>
                    <a:lnTo>
                      <a:pt x="198818" y="110639"/>
                    </a:lnTo>
                    <a:lnTo>
                      <a:pt x="200098" y="103306"/>
                    </a:lnTo>
                    <a:lnTo>
                      <a:pt x="201942" y="95519"/>
                    </a:lnTo>
                    <a:lnTo>
                      <a:pt x="213461" y="93654"/>
                    </a:lnTo>
                    <a:lnTo>
                      <a:pt x="215326" y="93090"/>
                    </a:lnTo>
                    <a:lnTo>
                      <a:pt x="226324" y="92243"/>
                    </a:lnTo>
                    <a:lnTo>
                      <a:pt x="227583" y="91592"/>
                    </a:lnTo>
                    <a:lnTo>
                      <a:pt x="228450" y="91506"/>
                    </a:lnTo>
                    <a:lnTo>
                      <a:pt x="238516" y="91093"/>
                    </a:lnTo>
                    <a:lnTo>
                      <a:pt x="254763" y="90790"/>
                    </a:lnTo>
                    <a:lnTo>
                      <a:pt x="254785" y="92156"/>
                    </a:lnTo>
                    <a:lnTo>
                      <a:pt x="262551" y="92135"/>
                    </a:lnTo>
                    <a:lnTo>
                      <a:pt x="262507" y="91918"/>
                    </a:lnTo>
                    <a:lnTo>
                      <a:pt x="304830" y="91550"/>
                    </a:lnTo>
                    <a:lnTo>
                      <a:pt x="336349" y="91354"/>
                    </a:lnTo>
                    <a:lnTo>
                      <a:pt x="336349" y="91614"/>
                    </a:lnTo>
                    <a:lnTo>
                      <a:pt x="343247" y="91570"/>
                    </a:lnTo>
                    <a:lnTo>
                      <a:pt x="343182" y="91310"/>
                    </a:lnTo>
                    <a:lnTo>
                      <a:pt x="433010" y="90747"/>
                    </a:lnTo>
                    <a:lnTo>
                      <a:pt x="432945" y="91072"/>
                    </a:lnTo>
                    <a:lnTo>
                      <a:pt x="447132" y="90986"/>
                    </a:lnTo>
                    <a:lnTo>
                      <a:pt x="447262" y="93436"/>
                    </a:lnTo>
                    <a:lnTo>
                      <a:pt x="474985" y="93393"/>
                    </a:lnTo>
                    <a:lnTo>
                      <a:pt x="484790" y="93480"/>
                    </a:lnTo>
                    <a:lnTo>
                      <a:pt x="492707" y="93849"/>
                    </a:lnTo>
                    <a:lnTo>
                      <a:pt x="501125" y="94435"/>
                    </a:lnTo>
                    <a:lnTo>
                      <a:pt x="518869" y="96560"/>
                    </a:lnTo>
                    <a:lnTo>
                      <a:pt x="527502" y="98057"/>
                    </a:lnTo>
                    <a:lnTo>
                      <a:pt x="536635" y="99857"/>
                    </a:lnTo>
                    <a:lnTo>
                      <a:pt x="545811" y="102070"/>
                    </a:lnTo>
                    <a:lnTo>
                      <a:pt x="554878" y="104478"/>
                    </a:lnTo>
                    <a:lnTo>
                      <a:pt x="562774" y="106908"/>
                    </a:lnTo>
                    <a:lnTo>
                      <a:pt x="576679" y="112157"/>
                    </a:lnTo>
                    <a:lnTo>
                      <a:pt x="582753" y="114738"/>
                    </a:lnTo>
                    <a:lnTo>
                      <a:pt x="593686" y="120226"/>
                    </a:lnTo>
                    <a:lnTo>
                      <a:pt x="599478" y="123459"/>
                    </a:lnTo>
                    <a:lnTo>
                      <a:pt x="609912" y="130118"/>
                    </a:lnTo>
                    <a:lnTo>
                      <a:pt x="616072" y="134501"/>
                    </a:lnTo>
                    <a:lnTo>
                      <a:pt x="633773" y="148253"/>
                    </a:lnTo>
                    <a:lnTo>
                      <a:pt x="633600" y="148340"/>
                    </a:lnTo>
                    <a:lnTo>
                      <a:pt x="649024" y="145108"/>
                    </a:lnTo>
                    <a:lnTo>
                      <a:pt x="662408" y="142309"/>
                    </a:lnTo>
                    <a:lnTo>
                      <a:pt x="663839" y="141962"/>
                    </a:lnTo>
                    <a:lnTo>
                      <a:pt x="664491" y="141051"/>
                    </a:lnTo>
                    <a:lnTo>
                      <a:pt x="665337" y="141203"/>
                    </a:lnTo>
                    <a:lnTo>
                      <a:pt x="669327" y="134803"/>
                    </a:lnTo>
                    <a:lnTo>
                      <a:pt x="673189" y="131636"/>
                    </a:lnTo>
                    <a:lnTo>
                      <a:pt x="673883" y="131940"/>
                    </a:lnTo>
                    <a:lnTo>
                      <a:pt x="674208" y="131658"/>
                    </a:lnTo>
                    <a:lnTo>
                      <a:pt x="680564" y="134197"/>
                    </a:lnTo>
                    <a:lnTo>
                      <a:pt x="685532" y="135715"/>
                    </a:lnTo>
                    <a:lnTo>
                      <a:pt x="691410" y="137125"/>
                    </a:lnTo>
                    <a:lnTo>
                      <a:pt x="695272" y="137754"/>
                    </a:lnTo>
                    <a:lnTo>
                      <a:pt x="698721" y="138101"/>
                    </a:lnTo>
                    <a:lnTo>
                      <a:pt x="786966" y="96452"/>
                    </a:lnTo>
                    <a:lnTo>
                      <a:pt x="791478" y="100400"/>
                    </a:lnTo>
                    <a:lnTo>
                      <a:pt x="791673" y="101961"/>
                    </a:lnTo>
                    <a:lnTo>
                      <a:pt x="795730" y="107103"/>
                    </a:lnTo>
                    <a:lnTo>
                      <a:pt x="797639" y="110335"/>
                    </a:lnTo>
                    <a:lnTo>
                      <a:pt x="813626" y="107514"/>
                    </a:lnTo>
                    <a:lnTo>
                      <a:pt x="817227" y="107190"/>
                    </a:lnTo>
                    <a:lnTo>
                      <a:pt x="820090" y="107146"/>
                    </a:lnTo>
                    <a:lnTo>
                      <a:pt x="886014" y="113046"/>
                    </a:lnTo>
                    <a:lnTo>
                      <a:pt x="888682" y="113133"/>
                    </a:lnTo>
                    <a:lnTo>
                      <a:pt x="892088" y="112982"/>
                    </a:lnTo>
                    <a:lnTo>
                      <a:pt x="895754" y="112439"/>
                    </a:lnTo>
                    <a:lnTo>
                      <a:pt x="898140" y="111897"/>
                    </a:lnTo>
                    <a:lnTo>
                      <a:pt x="901697" y="110639"/>
                    </a:lnTo>
                    <a:lnTo>
                      <a:pt x="1094826" y="11742"/>
                    </a:lnTo>
                    <a:lnTo>
                      <a:pt x="1103112" y="7144"/>
                    </a:lnTo>
                    <a:lnTo>
                      <a:pt x="1188016" y="71462"/>
                    </a:lnTo>
                    <a:lnTo>
                      <a:pt x="1226737" y="99662"/>
                    </a:lnTo>
                    <a:lnTo>
                      <a:pt x="1236434" y="106734"/>
                    </a:lnTo>
                    <a:lnTo>
                      <a:pt x="1250577" y="119316"/>
                    </a:lnTo>
                    <a:lnTo>
                      <a:pt x="1262638" y="133242"/>
                    </a:lnTo>
                    <a:lnTo>
                      <a:pt x="1272291" y="149295"/>
                    </a:lnTo>
                    <a:lnTo>
                      <a:pt x="1279363" y="166041"/>
                    </a:lnTo>
                    <a:lnTo>
                      <a:pt x="1294310" y="211856"/>
                    </a:lnTo>
                    <a:lnTo>
                      <a:pt x="1303181" y="238950"/>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latin typeface="+mn-lt"/>
                  <a:cs typeface="+mn-cs"/>
                </a:endParaRPr>
              </a:p>
            </p:txBody>
          </p:sp>
          <p:sp>
            <p:nvSpPr>
              <p:cNvPr id="92" name="Freeform: Shape 91">
                <a:extLst>
                  <a:ext uri="{FF2B5EF4-FFF2-40B4-BE49-F238E27FC236}">
                    <a16:creationId xmlns:a16="http://schemas.microsoft.com/office/drawing/2014/main" id="{C836D47A-90AA-4DE3-9145-70790805AFAC}"/>
                  </a:ext>
                </a:extLst>
              </p:cNvPr>
              <p:cNvSpPr/>
              <p:nvPr/>
            </p:nvSpPr>
            <p:spPr>
              <a:xfrm>
                <a:off x="4977833" y="4015294"/>
                <a:ext cx="592477" cy="682115"/>
              </a:xfrm>
              <a:custGeom>
                <a:avLst/>
                <a:gdLst>
                  <a:gd name="connsiteX0" fmla="*/ 2047254 w 2085975"/>
                  <a:gd name="connsiteY0" fmla="*/ 926232 h 1600200"/>
                  <a:gd name="connsiteX1" fmla="*/ 2048166 w 2085975"/>
                  <a:gd name="connsiteY1" fmla="*/ 978445 h 1600200"/>
                  <a:gd name="connsiteX2" fmla="*/ 1957209 w 2085975"/>
                  <a:gd name="connsiteY2" fmla="*/ 979010 h 1600200"/>
                  <a:gd name="connsiteX3" fmla="*/ 1958358 w 2085975"/>
                  <a:gd name="connsiteY3" fmla="*/ 1052460 h 1600200"/>
                  <a:gd name="connsiteX4" fmla="*/ 1974714 w 2085975"/>
                  <a:gd name="connsiteY4" fmla="*/ 1052331 h 1600200"/>
                  <a:gd name="connsiteX5" fmla="*/ 1974932 w 2085975"/>
                  <a:gd name="connsiteY5" fmla="*/ 1063567 h 1600200"/>
                  <a:gd name="connsiteX6" fmla="*/ 1976862 w 2085975"/>
                  <a:gd name="connsiteY6" fmla="*/ 1165565 h 1600200"/>
                  <a:gd name="connsiteX7" fmla="*/ 1976905 w 2085975"/>
                  <a:gd name="connsiteY7" fmla="*/ 1167799 h 1600200"/>
                  <a:gd name="connsiteX8" fmla="*/ 1978685 w 2085975"/>
                  <a:gd name="connsiteY8" fmla="*/ 1167799 h 1600200"/>
                  <a:gd name="connsiteX9" fmla="*/ 1980658 w 2085975"/>
                  <a:gd name="connsiteY9" fmla="*/ 1168059 h 1600200"/>
                  <a:gd name="connsiteX10" fmla="*/ 1986342 w 2085975"/>
                  <a:gd name="connsiteY10" fmla="*/ 1170337 h 1600200"/>
                  <a:gd name="connsiteX11" fmla="*/ 1981721 w 2085975"/>
                  <a:gd name="connsiteY11" fmla="*/ 1174502 h 1600200"/>
                  <a:gd name="connsiteX12" fmla="*/ 1977058 w 2085975"/>
                  <a:gd name="connsiteY12" fmla="*/ 1177713 h 1600200"/>
                  <a:gd name="connsiteX13" fmla="*/ 1971330 w 2085975"/>
                  <a:gd name="connsiteY13" fmla="*/ 1180706 h 1600200"/>
                  <a:gd name="connsiteX14" fmla="*/ 1967686 w 2085975"/>
                  <a:gd name="connsiteY14" fmla="*/ 1182203 h 1600200"/>
                  <a:gd name="connsiteX15" fmla="*/ 1964346 w 2085975"/>
                  <a:gd name="connsiteY15" fmla="*/ 1183353 h 1600200"/>
                  <a:gd name="connsiteX16" fmla="*/ 1960333 w 2085975"/>
                  <a:gd name="connsiteY16" fmla="*/ 1184502 h 1600200"/>
                  <a:gd name="connsiteX17" fmla="*/ 1956602 w 2085975"/>
                  <a:gd name="connsiteY17" fmla="*/ 1185370 h 1600200"/>
                  <a:gd name="connsiteX18" fmla="*/ 1948879 w 2085975"/>
                  <a:gd name="connsiteY18" fmla="*/ 1186520 h 1600200"/>
                  <a:gd name="connsiteX19" fmla="*/ 1942978 w 2085975"/>
                  <a:gd name="connsiteY19" fmla="*/ 1186866 h 1600200"/>
                  <a:gd name="connsiteX20" fmla="*/ 1929573 w 2085975"/>
                  <a:gd name="connsiteY20" fmla="*/ 1186650 h 1600200"/>
                  <a:gd name="connsiteX21" fmla="*/ 1915971 w 2085975"/>
                  <a:gd name="connsiteY21" fmla="*/ 1186107 h 1600200"/>
                  <a:gd name="connsiteX22" fmla="*/ 1905320 w 2085975"/>
                  <a:gd name="connsiteY22" fmla="*/ 1185435 h 1600200"/>
                  <a:gd name="connsiteX23" fmla="*/ 1905255 w 2085975"/>
                  <a:gd name="connsiteY23" fmla="*/ 1185630 h 1600200"/>
                  <a:gd name="connsiteX24" fmla="*/ 1896557 w 2085975"/>
                  <a:gd name="connsiteY24" fmla="*/ 1185066 h 1600200"/>
                  <a:gd name="connsiteX25" fmla="*/ 1896622 w 2085975"/>
                  <a:gd name="connsiteY25" fmla="*/ 1194155 h 1600200"/>
                  <a:gd name="connsiteX26" fmla="*/ 1893107 w 2085975"/>
                  <a:gd name="connsiteY26" fmla="*/ 1194503 h 1600200"/>
                  <a:gd name="connsiteX27" fmla="*/ 1891806 w 2085975"/>
                  <a:gd name="connsiteY27" fmla="*/ 1194893 h 1600200"/>
                  <a:gd name="connsiteX28" fmla="*/ 1890396 w 2085975"/>
                  <a:gd name="connsiteY28" fmla="*/ 1195891 h 1600200"/>
                  <a:gd name="connsiteX29" fmla="*/ 1889897 w 2085975"/>
                  <a:gd name="connsiteY29" fmla="*/ 1196911 h 1600200"/>
                  <a:gd name="connsiteX30" fmla="*/ 1889875 w 2085975"/>
                  <a:gd name="connsiteY30" fmla="*/ 1197431 h 1600200"/>
                  <a:gd name="connsiteX31" fmla="*/ 1890461 w 2085975"/>
                  <a:gd name="connsiteY31" fmla="*/ 1198342 h 1600200"/>
                  <a:gd name="connsiteX32" fmla="*/ 1890093 w 2085975"/>
                  <a:gd name="connsiteY32" fmla="*/ 1204936 h 1600200"/>
                  <a:gd name="connsiteX33" fmla="*/ 1887511 w 2085975"/>
                  <a:gd name="connsiteY33" fmla="*/ 1225913 h 1600200"/>
                  <a:gd name="connsiteX34" fmla="*/ 1887055 w 2085975"/>
                  <a:gd name="connsiteY34" fmla="*/ 1233289 h 1600200"/>
                  <a:gd name="connsiteX35" fmla="*/ 1887034 w 2085975"/>
                  <a:gd name="connsiteY35" fmla="*/ 1238821 h 1600200"/>
                  <a:gd name="connsiteX36" fmla="*/ 1887250 w 2085975"/>
                  <a:gd name="connsiteY36" fmla="*/ 1238821 h 1600200"/>
                  <a:gd name="connsiteX37" fmla="*/ 1887316 w 2085975"/>
                  <a:gd name="connsiteY37" fmla="*/ 1240273 h 1600200"/>
                  <a:gd name="connsiteX38" fmla="*/ 1886839 w 2085975"/>
                  <a:gd name="connsiteY38" fmla="*/ 1240361 h 1600200"/>
                  <a:gd name="connsiteX39" fmla="*/ 1887034 w 2085975"/>
                  <a:gd name="connsiteY39" fmla="*/ 1243788 h 1600200"/>
                  <a:gd name="connsiteX40" fmla="*/ 1887359 w 2085975"/>
                  <a:gd name="connsiteY40" fmla="*/ 1243788 h 1600200"/>
                  <a:gd name="connsiteX41" fmla="*/ 1887381 w 2085975"/>
                  <a:gd name="connsiteY41" fmla="*/ 1245284 h 1600200"/>
                  <a:gd name="connsiteX42" fmla="*/ 1887576 w 2085975"/>
                  <a:gd name="connsiteY42" fmla="*/ 1245479 h 1600200"/>
                  <a:gd name="connsiteX43" fmla="*/ 1891394 w 2085975"/>
                  <a:gd name="connsiteY43" fmla="*/ 1276717 h 1600200"/>
                  <a:gd name="connsiteX44" fmla="*/ 1895255 w 2085975"/>
                  <a:gd name="connsiteY44" fmla="*/ 1301447 h 1600200"/>
                  <a:gd name="connsiteX45" fmla="*/ 1897945 w 2085975"/>
                  <a:gd name="connsiteY45" fmla="*/ 1315178 h 1600200"/>
                  <a:gd name="connsiteX46" fmla="*/ 1899767 w 2085975"/>
                  <a:gd name="connsiteY46" fmla="*/ 1320796 h 1600200"/>
                  <a:gd name="connsiteX47" fmla="*/ 1902240 w 2085975"/>
                  <a:gd name="connsiteY47" fmla="*/ 1325764 h 1600200"/>
                  <a:gd name="connsiteX48" fmla="*/ 1905386 w 2085975"/>
                  <a:gd name="connsiteY48" fmla="*/ 1330405 h 1600200"/>
                  <a:gd name="connsiteX49" fmla="*/ 1908813 w 2085975"/>
                  <a:gd name="connsiteY49" fmla="*/ 1334354 h 1600200"/>
                  <a:gd name="connsiteX50" fmla="*/ 1913564 w 2085975"/>
                  <a:gd name="connsiteY50" fmla="*/ 1338714 h 1600200"/>
                  <a:gd name="connsiteX51" fmla="*/ 1917555 w 2085975"/>
                  <a:gd name="connsiteY51" fmla="*/ 1341686 h 1600200"/>
                  <a:gd name="connsiteX52" fmla="*/ 1923303 w 2085975"/>
                  <a:gd name="connsiteY52" fmla="*/ 1345287 h 1600200"/>
                  <a:gd name="connsiteX53" fmla="*/ 1927209 w 2085975"/>
                  <a:gd name="connsiteY53" fmla="*/ 1347239 h 1600200"/>
                  <a:gd name="connsiteX54" fmla="*/ 1934995 w 2085975"/>
                  <a:gd name="connsiteY54" fmla="*/ 1350428 h 1600200"/>
                  <a:gd name="connsiteX55" fmla="*/ 1941526 w 2085975"/>
                  <a:gd name="connsiteY55" fmla="*/ 1352489 h 1600200"/>
                  <a:gd name="connsiteX56" fmla="*/ 1947403 w 2085975"/>
                  <a:gd name="connsiteY56" fmla="*/ 1353986 h 1600200"/>
                  <a:gd name="connsiteX57" fmla="*/ 1953022 w 2085975"/>
                  <a:gd name="connsiteY57" fmla="*/ 1355070 h 1600200"/>
                  <a:gd name="connsiteX58" fmla="*/ 1960484 w 2085975"/>
                  <a:gd name="connsiteY58" fmla="*/ 1356047 h 1600200"/>
                  <a:gd name="connsiteX59" fmla="*/ 1969335 w 2085975"/>
                  <a:gd name="connsiteY59" fmla="*/ 1356653 h 1600200"/>
                  <a:gd name="connsiteX60" fmla="*/ 1978142 w 2085975"/>
                  <a:gd name="connsiteY60" fmla="*/ 1356784 h 1600200"/>
                  <a:gd name="connsiteX61" fmla="*/ 1983456 w 2085975"/>
                  <a:gd name="connsiteY61" fmla="*/ 1356589 h 1600200"/>
                  <a:gd name="connsiteX62" fmla="*/ 1984346 w 2085975"/>
                  <a:gd name="connsiteY62" fmla="*/ 1356415 h 1600200"/>
                  <a:gd name="connsiteX63" fmla="*/ 1984411 w 2085975"/>
                  <a:gd name="connsiteY63" fmla="*/ 1356675 h 1600200"/>
                  <a:gd name="connsiteX64" fmla="*/ 1984759 w 2085975"/>
                  <a:gd name="connsiteY64" fmla="*/ 1356697 h 1600200"/>
                  <a:gd name="connsiteX65" fmla="*/ 1984866 w 2085975"/>
                  <a:gd name="connsiteY65" fmla="*/ 1356458 h 1600200"/>
                  <a:gd name="connsiteX66" fmla="*/ 1993501 w 2085975"/>
                  <a:gd name="connsiteY66" fmla="*/ 1355938 h 1600200"/>
                  <a:gd name="connsiteX67" fmla="*/ 1995734 w 2085975"/>
                  <a:gd name="connsiteY67" fmla="*/ 1355612 h 1600200"/>
                  <a:gd name="connsiteX68" fmla="*/ 1995843 w 2085975"/>
                  <a:gd name="connsiteY68" fmla="*/ 1355764 h 1600200"/>
                  <a:gd name="connsiteX69" fmla="*/ 1998988 w 2085975"/>
                  <a:gd name="connsiteY69" fmla="*/ 1355504 h 1600200"/>
                  <a:gd name="connsiteX70" fmla="*/ 1998945 w 2085975"/>
                  <a:gd name="connsiteY70" fmla="*/ 1355309 h 1600200"/>
                  <a:gd name="connsiteX71" fmla="*/ 2003045 w 2085975"/>
                  <a:gd name="connsiteY71" fmla="*/ 1355027 h 1600200"/>
                  <a:gd name="connsiteX72" fmla="*/ 2003110 w 2085975"/>
                  <a:gd name="connsiteY72" fmla="*/ 1355200 h 1600200"/>
                  <a:gd name="connsiteX73" fmla="*/ 2005626 w 2085975"/>
                  <a:gd name="connsiteY73" fmla="*/ 1355005 h 1600200"/>
                  <a:gd name="connsiteX74" fmla="*/ 2006928 w 2085975"/>
                  <a:gd name="connsiteY74" fmla="*/ 1364875 h 1600200"/>
                  <a:gd name="connsiteX75" fmla="*/ 2009270 w 2085975"/>
                  <a:gd name="connsiteY75" fmla="*/ 1381991 h 1600200"/>
                  <a:gd name="connsiteX76" fmla="*/ 2008273 w 2085975"/>
                  <a:gd name="connsiteY76" fmla="*/ 1395418 h 1600200"/>
                  <a:gd name="connsiteX77" fmla="*/ 1989400 w 2085975"/>
                  <a:gd name="connsiteY77" fmla="*/ 1442187 h 1600200"/>
                  <a:gd name="connsiteX78" fmla="*/ 1818355 w 2085975"/>
                  <a:gd name="connsiteY78" fmla="*/ 1499520 h 1600200"/>
                  <a:gd name="connsiteX79" fmla="*/ 1758050 w 2085975"/>
                  <a:gd name="connsiteY79" fmla="*/ 1509911 h 1600200"/>
                  <a:gd name="connsiteX80" fmla="*/ 1466764 w 2085975"/>
                  <a:gd name="connsiteY80" fmla="*/ 1513881 h 1600200"/>
                  <a:gd name="connsiteX81" fmla="*/ 1362640 w 2085975"/>
                  <a:gd name="connsiteY81" fmla="*/ 1595162 h 1600200"/>
                  <a:gd name="connsiteX82" fmla="*/ 1358215 w 2085975"/>
                  <a:gd name="connsiteY82" fmla="*/ 1598394 h 1600200"/>
                  <a:gd name="connsiteX83" fmla="*/ 1342661 w 2085975"/>
                  <a:gd name="connsiteY83" fmla="*/ 1587960 h 1600200"/>
                  <a:gd name="connsiteX84" fmla="*/ 1321641 w 2085975"/>
                  <a:gd name="connsiteY84" fmla="*/ 1577396 h 1600200"/>
                  <a:gd name="connsiteX85" fmla="*/ 1261619 w 2085975"/>
                  <a:gd name="connsiteY85" fmla="*/ 1552298 h 1600200"/>
                  <a:gd name="connsiteX86" fmla="*/ 1154262 w 2085975"/>
                  <a:gd name="connsiteY86" fmla="*/ 1508024 h 1600200"/>
                  <a:gd name="connsiteX87" fmla="*/ 1052937 w 2085975"/>
                  <a:gd name="connsiteY87" fmla="*/ 1465897 h 1600200"/>
                  <a:gd name="connsiteX88" fmla="*/ 960722 w 2085975"/>
                  <a:gd name="connsiteY88" fmla="*/ 1427566 h 1600200"/>
                  <a:gd name="connsiteX89" fmla="*/ 948140 w 2085975"/>
                  <a:gd name="connsiteY89" fmla="*/ 1422317 h 1600200"/>
                  <a:gd name="connsiteX90" fmla="*/ 938357 w 2085975"/>
                  <a:gd name="connsiteY90" fmla="*/ 1417111 h 1600200"/>
                  <a:gd name="connsiteX91" fmla="*/ 928812 w 2085975"/>
                  <a:gd name="connsiteY91" fmla="*/ 1410299 h 1600200"/>
                  <a:gd name="connsiteX92" fmla="*/ 901893 w 2085975"/>
                  <a:gd name="connsiteY92" fmla="*/ 1384225 h 1600200"/>
                  <a:gd name="connsiteX93" fmla="*/ 808550 w 2085975"/>
                  <a:gd name="connsiteY93" fmla="*/ 1292465 h 1600200"/>
                  <a:gd name="connsiteX94" fmla="*/ 801088 w 2085975"/>
                  <a:gd name="connsiteY94" fmla="*/ 1286652 h 1600200"/>
                  <a:gd name="connsiteX95" fmla="*/ 793799 w 2085975"/>
                  <a:gd name="connsiteY95" fmla="*/ 1282227 h 1600200"/>
                  <a:gd name="connsiteX96" fmla="*/ 781651 w 2085975"/>
                  <a:gd name="connsiteY96" fmla="*/ 1274808 h 1600200"/>
                  <a:gd name="connsiteX97" fmla="*/ 773322 w 2085975"/>
                  <a:gd name="connsiteY97" fmla="*/ 1271208 h 1600200"/>
                  <a:gd name="connsiteX98" fmla="*/ 729785 w 2085975"/>
                  <a:gd name="connsiteY98" fmla="*/ 1253138 h 1600200"/>
                  <a:gd name="connsiteX99" fmla="*/ 570431 w 2085975"/>
                  <a:gd name="connsiteY99" fmla="*/ 1187951 h 1600200"/>
                  <a:gd name="connsiteX100" fmla="*/ 373833 w 2085975"/>
                  <a:gd name="connsiteY100" fmla="*/ 1107429 h 1600200"/>
                  <a:gd name="connsiteX101" fmla="*/ 279514 w 2085975"/>
                  <a:gd name="connsiteY101" fmla="*/ 1070335 h 1600200"/>
                  <a:gd name="connsiteX102" fmla="*/ 165195 w 2085975"/>
                  <a:gd name="connsiteY102" fmla="*/ 1025388 h 1600200"/>
                  <a:gd name="connsiteX103" fmla="*/ 61223 w 2085975"/>
                  <a:gd name="connsiteY103" fmla="*/ 984976 h 1600200"/>
                  <a:gd name="connsiteX104" fmla="*/ 46537 w 2085975"/>
                  <a:gd name="connsiteY104" fmla="*/ 978120 h 1600200"/>
                  <a:gd name="connsiteX105" fmla="*/ 34671 w 2085975"/>
                  <a:gd name="connsiteY105" fmla="*/ 971396 h 1600200"/>
                  <a:gd name="connsiteX106" fmla="*/ 25517 w 2085975"/>
                  <a:gd name="connsiteY106" fmla="*/ 964432 h 1600200"/>
                  <a:gd name="connsiteX107" fmla="*/ 17469 w 2085975"/>
                  <a:gd name="connsiteY107" fmla="*/ 956038 h 1600200"/>
                  <a:gd name="connsiteX108" fmla="*/ 12936 w 2085975"/>
                  <a:gd name="connsiteY108" fmla="*/ 949638 h 1600200"/>
                  <a:gd name="connsiteX109" fmla="*/ 9399 w 2085975"/>
                  <a:gd name="connsiteY109" fmla="*/ 941243 h 1600200"/>
                  <a:gd name="connsiteX110" fmla="*/ 7144 w 2085975"/>
                  <a:gd name="connsiteY110" fmla="*/ 926297 h 1600200"/>
                  <a:gd name="connsiteX111" fmla="*/ 8575 w 2085975"/>
                  <a:gd name="connsiteY111" fmla="*/ 915972 h 1600200"/>
                  <a:gd name="connsiteX112" fmla="*/ 12783 w 2085975"/>
                  <a:gd name="connsiteY112" fmla="*/ 901871 h 1600200"/>
                  <a:gd name="connsiteX113" fmla="*/ 20940 w 2085975"/>
                  <a:gd name="connsiteY113" fmla="*/ 872413 h 1600200"/>
                  <a:gd name="connsiteX114" fmla="*/ 42849 w 2085975"/>
                  <a:gd name="connsiteY114" fmla="*/ 796338 h 1600200"/>
                  <a:gd name="connsiteX115" fmla="*/ 75409 w 2085975"/>
                  <a:gd name="connsiteY115" fmla="*/ 680499 h 1600200"/>
                  <a:gd name="connsiteX116" fmla="*/ 86061 w 2085975"/>
                  <a:gd name="connsiteY116" fmla="*/ 640282 h 1600200"/>
                  <a:gd name="connsiteX117" fmla="*/ 88230 w 2085975"/>
                  <a:gd name="connsiteY117" fmla="*/ 629414 h 1600200"/>
                  <a:gd name="connsiteX118" fmla="*/ 88707 w 2085975"/>
                  <a:gd name="connsiteY118" fmla="*/ 615900 h 1600200"/>
                  <a:gd name="connsiteX119" fmla="*/ 88057 w 2085975"/>
                  <a:gd name="connsiteY119" fmla="*/ 604229 h 1600200"/>
                  <a:gd name="connsiteX120" fmla="*/ 86994 w 2085975"/>
                  <a:gd name="connsiteY120" fmla="*/ 593296 h 1600200"/>
                  <a:gd name="connsiteX121" fmla="*/ 84022 w 2085975"/>
                  <a:gd name="connsiteY121" fmla="*/ 576897 h 1600200"/>
                  <a:gd name="connsiteX122" fmla="*/ 76776 w 2085975"/>
                  <a:gd name="connsiteY122" fmla="*/ 554120 h 1600200"/>
                  <a:gd name="connsiteX123" fmla="*/ 65562 w 2085975"/>
                  <a:gd name="connsiteY123" fmla="*/ 529759 h 1600200"/>
                  <a:gd name="connsiteX124" fmla="*/ 53782 w 2085975"/>
                  <a:gd name="connsiteY124" fmla="*/ 511147 h 1600200"/>
                  <a:gd name="connsiteX125" fmla="*/ 41808 w 2085975"/>
                  <a:gd name="connsiteY125" fmla="*/ 495593 h 1600200"/>
                  <a:gd name="connsiteX126" fmla="*/ 59640 w 2085975"/>
                  <a:gd name="connsiteY126" fmla="*/ 490929 h 1600200"/>
                  <a:gd name="connsiteX127" fmla="*/ 100161 w 2085975"/>
                  <a:gd name="connsiteY127" fmla="*/ 461622 h 1600200"/>
                  <a:gd name="connsiteX128" fmla="*/ 99163 w 2085975"/>
                  <a:gd name="connsiteY128" fmla="*/ 426676 h 1600200"/>
                  <a:gd name="connsiteX129" fmla="*/ 97167 w 2085975"/>
                  <a:gd name="connsiteY129" fmla="*/ 367499 h 1600200"/>
                  <a:gd name="connsiteX130" fmla="*/ 96430 w 2085975"/>
                  <a:gd name="connsiteY130" fmla="*/ 357759 h 1600200"/>
                  <a:gd name="connsiteX131" fmla="*/ 96235 w 2085975"/>
                  <a:gd name="connsiteY131" fmla="*/ 351187 h 1600200"/>
                  <a:gd name="connsiteX132" fmla="*/ 86950 w 2085975"/>
                  <a:gd name="connsiteY132" fmla="*/ 291207 h 1600200"/>
                  <a:gd name="connsiteX133" fmla="*/ 83219 w 2085975"/>
                  <a:gd name="connsiteY133" fmla="*/ 279926 h 1600200"/>
                  <a:gd name="connsiteX134" fmla="*/ 82243 w 2085975"/>
                  <a:gd name="connsiteY134" fmla="*/ 274655 h 1600200"/>
                  <a:gd name="connsiteX135" fmla="*/ 75887 w 2085975"/>
                  <a:gd name="connsiteY135" fmla="*/ 239926 h 1600200"/>
                  <a:gd name="connsiteX136" fmla="*/ 76798 w 2085975"/>
                  <a:gd name="connsiteY136" fmla="*/ 209513 h 1600200"/>
                  <a:gd name="connsiteX137" fmla="*/ 75974 w 2085975"/>
                  <a:gd name="connsiteY137" fmla="*/ 160618 h 1600200"/>
                  <a:gd name="connsiteX138" fmla="*/ 75995 w 2085975"/>
                  <a:gd name="connsiteY138" fmla="*/ 142744 h 1600200"/>
                  <a:gd name="connsiteX139" fmla="*/ 75496 w 2085975"/>
                  <a:gd name="connsiteY139" fmla="*/ 131398 h 1600200"/>
                  <a:gd name="connsiteX140" fmla="*/ 73110 w 2085975"/>
                  <a:gd name="connsiteY140" fmla="*/ 99532 h 1600200"/>
                  <a:gd name="connsiteX141" fmla="*/ 72894 w 2085975"/>
                  <a:gd name="connsiteY141" fmla="*/ 89142 h 1600200"/>
                  <a:gd name="connsiteX142" fmla="*/ 72677 w 2085975"/>
                  <a:gd name="connsiteY142" fmla="*/ 87255 h 1600200"/>
                  <a:gd name="connsiteX143" fmla="*/ 71831 w 2085975"/>
                  <a:gd name="connsiteY143" fmla="*/ 85606 h 1600200"/>
                  <a:gd name="connsiteX144" fmla="*/ 70269 w 2085975"/>
                  <a:gd name="connsiteY144" fmla="*/ 83892 h 1600200"/>
                  <a:gd name="connsiteX145" fmla="*/ 66928 w 2085975"/>
                  <a:gd name="connsiteY145" fmla="*/ 81571 h 1600200"/>
                  <a:gd name="connsiteX146" fmla="*/ 64520 w 2085975"/>
                  <a:gd name="connsiteY146" fmla="*/ 80855 h 1600200"/>
                  <a:gd name="connsiteX147" fmla="*/ 81983 w 2085975"/>
                  <a:gd name="connsiteY147" fmla="*/ 30529 h 1600200"/>
                  <a:gd name="connsiteX148" fmla="*/ 105367 w 2085975"/>
                  <a:gd name="connsiteY148" fmla="*/ 36949 h 1600200"/>
                  <a:gd name="connsiteX149" fmla="*/ 115107 w 2085975"/>
                  <a:gd name="connsiteY149" fmla="*/ 8597 h 1600200"/>
                  <a:gd name="connsiteX150" fmla="*/ 222419 w 2085975"/>
                  <a:gd name="connsiteY150" fmla="*/ 22133 h 1600200"/>
                  <a:gd name="connsiteX151" fmla="*/ 236433 w 2085975"/>
                  <a:gd name="connsiteY151" fmla="*/ 23435 h 1600200"/>
                  <a:gd name="connsiteX152" fmla="*/ 279796 w 2085975"/>
                  <a:gd name="connsiteY152" fmla="*/ 29140 h 1600200"/>
                  <a:gd name="connsiteX153" fmla="*/ 312551 w 2085975"/>
                  <a:gd name="connsiteY153" fmla="*/ 34715 h 1600200"/>
                  <a:gd name="connsiteX154" fmla="*/ 319189 w 2085975"/>
                  <a:gd name="connsiteY154" fmla="*/ 36234 h 1600200"/>
                  <a:gd name="connsiteX155" fmla="*/ 363095 w 2085975"/>
                  <a:gd name="connsiteY155" fmla="*/ 48208 h 1600200"/>
                  <a:gd name="connsiteX156" fmla="*/ 357715 w 2085975"/>
                  <a:gd name="connsiteY156" fmla="*/ 52047 h 1600200"/>
                  <a:gd name="connsiteX157" fmla="*/ 354483 w 2085975"/>
                  <a:gd name="connsiteY157" fmla="*/ 55692 h 1600200"/>
                  <a:gd name="connsiteX158" fmla="*/ 352726 w 2085975"/>
                  <a:gd name="connsiteY158" fmla="*/ 58621 h 1600200"/>
                  <a:gd name="connsiteX159" fmla="*/ 351880 w 2085975"/>
                  <a:gd name="connsiteY159" fmla="*/ 60008 h 1600200"/>
                  <a:gd name="connsiteX160" fmla="*/ 351077 w 2085975"/>
                  <a:gd name="connsiteY160" fmla="*/ 62698 h 1600200"/>
                  <a:gd name="connsiteX161" fmla="*/ 349668 w 2085975"/>
                  <a:gd name="connsiteY161" fmla="*/ 70269 h 1600200"/>
                  <a:gd name="connsiteX162" fmla="*/ 400819 w 2085975"/>
                  <a:gd name="connsiteY162" fmla="*/ 125541 h 1600200"/>
                  <a:gd name="connsiteX163" fmla="*/ 444616 w 2085975"/>
                  <a:gd name="connsiteY163" fmla="*/ 32242 h 1600200"/>
                  <a:gd name="connsiteX164" fmla="*/ 828659 w 2085975"/>
                  <a:gd name="connsiteY164" fmla="*/ 31895 h 1600200"/>
                  <a:gd name="connsiteX165" fmla="*/ 835492 w 2085975"/>
                  <a:gd name="connsiteY165" fmla="*/ 31332 h 1600200"/>
                  <a:gd name="connsiteX166" fmla="*/ 851913 w 2085975"/>
                  <a:gd name="connsiteY166" fmla="*/ 29075 h 1600200"/>
                  <a:gd name="connsiteX167" fmla="*/ 875991 w 2085975"/>
                  <a:gd name="connsiteY167" fmla="*/ 27361 h 1600200"/>
                  <a:gd name="connsiteX168" fmla="*/ 884691 w 2085975"/>
                  <a:gd name="connsiteY168" fmla="*/ 27665 h 1600200"/>
                  <a:gd name="connsiteX169" fmla="*/ 890005 w 2085975"/>
                  <a:gd name="connsiteY169" fmla="*/ 27513 h 1600200"/>
                  <a:gd name="connsiteX170" fmla="*/ 893584 w 2085975"/>
                  <a:gd name="connsiteY170" fmla="*/ 26906 h 1600200"/>
                  <a:gd name="connsiteX171" fmla="*/ 899008 w 2085975"/>
                  <a:gd name="connsiteY171" fmla="*/ 25843 h 1600200"/>
                  <a:gd name="connsiteX172" fmla="*/ 906513 w 2085975"/>
                  <a:gd name="connsiteY172" fmla="*/ 23695 h 1600200"/>
                  <a:gd name="connsiteX173" fmla="*/ 916817 w 2085975"/>
                  <a:gd name="connsiteY173" fmla="*/ 19704 h 1600200"/>
                  <a:gd name="connsiteX174" fmla="*/ 930028 w 2085975"/>
                  <a:gd name="connsiteY174" fmla="*/ 14064 h 1600200"/>
                  <a:gd name="connsiteX175" fmla="*/ 941742 w 2085975"/>
                  <a:gd name="connsiteY175" fmla="*/ 10528 h 1600200"/>
                  <a:gd name="connsiteX176" fmla="*/ 948792 w 2085975"/>
                  <a:gd name="connsiteY176" fmla="*/ 8966 h 1600200"/>
                  <a:gd name="connsiteX177" fmla="*/ 957230 w 2085975"/>
                  <a:gd name="connsiteY177" fmla="*/ 7773 h 1600200"/>
                  <a:gd name="connsiteX178" fmla="*/ 963087 w 2085975"/>
                  <a:gd name="connsiteY178" fmla="*/ 7318 h 1600200"/>
                  <a:gd name="connsiteX179" fmla="*/ 968119 w 2085975"/>
                  <a:gd name="connsiteY179" fmla="*/ 7144 h 1600200"/>
                  <a:gd name="connsiteX180" fmla="*/ 974042 w 2085975"/>
                  <a:gd name="connsiteY180" fmla="*/ 7209 h 1600200"/>
                  <a:gd name="connsiteX181" fmla="*/ 981743 w 2085975"/>
                  <a:gd name="connsiteY181" fmla="*/ 7709 h 1600200"/>
                  <a:gd name="connsiteX182" fmla="*/ 990592 w 2085975"/>
                  <a:gd name="connsiteY182" fmla="*/ 8923 h 1600200"/>
                  <a:gd name="connsiteX183" fmla="*/ 995951 w 2085975"/>
                  <a:gd name="connsiteY183" fmla="*/ 10095 h 1600200"/>
                  <a:gd name="connsiteX184" fmla="*/ 1001265 w 2085975"/>
                  <a:gd name="connsiteY184" fmla="*/ 11526 h 1600200"/>
                  <a:gd name="connsiteX185" fmla="*/ 1007535 w 2085975"/>
                  <a:gd name="connsiteY185" fmla="*/ 13566 h 1600200"/>
                  <a:gd name="connsiteX186" fmla="*/ 1011547 w 2085975"/>
                  <a:gd name="connsiteY186" fmla="*/ 15084 h 1600200"/>
                  <a:gd name="connsiteX187" fmla="*/ 1015517 w 2085975"/>
                  <a:gd name="connsiteY187" fmla="*/ 17079 h 1600200"/>
                  <a:gd name="connsiteX188" fmla="*/ 1016754 w 2085975"/>
                  <a:gd name="connsiteY188" fmla="*/ 19119 h 1600200"/>
                  <a:gd name="connsiteX189" fmla="*/ 1021982 w 2085975"/>
                  <a:gd name="connsiteY189" fmla="*/ 22026 h 1600200"/>
                  <a:gd name="connsiteX190" fmla="*/ 1027708 w 2085975"/>
                  <a:gd name="connsiteY190" fmla="*/ 25995 h 1600200"/>
                  <a:gd name="connsiteX191" fmla="*/ 1031939 w 2085975"/>
                  <a:gd name="connsiteY191" fmla="*/ 29834 h 1600200"/>
                  <a:gd name="connsiteX192" fmla="*/ 1034888 w 2085975"/>
                  <a:gd name="connsiteY192" fmla="*/ 33197 h 1600200"/>
                  <a:gd name="connsiteX193" fmla="*/ 1036668 w 2085975"/>
                  <a:gd name="connsiteY193" fmla="*/ 35735 h 1600200"/>
                  <a:gd name="connsiteX194" fmla="*/ 1039748 w 2085975"/>
                  <a:gd name="connsiteY194" fmla="*/ 41353 h 1600200"/>
                  <a:gd name="connsiteX195" fmla="*/ 1046191 w 2085975"/>
                  <a:gd name="connsiteY195" fmla="*/ 56429 h 1600200"/>
                  <a:gd name="connsiteX196" fmla="*/ 1050508 w 2085975"/>
                  <a:gd name="connsiteY196" fmla="*/ 65084 h 1600200"/>
                  <a:gd name="connsiteX197" fmla="*/ 1053349 w 2085975"/>
                  <a:gd name="connsiteY197" fmla="*/ 70226 h 1600200"/>
                  <a:gd name="connsiteX198" fmla="*/ 1060551 w 2085975"/>
                  <a:gd name="connsiteY198" fmla="*/ 81962 h 1600200"/>
                  <a:gd name="connsiteX199" fmla="*/ 1064325 w 2085975"/>
                  <a:gd name="connsiteY199" fmla="*/ 87515 h 1600200"/>
                  <a:gd name="connsiteX200" fmla="*/ 1073176 w 2085975"/>
                  <a:gd name="connsiteY200" fmla="*/ 99337 h 1600200"/>
                  <a:gd name="connsiteX201" fmla="*/ 1077558 w 2085975"/>
                  <a:gd name="connsiteY201" fmla="*/ 104630 h 1600200"/>
                  <a:gd name="connsiteX202" fmla="*/ 1082395 w 2085975"/>
                  <a:gd name="connsiteY202" fmla="*/ 110161 h 1600200"/>
                  <a:gd name="connsiteX203" fmla="*/ 1091007 w 2085975"/>
                  <a:gd name="connsiteY203" fmla="*/ 119272 h 1600200"/>
                  <a:gd name="connsiteX204" fmla="*/ 1094153 w 2085975"/>
                  <a:gd name="connsiteY204" fmla="*/ 122157 h 1600200"/>
                  <a:gd name="connsiteX205" fmla="*/ 1095867 w 2085975"/>
                  <a:gd name="connsiteY205" fmla="*/ 123112 h 1600200"/>
                  <a:gd name="connsiteX206" fmla="*/ 1099077 w 2085975"/>
                  <a:gd name="connsiteY206" fmla="*/ 125628 h 1600200"/>
                  <a:gd name="connsiteX207" fmla="*/ 1101571 w 2085975"/>
                  <a:gd name="connsiteY207" fmla="*/ 127993 h 1600200"/>
                  <a:gd name="connsiteX208" fmla="*/ 1104088 w 2085975"/>
                  <a:gd name="connsiteY208" fmla="*/ 131052 h 1600200"/>
                  <a:gd name="connsiteX209" fmla="*/ 1106604 w 2085975"/>
                  <a:gd name="connsiteY209" fmla="*/ 132266 h 1600200"/>
                  <a:gd name="connsiteX210" fmla="*/ 1112483 w 2085975"/>
                  <a:gd name="connsiteY210" fmla="*/ 132049 h 1600200"/>
                  <a:gd name="connsiteX211" fmla="*/ 1114197 w 2085975"/>
                  <a:gd name="connsiteY211" fmla="*/ 131356 h 1600200"/>
                  <a:gd name="connsiteX212" fmla="*/ 1116626 w 2085975"/>
                  <a:gd name="connsiteY212" fmla="*/ 133784 h 1600200"/>
                  <a:gd name="connsiteX213" fmla="*/ 1141963 w 2085975"/>
                  <a:gd name="connsiteY213" fmla="*/ 124001 h 1600200"/>
                  <a:gd name="connsiteX214" fmla="*/ 1146388 w 2085975"/>
                  <a:gd name="connsiteY214" fmla="*/ 121702 h 1600200"/>
                  <a:gd name="connsiteX215" fmla="*/ 1152028 w 2085975"/>
                  <a:gd name="connsiteY215" fmla="*/ 119533 h 1600200"/>
                  <a:gd name="connsiteX216" fmla="*/ 1157560 w 2085975"/>
                  <a:gd name="connsiteY216" fmla="*/ 117840 h 1600200"/>
                  <a:gd name="connsiteX217" fmla="*/ 1172202 w 2085975"/>
                  <a:gd name="connsiteY217" fmla="*/ 112309 h 1600200"/>
                  <a:gd name="connsiteX218" fmla="*/ 1177039 w 2085975"/>
                  <a:gd name="connsiteY218" fmla="*/ 116517 h 1600200"/>
                  <a:gd name="connsiteX219" fmla="*/ 1181443 w 2085975"/>
                  <a:gd name="connsiteY219" fmla="*/ 114609 h 1600200"/>
                  <a:gd name="connsiteX220" fmla="*/ 1184740 w 2085975"/>
                  <a:gd name="connsiteY220" fmla="*/ 117385 h 1600200"/>
                  <a:gd name="connsiteX221" fmla="*/ 1186801 w 2085975"/>
                  <a:gd name="connsiteY221" fmla="*/ 119424 h 1600200"/>
                  <a:gd name="connsiteX222" fmla="*/ 1188775 w 2085975"/>
                  <a:gd name="connsiteY222" fmla="*/ 121789 h 1600200"/>
                  <a:gd name="connsiteX223" fmla="*/ 1193287 w 2085975"/>
                  <a:gd name="connsiteY223" fmla="*/ 125823 h 1600200"/>
                  <a:gd name="connsiteX224" fmla="*/ 1195283 w 2085975"/>
                  <a:gd name="connsiteY224" fmla="*/ 124999 h 1600200"/>
                  <a:gd name="connsiteX225" fmla="*/ 1196259 w 2085975"/>
                  <a:gd name="connsiteY225" fmla="*/ 126084 h 1600200"/>
                  <a:gd name="connsiteX226" fmla="*/ 1201292 w 2085975"/>
                  <a:gd name="connsiteY226" fmla="*/ 130921 h 1600200"/>
                  <a:gd name="connsiteX227" fmla="*/ 1204285 w 2085975"/>
                  <a:gd name="connsiteY227" fmla="*/ 133286 h 1600200"/>
                  <a:gd name="connsiteX228" fmla="*/ 1216564 w 2085975"/>
                  <a:gd name="connsiteY228" fmla="*/ 141920 h 1600200"/>
                  <a:gd name="connsiteX229" fmla="*/ 1221813 w 2085975"/>
                  <a:gd name="connsiteY229" fmla="*/ 145282 h 1600200"/>
                  <a:gd name="connsiteX230" fmla="*/ 1241791 w 2085975"/>
                  <a:gd name="connsiteY230" fmla="*/ 156692 h 1600200"/>
                  <a:gd name="connsiteX231" fmla="*/ 1249232 w 2085975"/>
                  <a:gd name="connsiteY231" fmla="*/ 160510 h 1600200"/>
                  <a:gd name="connsiteX232" fmla="*/ 1256954 w 2085975"/>
                  <a:gd name="connsiteY232" fmla="*/ 164176 h 1600200"/>
                  <a:gd name="connsiteX233" fmla="*/ 1269775 w 2085975"/>
                  <a:gd name="connsiteY233" fmla="*/ 169599 h 1600200"/>
                  <a:gd name="connsiteX234" fmla="*/ 1284092 w 2085975"/>
                  <a:gd name="connsiteY234" fmla="*/ 175109 h 1600200"/>
                  <a:gd name="connsiteX235" fmla="*/ 1298040 w 2085975"/>
                  <a:gd name="connsiteY235" fmla="*/ 179990 h 1600200"/>
                  <a:gd name="connsiteX236" fmla="*/ 1304417 w 2085975"/>
                  <a:gd name="connsiteY236" fmla="*/ 181964 h 1600200"/>
                  <a:gd name="connsiteX237" fmla="*/ 1315025 w 2085975"/>
                  <a:gd name="connsiteY237" fmla="*/ 184740 h 1600200"/>
                  <a:gd name="connsiteX238" fmla="*/ 1320101 w 2085975"/>
                  <a:gd name="connsiteY238" fmla="*/ 185868 h 1600200"/>
                  <a:gd name="connsiteX239" fmla="*/ 1326175 w 2085975"/>
                  <a:gd name="connsiteY239" fmla="*/ 187083 h 1600200"/>
                  <a:gd name="connsiteX240" fmla="*/ 1337672 w 2085975"/>
                  <a:gd name="connsiteY240" fmla="*/ 188732 h 1600200"/>
                  <a:gd name="connsiteX241" fmla="*/ 1365699 w 2085975"/>
                  <a:gd name="connsiteY241" fmla="*/ 189057 h 1600200"/>
                  <a:gd name="connsiteX242" fmla="*/ 1394181 w 2085975"/>
                  <a:gd name="connsiteY242" fmla="*/ 189101 h 1600200"/>
                  <a:gd name="connsiteX243" fmla="*/ 1702843 w 2085975"/>
                  <a:gd name="connsiteY243" fmla="*/ 188797 h 1600200"/>
                  <a:gd name="connsiteX244" fmla="*/ 1716770 w 2085975"/>
                  <a:gd name="connsiteY244" fmla="*/ 188471 h 1600200"/>
                  <a:gd name="connsiteX245" fmla="*/ 1730805 w 2085975"/>
                  <a:gd name="connsiteY245" fmla="*/ 187539 h 1600200"/>
                  <a:gd name="connsiteX246" fmla="*/ 1744275 w 2085975"/>
                  <a:gd name="connsiteY246" fmla="*/ 185977 h 1600200"/>
                  <a:gd name="connsiteX247" fmla="*/ 1755664 w 2085975"/>
                  <a:gd name="connsiteY247" fmla="*/ 184133 h 1600200"/>
                  <a:gd name="connsiteX248" fmla="*/ 1757400 w 2085975"/>
                  <a:gd name="connsiteY248" fmla="*/ 182680 h 1600200"/>
                  <a:gd name="connsiteX249" fmla="*/ 1758528 w 2085975"/>
                  <a:gd name="connsiteY249" fmla="*/ 179795 h 1600200"/>
                  <a:gd name="connsiteX250" fmla="*/ 1758506 w 2085975"/>
                  <a:gd name="connsiteY250" fmla="*/ 170532 h 1600200"/>
                  <a:gd name="connsiteX251" fmla="*/ 1759590 w 2085975"/>
                  <a:gd name="connsiteY251" fmla="*/ 164870 h 1600200"/>
                  <a:gd name="connsiteX252" fmla="*/ 1760307 w 2085975"/>
                  <a:gd name="connsiteY252" fmla="*/ 148123 h 1600200"/>
                  <a:gd name="connsiteX253" fmla="*/ 1762107 w 2085975"/>
                  <a:gd name="connsiteY253" fmla="*/ 121073 h 1600200"/>
                  <a:gd name="connsiteX254" fmla="*/ 1763213 w 2085975"/>
                  <a:gd name="connsiteY254" fmla="*/ 112331 h 1600200"/>
                  <a:gd name="connsiteX255" fmla="*/ 1770632 w 2085975"/>
                  <a:gd name="connsiteY255" fmla="*/ 112287 h 1600200"/>
                  <a:gd name="connsiteX256" fmla="*/ 1796099 w 2085975"/>
                  <a:gd name="connsiteY256" fmla="*/ 112157 h 1600200"/>
                  <a:gd name="connsiteX257" fmla="*/ 1808680 w 2085975"/>
                  <a:gd name="connsiteY257" fmla="*/ 112352 h 1600200"/>
                  <a:gd name="connsiteX258" fmla="*/ 1829549 w 2085975"/>
                  <a:gd name="connsiteY258" fmla="*/ 96279 h 1600200"/>
                  <a:gd name="connsiteX259" fmla="*/ 1843345 w 2085975"/>
                  <a:gd name="connsiteY259" fmla="*/ 100443 h 1600200"/>
                  <a:gd name="connsiteX260" fmla="*/ 1844191 w 2085975"/>
                  <a:gd name="connsiteY260" fmla="*/ 104326 h 1600200"/>
                  <a:gd name="connsiteX261" fmla="*/ 1861805 w 2085975"/>
                  <a:gd name="connsiteY261" fmla="*/ 109879 h 1600200"/>
                  <a:gd name="connsiteX262" fmla="*/ 1892652 w 2085975"/>
                  <a:gd name="connsiteY262" fmla="*/ 119924 h 1600200"/>
                  <a:gd name="connsiteX263" fmla="*/ 1885971 w 2085975"/>
                  <a:gd name="connsiteY263" fmla="*/ 125477 h 1600200"/>
                  <a:gd name="connsiteX264" fmla="*/ 1868834 w 2085975"/>
                  <a:gd name="connsiteY264" fmla="*/ 138861 h 1600200"/>
                  <a:gd name="connsiteX265" fmla="*/ 1878010 w 2085975"/>
                  <a:gd name="connsiteY265" fmla="*/ 134262 h 1600200"/>
                  <a:gd name="connsiteX266" fmla="*/ 1889030 w 2085975"/>
                  <a:gd name="connsiteY266" fmla="*/ 129490 h 1600200"/>
                  <a:gd name="connsiteX267" fmla="*/ 1895754 w 2085975"/>
                  <a:gd name="connsiteY267" fmla="*/ 126908 h 1600200"/>
                  <a:gd name="connsiteX268" fmla="*/ 1903108 w 2085975"/>
                  <a:gd name="connsiteY268" fmla="*/ 124305 h 1600200"/>
                  <a:gd name="connsiteX269" fmla="*/ 1905993 w 2085975"/>
                  <a:gd name="connsiteY269" fmla="*/ 123568 h 1600200"/>
                  <a:gd name="connsiteX270" fmla="*/ 1908900 w 2085975"/>
                  <a:gd name="connsiteY270" fmla="*/ 123199 h 1600200"/>
                  <a:gd name="connsiteX271" fmla="*/ 1918379 w 2085975"/>
                  <a:gd name="connsiteY271" fmla="*/ 120422 h 1600200"/>
                  <a:gd name="connsiteX272" fmla="*/ 1925342 w 2085975"/>
                  <a:gd name="connsiteY272" fmla="*/ 118687 h 1600200"/>
                  <a:gd name="connsiteX273" fmla="*/ 1934367 w 2085975"/>
                  <a:gd name="connsiteY273" fmla="*/ 116713 h 1600200"/>
                  <a:gd name="connsiteX274" fmla="*/ 1940961 w 2085975"/>
                  <a:gd name="connsiteY274" fmla="*/ 116149 h 1600200"/>
                  <a:gd name="connsiteX275" fmla="*/ 1948055 w 2085975"/>
                  <a:gd name="connsiteY275" fmla="*/ 115151 h 1600200"/>
                  <a:gd name="connsiteX276" fmla="*/ 1946211 w 2085975"/>
                  <a:gd name="connsiteY276" fmla="*/ 122938 h 1600200"/>
                  <a:gd name="connsiteX277" fmla="*/ 1944931 w 2085975"/>
                  <a:gd name="connsiteY277" fmla="*/ 130271 h 1600200"/>
                  <a:gd name="connsiteX278" fmla="*/ 1943912 w 2085975"/>
                  <a:gd name="connsiteY278" fmla="*/ 140488 h 1600200"/>
                  <a:gd name="connsiteX279" fmla="*/ 1943694 w 2085975"/>
                  <a:gd name="connsiteY279" fmla="*/ 149859 h 1600200"/>
                  <a:gd name="connsiteX280" fmla="*/ 1949205 w 2085975"/>
                  <a:gd name="connsiteY280" fmla="*/ 254091 h 1600200"/>
                  <a:gd name="connsiteX281" fmla="*/ 1955560 w 2085975"/>
                  <a:gd name="connsiteY281" fmla="*/ 254091 h 1600200"/>
                  <a:gd name="connsiteX282" fmla="*/ 1955517 w 2085975"/>
                  <a:gd name="connsiteY282" fmla="*/ 253636 h 1600200"/>
                  <a:gd name="connsiteX283" fmla="*/ 1956059 w 2085975"/>
                  <a:gd name="connsiteY283" fmla="*/ 253636 h 1600200"/>
                  <a:gd name="connsiteX284" fmla="*/ 1956103 w 2085975"/>
                  <a:gd name="connsiteY284" fmla="*/ 257193 h 1600200"/>
                  <a:gd name="connsiteX285" fmla="*/ 1955560 w 2085975"/>
                  <a:gd name="connsiteY285" fmla="*/ 257171 h 1600200"/>
                  <a:gd name="connsiteX286" fmla="*/ 1955755 w 2085975"/>
                  <a:gd name="connsiteY286" fmla="*/ 262985 h 1600200"/>
                  <a:gd name="connsiteX287" fmla="*/ 1957665 w 2085975"/>
                  <a:gd name="connsiteY287" fmla="*/ 296977 h 1600200"/>
                  <a:gd name="connsiteX288" fmla="*/ 1957057 w 2085975"/>
                  <a:gd name="connsiteY288" fmla="*/ 308647 h 1600200"/>
                  <a:gd name="connsiteX289" fmla="*/ 1958467 w 2085975"/>
                  <a:gd name="connsiteY289" fmla="*/ 335503 h 1600200"/>
                  <a:gd name="connsiteX290" fmla="*/ 1958792 w 2085975"/>
                  <a:gd name="connsiteY290" fmla="*/ 335590 h 1600200"/>
                  <a:gd name="connsiteX291" fmla="*/ 1958792 w 2085975"/>
                  <a:gd name="connsiteY291" fmla="*/ 336327 h 1600200"/>
                  <a:gd name="connsiteX292" fmla="*/ 1953717 w 2085975"/>
                  <a:gd name="connsiteY292" fmla="*/ 336435 h 1600200"/>
                  <a:gd name="connsiteX293" fmla="*/ 1939702 w 2085975"/>
                  <a:gd name="connsiteY293" fmla="*/ 336739 h 1600200"/>
                  <a:gd name="connsiteX294" fmla="*/ 1925842 w 2085975"/>
                  <a:gd name="connsiteY294" fmla="*/ 336479 h 1600200"/>
                  <a:gd name="connsiteX295" fmla="*/ 1850829 w 2085975"/>
                  <a:gd name="connsiteY295" fmla="*/ 337889 h 1600200"/>
                  <a:gd name="connsiteX296" fmla="*/ 1838269 w 2085975"/>
                  <a:gd name="connsiteY296" fmla="*/ 338279 h 1600200"/>
                  <a:gd name="connsiteX297" fmla="*/ 1840525 w 2085975"/>
                  <a:gd name="connsiteY297" fmla="*/ 347607 h 1600200"/>
                  <a:gd name="connsiteX298" fmla="*/ 1841740 w 2085975"/>
                  <a:gd name="connsiteY298" fmla="*/ 347607 h 1600200"/>
                  <a:gd name="connsiteX299" fmla="*/ 1842347 w 2085975"/>
                  <a:gd name="connsiteY299" fmla="*/ 350992 h 1600200"/>
                  <a:gd name="connsiteX300" fmla="*/ 1841784 w 2085975"/>
                  <a:gd name="connsiteY300" fmla="*/ 351013 h 1600200"/>
                  <a:gd name="connsiteX301" fmla="*/ 1842672 w 2085975"/>
                  <a:gd name="connsiteY301" fmla="*/ 359430 h 1600200"/>
                  <a:gd name="connsiteX302" fmla="*/ 1842390 w 2085975"/>
                  <a:gd name="connsiteY302" fmla="*/ 359452 h 1600200"/>
                  <a:gd name="connsiteX303" fmla="*/ 1842586 w 2085975"/>
                  <a:gd name="connsiteY303" fmla="*/ 364723 h 1600200"/>
                  <a:gd name="connsiteX304" fmla="*/ 1842347 w 2085975"/>
                  <a:gd name="connsiteY304" fmla="*/ 368389 h 1600200"/>
                  <a:gd name="connsiteX305" fmla="*/ 1842694 w 2085975"/>
                  <a:gd name="connsiteY305" fmla="*/ 368389 h 1600200"/>
                  <a:gd name="connsiteX306" fmla="*/ 1842521 w 2085975"/>
                  <a:gd name="connsiteY306" fmla="*/ 369929 h 1600200"/>
                  <a:gd name="connsiteX307" fmla="*/ 1842239 w 2085975"/>
                  <a:gd name="connsiteY307" fmla="*/ 369907 h 1600200"/>
                  <a:gd name="connsiteX308" fmla="*/ 1841154 w 2085975"/>
                  <a:gd name="connsiteY308" fmla="*/ 378432 h 1600200"/>
                  <a:gd name="connsiteX309" fmla="*/ 1841480 w 2085975"/>
                  <a:gd name="connsiteY309" fmla="*/ 378454 h 1600200"/>
                  <a:gd name="connsiteX310" fmla="*/ 1841089 w 2085975"/>
                  <a:gd name="connsiteY310" fmla="*/ 380753 h 1600200"/>
                  <a:gd name="connsiteX311" fmla="*/ 1840807 w 2085975"/>
                  <a:gd name="connsiteY311" fmla="*/ 380731 h 1600200"/>
                  <a:gd name="connsiteX312" fmla="*/ 1839115 w 2085975"/>
                  <a:gd name="connsiteY312" fmla="*/ 388628 h 1600200"/>
                  <a:gd name="connsiteX313" fmla="*/ 1839310 w 2085975"/>
                  <a:gd name="connsiteY313" fmla="*/ 388650 h 1600200"/>
                  <a:gd name="connsiteX314" fmla="*/ 1838746 w 2085975"/>
                  <a:gd name="connsiteY314" fmla="*/ 390884 h 1600200"/>
                  <a:gd name="connsiteX315" fmla="*/ 1838442 w 2085975"/>
                  <a:gd name="connsiteY315" fmla="*/ 390840 h 1600200"/>
                  <a:gd name="connsiteX316" fmla="*/ 1835688 w 2085975"/>
                  <a:gd name="connsiteY316" fmla="*/ 399431 h 1600200"/>
                  <a:gd name="connsiteX317" fmla="*/ 1835536 w 2085975"/>
                  <a:gd name="connsiteY317" fmla="*/ 399409 h 1600200"/>
                  <a:gd name="connsiteX318" fmla="*/ 1834820 w 2085975"/>
                  <a:gd name="connsiteY318" fmla="*/ 401123 h 1600200"/>
                  <a:gd name="connsiteX319" fmla="*/ 1834560 w 2085975"/>
                  <a:gd name="connsiteY319" fmla="*/ 401079 h 1600200"/>
                  <a:gd name="connsiteX320" fmla="*/ 1831588 w 2085975"/>
                  <a:gd name="connsiteY320" fmla="*/ 408107 h 1600200"/>
                  <a:gd name="connsiteX321" fmla="*/ 1832000 w 2085975"/>
                  <a:gd name="connsiteY321" fmla="*/ 408194 h 1600200"/>
                  <a:gd name="connsiteX322" fmla="*/ 1831002 w 2085975"/>
                  <a:gd name="connsiteY322" fmla="*/ 410386 h 1600200"/>
                  <a:gd name="connsiteX323" fmla="*/ 1831501 w 2085975"/>
                  <a:gd name="connsiteY323" fmla="*/ 410450 h 1600200"/>
                  <a:gd name="connsiteX324" fmla="*/ 1830850 w 2085975"/>
                  <a:gd name="connsiteY324" fmla="*/ 411969 h 1600200"/>
                  <a:gd name="connsiteX325" fmla="*/ 1830459 w 2085975"/>
                  <a:gd name="connsiteY325" fmla="*/ 411904 h 1600200"/>
                  <a:gd name="connsiteX326" fmla="*/ 1827574 w 2085975"/>
                  <a:gd name="connsiteY326" fmla="*/ 418715 h 1600200"/>
                  <a:gd name="connsiteX327" fmla="*/ 1827965 w 2085975"/>
                  <a:gd name="connsiteY327" fmla="*/ 418802 h 1600200"/>
                  <a:gd name="connsiteX328" fmla="*/ 1827813 w 2085975"/>
                  <a:gd name="connsiteY328" fmla="*/ 419214 h 1600200"/>
                  <a:gd name="connsiteX329" fmla="*/ 1826035 w 2085975"/>
                  <a:gd name="connsiteY329" fmla="*/ 423292 h 1600200"/>
                  <a:gd name="connsiteX330" fmla="*/ 1825687 w 2085975"/>
                  <a:gd name="connsiteY330" fmla="*/ 423227 h 1600200"/>
                  <a:gd name="connsiteX331" fmla="*/ 1822477 w 2085975"/>
                  <a:gd name="connsiteY331" fmla="*/ 430863 h 1600200"/>
                  <a:gd name="connsiteX332" fmla="*/ 1822846 w 2085975"/>
                  <a:gd name="connsiteY332" fmla="*/ 430928 h 1600200"/>
                  <a:gd name="connsiteX333" fmla="*/ 1821002 w 2085975"/>
                  <a:gd name="connsiteY333" fmla="*/ 435375 h 1600200"/>
                  <a:gd name="connsiteX334" fmla="*/ 1820676 w 2085975"/>
                  <a:gd name="connsiteY334" fmla="*/ 435332 h 1600200"/>
                  <a:gd name="connsiteX335" fmla="*/ 1820589 w 2085975"/>
                  <a:gd name="connsiteY335" fmla="*/ 435549 h 1600200"/>
                  <a:gd name="connsiteX336" fmla="*/ 1817422 w 2085975"/>
                  <a:gd name="connsiteY336" fmla="*/ 443097 h 1600200"/>
                  <a:gd name="connsiteX337" fmla="*/ 1817791 w 2085975"/>
                  <a:gd name="connsiteY337" fmla="*/ 443163 h 1600200"/>
                  <a:gd name="connsiteX338" fmla="*/ 1815860 w 2085975"/>
                  <a:gd name="connsiteY338" fmla="*/ 447675 h 1600200"/>
                  <a:gd name="connsiteX339" fmla="*/ 1815514 w 2085975"/>
                  <a:gd name="connsiteY339" fmla="*/ 447609 h 1600200"/>
                  <a:gd name="connsiteX340" fmla="*/ 1815383 w 2085975"/>
                  <a:gd name="connsiteY340" fmla="*/ 447891 h 1600200"/>
                  <a:gd name="connsiteX341" fmla="*/ 1813323 w 2085975"/>
                  <a:gd name="connsiteY341" fmla="*/ 453206 h 1600200"/>
                  <a:gd name="connsiteX342" fmla="*/ 1813518 w 2085975"/>
                  <a:gd name="connsiteY342" fmla="*/ 453250 h 1600200"/>
                  <a:gd name="connsiteX343" fmla="*/ 1808334 w 2085975"/>
                  <a:gd name="connsiteY343" fmla="*/ 465701 h 1600200"/>
                  <a:gd name="connsiteX344" fmla="*/ 1808247 w 2085975"/>
                  <a:gd name="connsiteY344" fmla="*/ 465853 h 1600200"/>
                  <a:gd name="connsiteX345" fmla="*/ 1807835 w 2085975"/>
                  <a:gd name="connsiteY345" fmla="*/ 465788 h 1600200"/>
                  <a:gd name="connsiteX346" fmla="*/ 1807162 w 2085975"/>
                  <a:gd name="connsiteY346" fmla="*/ 467393 h 1600200"/>
                  <a:gd name="connsiteX347" fmla="*/ 1806902 w 2085975"/>
                  <a:gd name="connsiteY347" fmla="*/ 467350 h 1600200"/>
                  <a:gd name="connsiteX348" fmla="*/ 1805014 w 2085975"/>
                  <a:gd name="connsiteY348" fmla="*/ 471884 h 1600200"/>
                  <a:gd name="connsiteX349" fmla="*/ 1803301 w 2085975"/>
                  <a:gd name="connsiteY349" fmla="*/ 475939 h 1600200"/>
                  <a:gd name="connsiteX350" fmla="*/ 1804104 w 2085975"/>
                  <a:gd name="connsiteY350" fmla="*/ 475831 h 1600200"/>
                  <a:gd name="connsiteX351" fmla="*/ 1803453 w 2085975"/>
                  <a:gd name="connsiteY351" fmla="*/ 477350 h 1600200"/>
                  <a:gd name="connsiteX352" fmla="*/ 1803605 w 2085975"/>
                  <a:gd name="connsiteY352" fmla="*/ 477371 h 1600200"/>
                  <a:gd name="connsiteX353" fmla="*/ 1802997 w 2085975"/>
                  <a:gd name="connsiteY353" fmla="*/ 478825 h 1600200"/>
                  <a:gd name="connsiteX354" fmla="*/ 1802650 w 2085975"/>
                  <a:gd name="connsiteY354" fmla="*/ 478760 h 1600200"/>
                  <a:gd name="connsiteX355" fmla="*/ 1799353 w 2085975"/>
                  <a:gd name="connsiteY355" fmla="*/ 486352 h 1600200"/>
                  <a:gd name="connsiteX356" fmla="*/ 1799374 w 2085975"/>
                  <a:gd name="connsiteY356" fmla="*/ 486873 h 1600200"/>
                  <a:gd name="connsiteX357" fmla="*/ 1796359 w 2085975"/>
                  <a:gd name="connsiteY357" fmla="*/ 494118 h 1600200"/>
                  <a:gd name="connsiteX358" fmla="*/ 1782801 w 2085975"/>
                  <a:gd name="connsiteY358" fmla="*/ 526245 h 1600200"/>
                  <a:gd name="connsiteX359" fmla="*/ 1756619 w 2085975"/>
                  <a:gd name="connsiteY359" fmla="*/ 589197 h 1600200"/>
                  <a:gd name="connsiteX360" fmla="*/ 1756293 w 2085975"/>
                  <a:gd name="connsiteY360" fmla="*/ 589197 h 1600200"/>
                  <a:gd name="connsiteX361" fmla="*/ 1755491 w 2085975"/>
                  <a:gd name="connsiteY361" fmla="*/ 591148 h 1600200"/>
                  <a:gd name="connsiteX362" fmla="*/ 1755165 w 2085975"/>
                  <a:gd name="connsiteY362" fmla="*/ 591105 h 1600200"/>
                  <a:gd name="connsiteX363" fmla="*/ 1753256 w 2085975"/>
                  <a:gd name="connsiteY363" fmla="*/ 595660 h 1600200"/>
                  <a:gd name="connsiteX364" fmla="*/ 1867467 w 2085975"/>
                  <a:gd name="connsiteY364" fmla="*/ 613514 h 1600200"/>
                  <a:gd name="connsiteX365" fmla="*/ 1873086 w 2085975"/>
                  <a:gd name="connsiteY365" fmla="*/ 614164 h 1600200"/>
                  <a:gd name="connsiteX366" fmla="*/ 1880223 w 2085975"/>
                  <a:gd name="connsiteY366" fmla="*/ 614728 h 1600200"/>
                  <a:gd name="connsiteX367" fmla="*/ 1900743 w 2085975"/>
                  <a:gd name="connsiteY367" fmla="*/ 615444 h 1600200"/>
                  <a:gd name="connsiteX368" fmla="*/ 1920289 w 2085975"/>
                  <a:gd name="connsiteY368" fmla="*/ 616008 h 1600200"/>
                  <a:gd name="connsiteX369" fmla="*/ 1920072 w 2085975"/>
                  <a:gd name="connsiteY369" fmla="*/ 622603 h 1600200"/>
                  <a:gd name="connsiteX370" fmla="*/ 1916319 w 2085975"/>
                  <a:gd name="connsiteY370" fmla="*/ 622559 h 1600200"/>
                  <a:gd name="connsiteX371" fmla="*/ 1916297 w 2085975"/>
                  <a:gd name="connsiteY371" fmla="*/ 623297 h 1600200"/>
                  <a:gd name="connsiteX372" fmla="*/ 1915104 w 2085975"/>
                  <a:gd name="connsiteY372" fmla="*/ 623644 h 1600200"/>
                  <a:gd name="connsiteX373" fmla="*/ 1913390 w 2085975"/>
                  <a:gd name="connsiteY373" fmla="*/ 643904 h 1600200"/>
                  <a:gd name="connsiteX374" fmla="*/ 1910180 w 2085975"/>
                  <a:gd name="connsiteY374" fmla="*/ 663905 h 1600200"/>
                  <a:gd name="connsiteX375" fmla="*/ 1909963 w 2085975"/>
                  <a:gd name="connsiteY375" fmla="*/ 667766 h 1600200"/>
                  <a:gd name="connsiteX376" fmla="*/ 1910114 w 2085975"/>
                  <a:gd name="connsiteY376" fmla="*/ 672994 h 1600200"/>
                  <a:gd name="connsiteX377" fmla="*/ 1967664 w 2085975"/>
                  <a:gd name="connsiteY377" fmla="*/ 672278 h 1600200"/>
                  <a:gd name="connsiteX378" fmla="*/ 1976710 w 2085975"/>
                  <a:gd name="connsiteY378" fmla="*/ 671974 h 1600200"/>
                  <a:gd name="connsiteX379" fmla="*/ 1986515 w 2085975"/>
                  <a:gd name="connsiteY379" fmla="*/ 671324 h 1600200"/>
                  <a:gd name="connsiteX380" fmla="*/ 1997926 w 2085975"/>
                  <a:gd name="connsiteY380" fmla="*/ 670174 h 1600200"/>
                  <a:gd name="connsiteX381" fmla="*/ 2006298 w 2085975"/>
                  <a:gd name="connsiteY381" fmla="*/ 669067 h 1600200"/>
                  <a:gd name="connsiteX382" fmla="*/ 2019878 w 2085975"/>
                  <a:gd name="connsiteY382" fmla="*/ 666985 h 1600200"/>
                  <a:gd name="connsiteX383" fmla="*/ 2022395 w 2085975"/>
                  <a:gd name="connsiteY383" fmla="*/ 672496 h 1600200"/>
                  <a:gd name="connsiteX384" fmla="*/ 2035714 w 2085975"/>
                  <a:gd name="connsiteY384" fmla="*/ 670217 h 1600200"/>
                  <a:gd name="connsiteX385" fmla="*/ 2043263 w 2085975"/>
                  <a:gd name="connsiteY385" fmla="*/ 686638 h 1600200"/>
                  <a:gd name="connsiteX386" fmla="*/ 2042633 w 2085975"/>
                  <a:gd name="connsiteY386" fmla="*/ 687203 h 1600200"/>
                  <a:gd name="connsiteX387" fmla="*/ 2064912 w 2085975"/>
                  <a:gd name="connsiteY387" fmla="*/ 735512 h 1600200"/>
                  <a:gd name="connsiteX388" fmla="*/ 2078318 w 2085975"/>
                  <a:gd name="connsiteY388" fmla="*/ 764579 h 1600200"/>
                  <a:gd name="connsiteX389" fmla="*/ 2079685 w 2085975"/>
                  <a:gd name="connsiteY389" fmla="*/ 764363 h 1600200"/>
                  <a:gd name="connsiteX390" fmla="*/ 2081268 w 2085975"/>
                  <a:gd name="connsiteY390" fmla="*/ 768246 h 1600200"/>
                  <a:gd name="connsiteX391" fmla="*/ 2082114 w 2085975"/>
                  <a:gd name="connsiteY391" fmla="*/ 789005 h 1600200"/>
                  <a:gd name="connsiteX392" fmla="*/ 2053675 w 2085975"/>
                  <a:gd name="connsiteY392" fmla="*/ 789331 h 1600200"/>
                  <a:gd name="connsiteX393" fmla="*/ 2054304 w 2085975"/>
                  <a:gd name="connsiteY393" fmla="*/ 807943 h 1600200"/>
                  <a:gd name="connsiteX394" fmla="*/ 2059618 w 2085975"/>
                  <a:gd name="connsiteY394" fmla="*/ 807943 h 1600200"/>
                  <a:gd name="connsiteX395" fmla="*/ 2060790 w 2085975"/>
                  <a:gd name="connsiteY395" fmla="*/ 860373 h 1600200"/>
                  <a:gd name="connsiteX396" fmla="*/ 2047232 w 2085975"/>
                  <a:gd name="connsiteY396" fmla="*/ 864517 h 1600200"/>
                  <a:gd name="connsiteX397" fmla="*/ 2047123 w 2085975"/>
                  <a:gd name="connsiteY397" fmla="*/ 923390 h 1600200"/>
                  <a:gd name="connsiteX398" fmla="*/ 2047254 w 2085975"/>
                  <a:gd name="connsiteY398" fmla="*/ 926232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Lst>
                <a:rect l="l" t="t" r="r" b="b"/>
                <a:pathLst>
                  <a:path w="2085975" h="1600200">
                    <a:moveTo>
                      <a:pt x="2047254" y="926232"/>
                    </a:moveTo>
                    <a:lnTo>
                      <a:pt x="2048166" y="978445"/>
                    </a:lnTo>
                    <a:lnTo>
                      <a:pt x="1957209" y="979010"/>
                    </a:lnTo>
                    <a:lnTo>
                      <a:pt x="1958358" y="1052460"/>
                    </a:lnTo>
                    <a:lnTo>
                      <a:pt x="1974714" y="1052331"/>
                    </a:lnTo>
                    <a:lnTo>
                      <a:pt x="1974932" y="1063567"/>
                    </a:lnTo>
                    <a:lnTo>
                      <a:pt x="1976862" y="1165565"/>
                    </a:lnTo>
                    <a:lnTo>
                      <a:pt x="1976905" y="1167799"/>
                    </a:lnTo>
                    <a:lnTo>
                      <a:pt x="1978685" y="1167799"/>
                    </a:lnTo>
                    <a:lnTo>
                      <a:pt x="1980658" y="1168059"/>
                    </a:lnTo>
                    <a:lnTo>
                      <a:pt x="1986342" y="1170337"/>
                    </a:lnTo>
                    <a:lnTo>
                      <a:pt x="1981721" y="1174502"/>
                    </a:lnTo>
                    <a:lnTo>
                      <a:pt x="1977058" y="1177713"/>
                    </a:lnTo>
                    <a:lnTo>
                      <a:pt x="1971330" y="1180706"/>
                    </a:lnTo>
                    <a:lnTo>
                      <a:pt x="1967686" y="1182203"/>
                    </a:lnTo>
                    <a:lnTo>
                      <a:pt x="1964346" y="1183353"/>
                    </a:lnTo>
                    <a:lnTo>
                      <a:pt x="1960333" y="1184502"/>
                    </a:lnTo>
                    <a:lnTo>
                      <a:pt x="1956602" y="1185370"/>
                    </a:lnTo>
                    <a:lnTo>
                      <a:pt x="1948879" y="1186520"/>
                    </a:lnTo>
                    <a:lnTo>
                      <a:pt x="1942978" y="1186866"/>
                    </a:lnTo>
                    <a:lnTo>
                      <a:pt x="1929573" y="1186650"/>
                    </a:lnTo>
                    <a:lnTo>
                      <a:pt x="1915971" y="1186107"/>
                    </a:lnTo>
                    <a:lnTo>
                      <a:pt x="1905320" y="1185435"/>
                    </a:lnTo>
                    <a:lnTo>
                      <a:pt x="1905255" y="1185630"/>
                    </a:lnTo>
                    <a:lnTo>
                      <a:pt x="1896557" y="1185066"/>
                    </a:lnTo>
                    <a:lnTo>
                      <a:pt x="1896622" y="1194155"/>
                    </a:lnTo>
                    <a:lnTo>
                      <a:pt x="1893107" y="1194503"/>
                    </a:lnTo>
                    <a:lnTo>
                      <a:pt x="1891806" y="1194893"/>
                    </a:lnTo>
                    <a:lnTo>
                      <a:pt x="1890396" y="1195891"/>
                    </a:lnTo>
                    <a:lnTo>
                      <a:pt x="1889897" y="1196911"/>
                    </a:lnTo>
                    <a:lnTo>
                      <a:pt x="1889875" y="1197431"/>
                    </a:lnTo>
                    <a:lnTo>
                      <a:pt x="1890461" y="1198342"/>
                    </a:lnTo>
                    <a:lnTo>
                      <a:pt x="1890093" y="1204936"/>
                    </a:lnTo>
                    <a:lnTo>
                      <a:pt x="1887511" y="1225913"/>
                    </a:lnTo>
                    <a:lnTo>
                      <a:pt x="1887055" y="1233289"/>
                    </a:lnTo>
                    <a:lnTo>
                      <a:pt x="1887034" y="1238821"/>
                    </a:lnTo>
                    <a:lnTo>
                      <a:pt x="1887250" y="1238821"/>
                    </a:lnTo>
                    <a:lnTo>
                      <a:pt x="1887316" y="1240273"/>
                    </a:lnTo>
                    <a:lnTo>
                      <a:pt x="1886839" y="1240361"/>
                    </a:lnTo>
                    <a:lnTo>
                      <a:pt x="1887034" y="1243788"/>
                    </a:lnTo>
                    <a:lnTo>
                      <a:pt x="1887359" y="1243788"/>
                    </a:lnTo>
                    <a:lnTo>
                      <a:pt x="1887381" y="1245284"/>
                    </a:lnTo>
                    <a:lnTo>
                      <a:pt x="1887576" y="1245479"/>
                    </a:lnTo>
                    <a:lnTo>
                      <a:pt x="1891394" y="1276717"/>
                    </a:lnTo>
                    <a:lnTo>
                      <a:pt x="1895255" y="1301447"/>
                    </a:lnTo>
                    <a:lnTo>
                      <a:pt x="1897945" y="1315178"/>
                    </a:lnTo>
                    <a:lnTo>
                      <a:pt x="1899767" y="1320796"/>
                    </a:lnTo>
                    <a:lnTo>
                      <a:pt x="1902240" y="1325764"/>
                    </a:lnTo>
                    <a:lnTo>
                      <a:pt x="1905386" y="1330405"/>
                    </a:lnTo>
                    <a:lnTo>
                      <a:pt x="1908813" y="1334354"/>
                    </a:lnTo>
                    <a:lnTo>
                      <a:pt x="1913564" y="1338714"/>
                    </a:lnTo>
                    <a:lnTo>
                      <a:pt x="1917555" y="1341686"/>
                    </a:lnTo>
                    <a:lnTo>
                      <a:pt x="1923303" y="1345287"/>
                    </a:lnTo>
                    <a:lnTo>
                      <a:pt x="1927209" y="1347239"/>
                    </a:lnTo>
                    <a:lnTo>
                      <a:pt x="1934995" y="1350428"/>
                    </a:lnTo>
                    <a:lnTo>
                      <a:pt x="1941526" y="1352489"/>
                    </a:lnTo>
                    <a:lnTo>
                      <a:pt x="1947403" y="1353986"/>
                    </a:lnTo>
                    <a:lnTo>
                      <a:pt x="1953022" y="1355070"/>
                    </a:lnTo>
                    <a:lnTo>
                      <a:pt x="1960484" y="1356047"/>
                    </a:lnTo>
                    <a:lnTo>
                      <a:pt x="1969335" y="1356653"/>
                    </a:lnTo>
                    <a:lnTo>
                      <a:pt x="1978142" y="1356784"/>
                    </a:lnTo>
                    <a:lnTo>
                      <a:pt x="1983456" y="1356589"/>
                    </a:lnTo>
                    <a:lnTo>
                      <a:pt x="1984346" y="1356415"/>
                    </a:lnTo>
                    <a:lnTo>
                      <a:pt x="1984411" y="1356675"/>
                    </a:lnTo>
                    <a:lnTo>
                      <a:pt x="1984759" y="1356697"/>
                    </a:lnTo>
                    <a:lnTo>
                      <a:pt x="1984866" y="1356458"/>
                    </a:lnTo>
                    <a:lnTo>
                      <a:pt x="1993501" y="1355938"/>
                    </a:lnTo>
                    <a:lnTo>
                      <a:pt x="1995734" y="1355612"/>
                    </a:lnTo>
                    <a:lnTo>
                      <a:pt x="1995843" y="1355764"/>
                    </a:lnTo>
                    <a:lnTo>
                      <a:pt x="1998988" y="1355504"/>
                    </a:lnTo>
                    <a:lnTo>
                      <a:pt x="1998945" y="1355309"/>
                    </a:lnTo>
                    <a:lnTo>
                      <a:pt x="2003045" y="1355027"/>
                    </a:lnTo>
                    <a:lnTo>
                      <a:pt x="2003110" y="1355200"/>
                    </a:lnTo>
                    <a:lnTo>
                      <a:pt x="2005626" y="1355005"/>
                    </a:lnTo>
                    <a:lnTo>
                      <a:pt x="2006928" y="1364875"/>
                    </a:lnTo>
                    <a:lnTo>
                      <a:pt x="2009270" y="1381991"/>
                    </a:lnTo>
                    <a:lnTo>
                      <a:pt x="2008273" y="1395418"/>
                    </a:lnTo>
                    <a:lnTo>
                      <a:pt x="1989400" y="1442187"/>
                    </a:lnTo>
                    <a:lnTo>
                      <a:pt x="1818355" y="1499520"/>
                    </a:lnTo>
                    <a:lnTo>
                      <a:pt x="1758050" y="1509911"/>
                    </a:lnTo>
                    <a:lnTo>
                      <a:pt x="1466764" y="1513881"/>
                    </a:lnTo>
                    <a:lnTo>
                      <a:pt x="1362640" y="1595162"/>
                    </a:lnTo>
                    <a:lnTo>
                      <a:pt x="1358215" y="1598394"/>
                    </a:lnTo>
                    <a:lnTo>
                      <a:pt x="1342661" y="1587960"/>
                    </a:lnTo>
                    <a:lnTo>
                      <a:pt x="1321641" y="1577396"/>
                    </a:lnTo>
                    <a:lnTo>
                      <a:pt x="1261619" y="1552298"/>
                    </a:lnTo>
                    <a:lnTo>
                      <a:pt x="1154262" y="1508024"/>
                    </a:lnTo>
                    <a:lnTo>
                      <a:pt x="1052937" y="1465897"/>
                    </a:lnTo>
                    <a:lnTo>
                      <a:pt x="960722" y="1427566"/>
                    </a:lnTo>
                    <a:lnTo>
                      <a:pt x="948140" y="1422317"/>
                    </a:lnTo>
                    <a:lnTo>
                      <a:pt x="938357" y="1417111"/>
                    </a:lnTo>
                    <a:lnTo>
                      <a:pt x="928812" y="1410299"/>
                    </a:lnTo>
                    <a:lnTo>
                      <a:pt x="901893" y="1384225"/>
                    </a:lnTo>
                    <a:lnTo>
                      <a:pt x="808550" y="1292465"/>
                    </a:lnTo>
                    <a:lnTo>
                      <a:pt x="801088" y="1286652"/>
                    </a:lnTo>
                    <a:lnTo>
                      <a:pt x="793799" y="1282227"/>
                    </a:lnTo>
                    <a:lnTo>
                      <a:pt x="781651" y="1274808"/>
                    </a:lnTo>
                    <a:lnTo>
                      <a:pt x="773322" y="1271208"/>
                    </a:lnTo>
                    <a:lnTo>
                      <a:pt x="729785" y="1253138"/>
                    </a:lnTo>
                    <a:lnTo>
                      <a:pt x="570431" y="1187951"/>
                    </a:lnTo>
                    <a:lnTo>
                      <a:pt x="373833" y="1107429"/>
                    </a:lnTo>
                    <a:lnTo>
                      <a:pt x="279514" y="1070335"/>
                    </a:lnTo>
                    <a:lnTo>
                      <a:pt x="165195" y="1025388"/>
                    </a:lnTo>
                    <a:lnTo>
                      <a:pt x="61223" y="984976"/>
                    </a:lnTo>
                    <a:lnTo>
                      <a:pt x="46537" y="978120"/>
                    </a:lnTo>
                    <a:lnTo>
                      <a:pt x="34671" y="971396"/>
                    </a:lnTo>
                    <a:lnTo>
                      <a:pt x="25517" y="964432"/>
                    </a:lnTo>
                    <a:lnTo>
                      <a:pt x="17469" y="956038"/>
                    </a:lnTo>
                    <a:lnTo>
                      <a:pt x="12936" y="949638"/>
                    </a:lnTo>
                    <a:lnTo>
                      <a:pt x="9399" y="941243"/>
                    </a:lnTo>
                    <a:lnTo>
                      <a:pt x="7144" y="926297"/>
                    </a:lnTo>
                    <a:lnTo>
                      <a:pt x="8575" y="915972"/>
                    </a:lnTo>
                    <a:lnTo>
                      <a:pt x="12783" y="901871"/>
                    </a:lnTo>
                    <a:lnTo>
                      <a:pt x="20940" y="872413"/>
                    </a:lnTo>
                    <a:lnTo>
                      <a:pt x="42849" y="796338"/>
                    </a:lnTo>
                    <a:lnTo>
                      <a:pt x="75409" y="680499"/>
                    </a:lnTo>
                    <a:lnTo>
                      <a:pt x="86061" y="640282"/>
                    </a:lnTo>
                    <a:lnTo>
                      <a:pt x="88230" y="629414"/>
                    </a:lnTo>
                    <a:lnTo>
                      <a:pt x="88707" y="615900"/>
                    </a:lnTo>
                    <a:lnTo>
                      <a:pt x="88057" y="604229"/>
                    </a:lnTo>
                    <a:lnTo>
                      <a:pt x="86994" y="593296"/>
                    </a:lnTo>
                    <a:lnTo>
                      <a:pt x="84022" y="576897"/>
                    </a:lnTo>
                    <a:lnTo>
                      <a:pt x="76776" y="554120"/>
                    </a:lnTo>
                    <a:lnTo>
                      <a:pt x="65562" y="529759"/>
                    </a:lnTo>
                    <a:lnTo>
                      <a:pt x="53782" y="511147"/>
                    </a:lnTo>
                    <a:lnTo>
                      <a:pt x="41808" y="495593"/>
                    </a:lnTo>
                    <a:lnTo>
                      <a:pt x="59640" y="490929"/>
                    </a:lnTo>
                    <a:lnTo>
                      <a:pt x="100161" y="461622"/>
                    </a:lnTo>
                    <a:lnTo>
                      <a:pt x="99163" y="426676"/>
                    </a:lnTo>
                    <a:lnTo>
                      <a:pt x="97167" y="367499"/>
                    </a:lnTo>
                    <a:lnTo>
                      <a:pt x="96430" y="357759"/>
                    </a:lnTo>
                    <a:lnTo>
                      <a:pt x="96235" y="351187"/>
                    </a:lnTo>
                    <a:lnTo>
                      <a:pt x="86950" y="291207"/>
                    </a:lnTo>
                    <a:lnTo>
                      <a:pt x="83219" y="279926"/>
                    </a:lnTo>
                    <a:lnTo>
                      <a:pt x="82243" y="274655"/>
                    </a:lnTo>
                    <a:lnTo>
                      <a:pt x="75887" y="239926"/>
                    </a:lnTo>
                    <a:lnTo>
                      <a:pt x="76798" y="209513"/>
                    </a:lnTo>
                    <a:lnTo>
                      <a:pt x="75974" y="160618"/>
                    </a:lnTo>
                    <a:lnTo>
                      <a:pt x="75995" y="142744"/>
                    </a:lnTo>
                    <a:lnTo>
                      <a:pt x="75496" y="131398"/>
                    </a:lnTo>
                    <a:lnTo>
                      <a:pt x="73110" y="99532"/>
                    </a:lnTo>
                    <a:lnTo>
                      <a:pt x="72894" y="89142"/>
                    </a:lnTo>
                    <a:lnTo>
                      <a:pt x="72677" y="87255"/>
                    </a:lnTo>
                    <a:lnTo>
                      <a:pt x="71831" y="85606"/>
                    </a:lnTo>
                    <a:lnTo>
                      <a:pt x="70269" y="83892"/>
                    </a:lnTo>
                    <a:lnTo>
                      <a:pt x="66928" y="81571"/>
                    </a:lnTo>
                    <a:lnTo>
                      <a:pt x="64520" y="80855"/>
                    </a:lnTo>
                    <a:lnTo>
                      <a:pt x="81983" y="30529"/>
                    </a:lnTo>
                    <a:lnTo>
                      <a:pt x="105367" y="36949"/>
                    </a:lnTo>
                    <a:lnTo>
                      <a:pt x="115107" y="8597"/>
                    </a:lnTo>
                    <a:lnTo>
                      <a:pt x="222419" y="22133"/>
                    </a:lnTo>
                    <a:lnTo>
                      <a:pt x="236433" y="23435"/>
                    </a:lnTo>
                    <a:lnTo>
                      <a:pt x="279796" y="29140"/>
                    </a:lnTo>
                    <a:lnTo>
                      <a:pt x="312551" y="34715"/>
                    </a:lnTo>
                    <a:lnTo>
                      <a:pt x="319189" y="36234"/>
                    </a:lnTo>
                    <a:lnTo>
                      <a:pt x="363095" y="48208"/>
                    </a:lnTo>
                    <a:lnTo>
                      <a:pt x="357715" y="52047"/>
                    </a:lnTo>
                    <a:lnTo>
                      <a:pt x="354483" y="55692"/>
                    </a:lnTo>
                    <a:lnTo>
                      <a:pt x="352726" y="58621"/>
                    </a:lnTo>
                    <a:lnTo>
                      <a:pt x="351880" y="60008"/>
                    </a:lnTo>
                    <a:lnTo>
                      <a:pt x="351077" y="62698"/>
                    </a:lnTo>
                    <a:lnTo>
                      <a:pt x="349668" y="70269"/>
                    </a:lnTo>
                    <a:lnTo>
                      <a:pt x="400819" y="125541"/>
                    </a:lnTo>
                    <a:lnTo>
                      <a:pt x="444616" y="32242"/>
                    </a:lnTo>
                    <a:lnTo>
                      <a:pt x="828659" y="31895"/>
                    </a:lnTo>
                    <a:lnTo>
                      <a:pt x="835492" y="31332"/>
                    </a:lnTo>
                    <a:lnTo>
                      <a:pt x="851913" y="29075"/>
                    </a:lnTo>
                    <a:lnTo>
                      <a:pt x="875991" y="27361"/>
                    </a:lnTo>
                    <a:lnTo>
                      <a:pt x="884691" y="27665"/>
                    </a:lnTo>
                    <a:lnTo>
                      <a:pt x="890005" y="27513"/>
                    </a:lnTo>
                    <a:lnTo>
                      <a:pt x="893584" y="26906"/>
                    </a:lnTo>
                    <a:lnTo>
                      <a:pt x="899008" y="25843"/>
                    </a:lnTo>
                    <a:lnTo>
                      <a:pt x="906513" y="23695"/>
                    </a:lnTo>
                    <a:lnTo>
                      <a:pt x="916817" y="19704"/>
                    </a:lnTo>
                    <a:lnTo>
                      <a:pt x="930028" y="14064"/>
                    </a:lnTo>
                    <a:lnTo>
                      <a:pt x="941742" y="10528"/>
                    </a:lnTo>
                    <a:lnTo>
                      <a:pt x="948792" y="8966"/>
                    </a:lnTo>
                    <a:lnTo>
                      <a:pt x="957230" y="7773"/>
                    </a:lnTo>
                    <a:lnTo>
                      <a:pt x="963087" y="7318"/>
                    </a:lnTo>
                    <a:lnTo>
                      <a:pt x="968119" y="7144"/>
                    </a:lnTo>
                    <a:lnTo>
                      <a:pt x="974042" y="7209"/>
                    </a:lnTo>
                    <a:lnTo>
                      <a:pt x="981743" y="7709"/>
                    </a:lnTo>
                    <a:lnTo>
                      <a:pt x="990592" y="8923"/>
                    </a:lnTo>
                    <a:lnTo>
                      <a:pt x="995951" y="10095"/>
                    </a:lnTo>
                    <a:lnTo>
                      <a:pt x="1001265" y="11526"/>
                    </a:lnTo>
                    <a:lnTo>
                      <a:pt x="1007535" y="13566"/>
                    </a:lnTo>
                    <a:lnTo>
                      <a:pt x="1011547" y="15084"/>
                    </a:lnTo>
                    <a:lnTo>
                      <a:pt x="1015517" y="17079"/>
                    </a:lnTo>
                    <a:lnTo>
                      <a:pt x="1016754" y="19119"/>
                    </a:lnTo>
                    <a:lnTo>
                      <a:pt x="1021982" y="22026"/>
                    </a:lnTo>
                    <a:lnTo>
                      <a:pt x="1027708" y="25995"/>
                    </a:lnTo>
                    <a:lnTo>
                      <a:pt x="1031939" y="29834"/>
                    </a:lnTo>
                    <a:lnTo>
                      <a:pt x="1034888" y="33197"/>
                    </a:lnTo>
                    <a:lnTo>
                      <a:pt x="1036668" y="35735"/>
                    </a:lnTo>
                    <a:lnTo>
                      <a:pt x="1039748" y="41353"/>
                    </a:lnTo>
                    <a:lnTo>
                      <a:pt x="1046191" y="56429"/>
                    </a:lnTo>
                    <a:lnTo>
                      <a:pt x="1050508" y="65084"/>
                    </a:lnTo>
                    <a:lnTo>
                      <a:pt x="1053349" y="70226"/>
                    </a:lnTo>
                    <a:lnTo>
                      <a:pt x="1060551" y="81962"/>
                    </a:lnTo>
                    <a:lnTo>
                      <a:pt x="1064325" y="87515"/>
                    </a:lnTo>
                    <a:lnTo>
                      <a:pt x="1073176" y="99337"/>
                    </a:lnTo>
                    <a:lnTo>
                      <a:pt x="1077558" y="104630"/>
                    </a:lnTo>
                    <a:lnTo>
                      <a:pt x="1082395" y="110161"/>
                    </a:lnTo>
                    <a:lnTo>
                      <a:pt x="1091007" y="119272"/>
                    </a:lnTo>
                    <a:lnTo>
                      <a:pt x="1094153" y="122157"/>
                    </a:lnTo>
                    <a:lnTo>
                      <a:pt x="1095867" y="123112"/>
                    </a:lnTo>
                    <a:lnTo>
                      <a:pt x="1099077" y="125628"/>
                    </a:lnTo>
                    <a:lnTo>
                      <a:pt x="1101571" y="127993"/>
                    </a:lnTo>
                    <a:lnTo>
                      <a:pt x="1104088" y="131052"/>
                    </a:lnTo>
                    <a:lnTo>
                      <a:pt x="1106604" y="132266"/>
                    </a:lnTo>
                    <a:lnTo>
                      <a:pt x="1112483" y="132049"/>
                    </a:lnTo>
                    <a:lnTo>
                      <a:pt x="1114197" y="131356"/>
                    </a:lnTo>
                    <a:lnTo>
                      <a:pt x="1116626" y="133784"/>
                    </a:lnTo>
                    <a:lnTo>
                      <a:pt x="1141963" y="124001"/>
                    </a:lnTo>
                    <a:lnTo>
                      <a:pt x="1146388" y="121702"/>
                    </a:lnTo>
                    <a:lnTo>
                      <a:pt x="1152028" y="119533"/>
                    </a:lnTo>
                    <a:lnTo>
                      <a:pt x="1157560" y="117840"/>
                    </a:lnTo>
                    <a:lnTo>
                      <a:pt x="1172202" y="112309"/>
                    </a:lnTo>
                    <a:lnTo>
                      <a:pt x="1177039" y="116517"/>
                    </a:lnTo>
                    <a:lnTo>
                      <a:pt x="1181443" y="114609"/>
                    </a:lnTo>
                    <a:lnTo>
                      <a:pt x="1184740" y="117385"/>
                    </a:lnTo>
                    <a:lnTo>
                      <a:pt x="1186801" y="119424"/>
                    </a:lnTo>
                    <a:lnTo>
                      <a:pt x="1188775" y="121789"/>
                    </a:lnTo>
                    <a:lnTo>
                      <a:pt x="1193287" y="125823"/>
                    </a:lnTo>
                    <a:lnTo>
                      <a:pt x="1195283" y="124999"/>
                    </a:lnTo>
                    <a:lnTo>
                      <a:pt x="1196259" y="126084"/>
                    </a:lnTo>
                    <a:lnTo>
                      <a:pt x="1201292" y="130921"/>
                    </a:lnTo>
                    <a:lnTo>
                      <a:pt x="1204285" y="133286"/>
                    </a:lnTo>
                    <a:lnTo>
                      <a:pt x="1216564" y="141920"/>
                    </a:lnTo>
                    <a:lnTo>
                      <a:pt x="1221813" y="145282"/>
                    </a:lnTo>
                    <a:lnTo>
                      <a:pt x="1241791" y="156692"/>
                    </a:lnTo>
                    <a:lnTo>
                      <a:pt x="1249232" y="160510"/>
                    </a:lnTo>
                    <a:lnTo>
                      <a:pt x="1256954" y="164176"/>
                    </a:lnTo>
                    <a:lnTo>
                      <a:pt x="1269775" y="169599"/>
                    </a:lnTo>
                    <a:lnTo>
                      <a:pt x="1284092" y="175109"/>
                    </a:lnTo>
                    <a:lnTo>
                      <a:pt x="1298040" y="179990"/>
                    </a:lnTo>
                    <a:lnTo>
                      <a:pt x="1304417" y="181964"/>
                    </a:lnTo>
                    <a:lnTo>
                      <a:pt x="1315025" y="184740"/>
                    </a:lnTo>
                    <a:lnTo>
                      <a:pt x="1320101" y="185868"/>
                    </a:lnTo>
                    <a:lnTo>
                      <a:pt x="1326175" y="187083"/>
                    </a:lnTo>
                    <a:lnTo>
                      <a:pt x="1337672" y="188732"/>
                    </a:lnTo>
                    <a:lnTo>
                      <a:pt x="1365699" y="189057"/>
                    </a:lnTo>
                    <a:lnTo>
                      <a:pt x="1394181" y="189101"/>
                    </a:lnTo>
                    <a:lnTo>
                      <a:pt x="1702843" y="188797"/>
                    </a:lnTo>
                    <a:lnTo>
                      <a:pt x="1716770" y="188471"/>
                    </a:lnTo>
                    <a:lnTo>
                      <a:pt x="1730805" y="187539"/>
                    </a:lnTo>
                    <a:lnTo>
                      <a:pt x="1744275" y="185977"/>
                    </a:lnTo>
                    <a:lnTo>
                      <a:pt x="1755664" y="184133"/>
                    </a:lnTo>
                    <a:lnTo>
                      <a:pt x="1757400" y="182680"/>
                    </a:lnTo>
                    <a:lnTo>
                      <a:pt x="1758528" y="179795"/>
                    </a:lnTo>
                    <a:lnTo>
                      <a:pt x="1758506" y="170532"/>
                    </a:lnTo>
                    <a:lnTo>
                      <a:pt x="1759590" y="164870"/>
                    </a:lnTo>
                    <a:lnTo>
                      <a:pt x="1760307" y="148123"/>
                    </a:lnTo>
                    <a:lnTo>
                      <a:pt x="1762107" y="121073"/>
                    </a:lnTo>
                    <a:lnTo>
                      <a:pt x="1763213" y="112331"/>
                    </a:lnTo>
                    <a:lnTo>
                      <a:pt x="1770632" y="112287"/>
                    </a:lnTo>
                    <a:lnTo>
                      <a:pt x="1796099" y="112157"/>
                    </a:lnTo>
                    <a:lnTo>
                      <a:pt x="1808680" y="112352"/>
                    </a:lnTo>
                    <a:lnTo>
                      <a:pt x="1829549" y="96279"/>
                    </a:lnTo>
                    <a:lnTo>
                      <a:pt x="1843345" y="100443"/>
                    </a:lnTo>
                    <a:lnTo>
                      <a:pt x="1844191" y="104326"/>
                    </a:lnTo>
                    <a:lnTo>
                      <a:pt x="1861805" y="109879"/>
                    </a:lnTo>
                    <a:lnTo>
                      <a:pt x="1892652" y="119924"/>
                    </a:lnTo>
                    <a:lnTo>
                      <a:pt x="1885971" y="125477"/>
                    </a:lnTo>
                    <a:lnTo>
                      <a:pt x="1868834" y="138861"/>
                    </a:lnTo>
                    <a:lnTo>
                      <a:pt x="1878010" y="134262"/>
                    </a:lnTo>
                    <a:lnTo>
                      <a:pt x="1889030" y="129490"/>
                    </a:lnTo>
                    <a:lnTo>
                      <a:pt x="1895754" y="126908"/>
                    </a:lnTo>
                    <a:lnTo>
                      <a:pt x="1903108" y="124305"/>
                    </a:lnTo>
                    <a:lnTo>
                      <a:pt x="1905993" y="123568"/>
                    </a:lnTo>
                    <a:lnTo>
                      <a:pt x="1908900" y="123199"/>
                    </a:lnTo>
                    <a:lnTo>
                      <a:pt x="1918379" y="120422"/>
                    </a:lnTo>
                    <a:lnTo>
                      <a:pt x="1925342" y="118687"/>
                    </a:lnTo>
                    <a:lnTo>
                      <a:pt x="1934367" y="116713"/>
                    </a:lnTo>
                    <a:lnTo>
                      <a:pt x="1940961" y="116149"/>
                    </a:lnTo>
                    <a:lnTo>
                      <a:pt x="1948055" y="115151"/>
                    </a:lnTo>
                    <a:lnTo>
                      <a:pt x="1946211" y="122938"/>
                    </a:lnTo>
                    <a:lnTo>
                      <a:pt x="1944931" y="130271"/>
                    </a:lnTo>
                    <a:lnTo>
                      <a:pt x="1943912" y="140488"/>
                    </a:lnTo>
                    <a:lnTo>
                      <a:pt x="1943694" y="149859"/>
                    </a:lnTo>
                    <a:lnTo>
                      <a:pt x="1949205" y="254091"/>
                    </a:lnTo>
                    <a:lnTo>
                      <a:pt x="1955560" y="254091"/>
                    </a:lnTo>
                    <a:lnTo>
                      <a:pt x="1955517" y="253636"/>
                    </a:lnTo>
                    <a:lnTo>
                      <a:pt x="1956059" y="253636"/>
                    </a:lnTo>
                    <a:lnTo>
                      <a:pt x="1956103" y="257193"/>
                    </a:lnTo>
                    <a:lnTo>
                      <a:pt x="1955560" y="257171"/>
                    </a:lnTo>
                    <a:lnTo>
                      <a:pt x="1955755" y="262985"/>
                    </a:lnTo>
                    <a:lnTo>
                      <a:pt x="1957665" y="296977"/>
                    </a:lnTo>
                    <a:lnTo>
                      <a:pt x="1957057" y="308647"/>
                    </a:lnTo>
                    <a:lnTo>
                      <a:pt x="1958467" y="335503"/>
                    </a:lnTo>
                    <a:lnTo>
                      <a:pt x="1958792" y="335590"/>
                    </a:lnTo>
                    <a:lnTo>
                      <a:pt x="1958792" y="336327"/>
                    </a:lnTo>
                    <a:lnTo>
                      <a:pt x="1953717" y="336435"/>
                    </a:lnTo>
                    <a:lnTo>
                      <a:pt x="1939702" y="336739"/>
                    </a:lnTo>
                    <a:lnTo>
                      <a:pt x="1925842" y="336479"/>
                    </a:lnTo>
                    <a:lnTo>
                      <a:pt x="1850829" y="337889"/>
                    </a:lnTo>
                    <a:lnTo>
                      <a:pt x="1838269" y="338279"/>
                    </a:lnTo>
                    <a:lnTo>
                      <a:pt x="1840525" y="347607"/>
                    </a:lnTo>
                    <a:lnTo>
                      <a:pt x="1841740" y="347607"/>
                    </a:lnTo>
                    <a:lnTo>
                      <a:pt x="1842347" y="350992"/>
                    </a:lnTo>
                    <a:lnTo>
                      <a:pt x="1841784" y="351013"/>
                    </a:lnTo>
                    <a:lnTo>
                      <a:pt x="1842672" y="359430"/>
                    </a:lnTo>
                    <a:lnTo>
                      <a:pt x="1842390" y="359452"/>
                    </a:lnTo>
                    <a:lnTo>
                      <a:pt x="1842586" y="364723"/>
                    </a:lnTo>
                    <a:lnTo>
                      <a:pt x="1842347" y="368389"/>
                    </a:lnTo>
                    <a:lnTo>
                      <a:pt x="1842694" y="368389"/>
                    </a:lnTo>
                    <a:lnTo>
                      <a:pt x="1842521" y="369929"/>
                    </a:lnTo>
                    <a:lnTo>
                      <a:pt x="1842239" y="369907"/>
                    </a:lnTo>
                    <a:lnTo>
                      <a:pt x="1841154" y="378432"/>
                    </a:lnTo>
                    <a:lnTo>
                      <a:pt x="1841480" y="378454"/>
                    </a:lnTo>
                    <a:lnTo>
                      <a:pt x="1841089" y="380753"/>
                    </a:lnTo>
                    <a:lnTo>
                      <a:pt x="1840807" y="380731"/>
                    </a:lnTo>
                    <a:lnTo>
                      <a:pt x="1839115" y="388628"/>
                    </a:lnTo>
                    <a:lnTo>
                      <a:pt x="1839310" y="388650"/>
                    </a:lnTo>
                    <a:lnTo>
                      <a:pt x="1838746" y="390884"/>
                    </a:lnTo>
                    <a:lnTo>
                      <a:pt x="1838442" y="390840"/>
                    </a:lnTo>
                    <a:lnTo>
                      <a:pt x="1835688" y="399431"/>
                    </a:lnTo>
                    <a:lnTo>
                      <a:pt x="1835536" y="399409"/>
                    </a:lnTo>
                    <a:lnTo>
                      <a:pt x="1834820" y="401123"/>
                    </a:lnTo>
                    <a:lnTo>
                      <a:pt x="1834560" y="401079"/>
                    </a:lnTo>
                    <a:lnTo>
                      <a:pt x="1831588" y="408107"/>
                    </a:lnTo>
                    <a:lnTo>
                      <a:pt x="1832000" y="408194"/>
                    </a:lnTo>
                    <a:lnTo>
                      <a:pt x="1831002" y="410386"/>
                    </a:lnTo>
                    <a:lnTo>
                      <a:pt x="1831501" y="410450"/>
                    </a:lnTo>
                    <a:lnTo>
                      <a:pt x="1830850" y="411969"/>
                    </a:lnTo>
                    <a:lnTo>
                      <a:pt x="1830459" y="411904"/>
                    </a:lnTo>
                    <a:lnTo>
                      <a:pt x="1827574" y="418715"/>
                    </a:lnTo>
                    <a:lnTo>
                      <a:pt x="1827965" y="418802"/>
                    </a:lnTo>
                    <a:lnTo>
                      <a:pt x="1827813" y="419214"/>
                    </a:lnTo>
                    <a:lnTo>
                      <a:pt x="1826035" y="423292"/>
                    </a:lnTo>
                    <a:lnTo>
                      <a:pt x="1825687" y="423227"/>
                    </a:lnTo>
                    <a:lnTo>
                      <a:pt x="1822477" y="430863"/>
                    </a:lnTo>
                    <a:lnTo>
                      <a:pt x="1822846" y="430928"/>
                    </a:lnTo>
                    <a:lnTo>
                      <a:pt x="1821002" y="435375"/>
                    </a:lnTo>
                    <a:lnTo>
                      <a:pt x="1820676" y="435332"/>
                    </a:lnTo>
                    <a:lnTo>
                      <a:pt x="1820589" y="435549"/>
                    </a:lnTo>
                    <a:lnTo>
                      <a:pt x="1817422" y="443097"/>
                    </a:lnTo>
                    <a:lnTo>
                      <a:pt x="1817791" y="443163"/>
                    </a:lnTo>
                    <a:lnTo>
                      <a:pt x="1815860" y="447675"/>
                    </a:lnTo>
                    <a:lnTo>
                      <a:pt x="1815514" y="447609"/>
                    </a:lnTo>
                    <a:lnTo>
                      <a:pt x="1815383" y="447891"/>
                    </a:lnTo>
                    <a:lnTo>
                      <a:pt x="1813323" y="453206"/>
                    </a:lnTo>
                    <a:lnTo>
                      <a:pt x="1813518" y="453250"/>
                    </a:lnTo>
                    <a:lnTo>
                      <a:pt x="1808334" y="465701"/>
                    </a:lnTo>
                    <a:lnTo>
                      <a:pt x="1808247" y="465853"/>
                    </a:lnTo>
                    <a:lnTo>
                      <a:pt x="1807835" y="465788"/>
                    </a:lnTo>
                    <a:lnTo>
                      <a:pt x="1807162" y="467393"/>
                    </a:lnTo>
                    <a:lnTo>
                      <a:pt x="1806902" y="467350"/>
                    </a:lnTo>
                    <a:lnTo>
                      <a:pt x="1805014" y="471884"/>
                    </a:lnTo>
                    <a:lnTo>
                      <a:pt x="1803301" y="475939"/>
                    </a:lnTo>
                    <a:lnTo>
                      <a:pt x="1804104" y="475831"/>
                    </a:lnTo>
                    <a:lnTo>
                      <a:pt x="1803453" y="477350"/>
                    </a:lnTo>
                    <a:lnTo>
                      <a:pt x="1803605" y="477371"/>
                    </a:lnTo>
                    <a:lnTo>
                      <a:pt x="1802997" y="478825"/>
                    </a:lnTo>
                    <a:lnTo>
                      <a:pt x="1802650" y="478760"/>
                    </a:lnTo>
                    <a:lnTo>
                      <a:pt x="1799353" y="486352"/>
                    </a:lnTo>
                    <a:lnTo>
                      <a:pt x="1799374" y="486873"/>
                    </a:lnTo>
                    <a:lnTo>
                      <a:pt x="1796359" y="494118"/>
                    </a:lnTo>
                    <a:lnTo>
                      <a:pt x="1782801" y="526245"/>
                    </a:lnTo>
                    <a:lnTo>
                      <a:pt x="1756619" y="589197"/>
                    </a:lnTo>
                    <a:lnTo>
                      <a:pt x="1756293" y="589197"/>
                    </a:lnTo>
                    <a:lnTo>
                      <a:pt x="1755491" y="591148"/>
                    </a:lnTo>
                    <a:lnTo>
                      <a:pt x="1755165" y="591105"/>
                    </a:lnTo>
                    <a:lnTo>
                      <a:pt x="1753256" y="595660"/>
                    </a:lnTo>
                    <a:lnTo>
                      <a:pt x="1867467" y="613514"/>
                    </a:lnTo>
                    <a:lnTo>
                      <a:pt x="1873086" y="614164"/>
                    </a:lnTo>
                    <a:lnTo>
                      <a:pt x="1880223" y="614728"/>
                    </a:lnTo>
                    <a:lnTo>
                      <a:pt x="1900743" y="615444"/>
                    </a:lnTo>
                    <a:lnTo>
                      <a:pt x="1920289" y="616008"/>
                    </a:lnTo>
                    <a:lnTo>
                      <a:pt x="1920072" y="622603"/>
                    </a:lnTo>
                    <a:lnTo>
                      <a:pt x="1916319" y="622559"/>
                    </a:lnTo>
                    <a:lnTo>
                      <a:pt x="1916297" y="623297"/>
                    </a:lnTo>
                    <a:lnTo>
                      <a:pt x="1915104" y="623644"/>
                    </a:lnTo>
                    <a:lnTo>
                      <a:pt x="1913390" y="643904"/>
                    </a:lnTo>
                    <a:lnTo>
                      <a:pt x="1910180" y="663905"/>
                    </a:lnTo>
                    <a:lnTo>
                      <a:pt x="1909963" y="667766"/>
                    </a:lnTo>
                    <a:lnTo>
                      <a:pt x="1910114" y="672994"/>
                    </a:lnTo>
                    <a:lnTo>
                      <a:pt x="1967664" y="672278"/>
                    </a:lnTo>
                    <a:lnTo>
                      <a:pt x="1976710" y="671974"/>
                    </a:lnTo>
                    <a:lnTo>
                      <a:pt x="1986515" y="671324"/>
                    </a:lnTo>
                    <a:lnTo>
                      <a:pt x="1997926" y="670174"/>
                    </a:lnTo>
                    <a:lnTo>
                      <a:pt x="2006298" y="669067"/>
                    </a:lnTo>
                    <a:lnTo>
                      <a:pt x="2019878" y="666985"/>
                    </a:lnTo>
                    <a:lnTo>
                      <a:pt x="2022395" y="672496"/>
                    </a:lnTo>
                    <a:lnTo>
                      <a:pt x="2035714" y="670217"/>
                    </a:lnTo>
                    <a:lnTo>
                      <a:pt x="2043263" y="686638"/>
                    </a:lnTo>
                    <a:lnTo>
                      <a:pt x="2042633" y="687203"/>
                    </a:lnTo>
                    <a:lnTo>
                      <a:pt x="2064912" y="735512"/>
                    </a:lnTo>
                    <a:lnTo>
                      <a:pt x="2078318" y="764579"/>
                    </a:lnTo>
                    <a:lnTo>
                      <a:pt x="2079685" y="764363"/>
                    </a:lnTo>
                    <a:lnTo>
                      <a:pt x="2081268" y="768246"/>
                    </a:lnTo>
                    <a:lnTo>
                      <a:pt x="2082114" y="789005"/>
                    </a:lnTo>
                    <a:lnTo>
                      <a:pt x="2053675" y="789331"/>
                    </a:lnTo>
                    <a:lnTo>
                      <a:pt x="2054304" y="807943"/>
                    </a:lnTo>
                    <a:lnTo>
                      <a:pt x="2059618" y="807943"/>
                    </a:lnTo>
                    <a:lnTo>
                      <a:pt x="2060790" y="860373"/>
                    </a:lnTo>
                    <a:lnTo>
                      <a:pt x="2047232" y="864517"/>
                    </a:lnTo>
                    <a:lnTo>
                      <a:pt x="2047123" y="923390"/>
                    </a:lnTo>
                    <a:lnTo>
                      <a:pt x="2047254" y="926232"/>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93" name="Freeform: Shape 92">
                <a:extLst>
                  <a:ext uri="{FF2B5EF4-FFF2-40B4-BE49-F238E27FC236}">
                    <a16:creationId xmlns:a16="http://schemas.microsoft.com/office/drawing/2014/main" id="{00AB07ED-E3AD-447D-BB3F-177A12BD41FC}"/>
                  </a:ext>
                </a:extLst>
              </p:cNvPr>
              <p:cNvSpPr/>
              <p:nvPr/>
            </p:nvSpPr>
            <p:spPr>
              <a:xfrm>
                <a:off x="5359195" y="4375906"/>
                <a:ext cx="606004" cy="381660"/>
              </a:xfrm>
              <a:custGeom>
                <a:avLst/>
                <a:gdLst>
                  <a:gd name="connsiteX0" fmla="*/ 1724623 w 2133600"/>
                  <a:gd name="connsiteY0" fmla="*/ 866881 h 895350"/>
                  <a:gd name="connsiteX1" fmla="*/ 1712952 w 2133600"/>
                  <a:gd name="connsiteY1" fmla="*/ 867076 h 895350"/>
                  <a:gd name="connsiteX2" fmla="*/ 1699329 w 2133600"/>
                  <a:gd name="connsiteY2" fmla="*/ 867207 h 895350"/>
                  <a:gd name="connsiteX3" fmla="*/ 1694644 w 2133600"/>
                  <a:gd name="connsiteY3" fmla="*/ 866881 h 895350"/>
                  <a:gd name="connsiteX4" fmla="*/ 1686986 w 2133600"/>
                  <a:gd name="connsiteY4" fmla="*/ 866903 h 895350"/>
                  <a:gd name="connsiteX5" fmla="*/ 1667007 w 2133600"/>
                  <a:gd name="connsiteY5" fmla="*/ 867706 h 895350"/>
                  <a:gd name="connsiteX6" fmla="*/ 1653298 w 2133600"/>
                  <a:gd name="connsiteY6" fmla="*/ 868009 h 895350"/>
                  <a:gd name="connsiteX7" fmla="*/ 1330081 w 2133600"/>
                  <a:gd name="connsiteY7" fmla="*/ 874018 h 895350"/>
                  <a:gd name="connsiteX8" fmla="*/ 1135586 w 2133600"/>
                  <a:gd name="connsiteY8" fmla="*/ 877467 h 895350"/>
                  <a:gd name="connsiteX9" fmla="*/ 993977 w 2133600"/>
                  <a:gd name="connsiteY9" fmla="*/ 879832 h 895350"/>
                  <a:gd name="connsiteX10" fmla="*/ 890916 w 2133600"/>
                  <a:gd name="connsiteY10" fmla="*/ 881784 h 895350"/>
                  <a:gd name="connsiteX11" fmla="*/ 889138 w 2133600"/>
                  <a:gd name="connsiteY11" fmla="*/ 881870 h 895350"/>
                  <a:gd name="connsiteX12" fmla="*/ 887012 w 2133600"/>
                  <a:gd name="connsiteY12" fmla="*/ 882218 h 895350"/>
                  <a:gd name="connsiteX13" fmla="*/ 886297 w 2133600"/>
                  <a:gd name="connsiteY13" fmla="*/ 882760 h 895350"/>
                  <a:gd name="connsiteX14" fmla="*/ 885862 w 2133600"/>
                  <a:gd name="connsiteY14" fmla="*/ 883931 h 895350"/>
                  <a:gd name="connsiteX15" fmla="*/ 885494 w 2133600"/>
                  <a:gd name="connsiteY15" fmla="*/ 888400 h 895350"/>
                  <a:gd name="connsiteX16" fmla="*/ 866882 w 2133600"/>
                  <a:gd name="connsiteY16" fmla="*/ 888747 h 895350"/>
                  <a:gd name="connsiteX17" fmla="*/ 866729 w 2133600"/>
                  <a:gd name="connsiteY17" fmla="*/ 885689 h 895350"/>
                  <a:gd name="connsiteX18" fmla="*/ 862781 w 2133600"/>
                  <a:gd name="connsiteY18" fmla="*/ 885515 h 895350"/>
                  <a:gd name="connsiteX19" fmla="*/ 862847 w 2133600"/>
                  <a:gd name="connsiteY19" fmla="*/ 881068 h 895350"/>
                  <a:gd name="connsiteX20" fmla="*/ 857770 w 2133600"/>
                  <a:gd name="connsiteY20" fmla="*/ 881177 h 895350"/>
                  <a:gd name="connsiteX21" fmla="*/ 860265 w 2133600"/>
                  <a:gd name="connsiteY21" fmla="*/ 745187 h 895350"/>
                  <a:gd name="connsiteX22" fmla="*/ 859658 w 2133600"/>
                  <a:gd name="connsiteY22" fmla="*/ 727529 h 895350"/>
                  <a:gd name="connsiteX23" fmla="*/ 858551 w 2133600"/>
                  <a:gd name="connsiteY23" fmla="*/ 720479 h 895350"/>
                  <a:gd name="connsiteX24" fmla="*/ 857619 w 2133600"/>
                  <a:gd name="connsiteY24" fmla="*/ 717333 h 895350"/>
                  <a:gd name="connsiteX25" fmla="*/ 854755 w 2133600"/>
                  <a:gd name="connsiteY25" fmla="*/ 709415 h 895350"/>
                  <a:gd name="connsiteX26" fmla="*/ 853258 w 2133600"/>
                  <a:gd name="connsiteY26" fmla="*/ 709394 h 895350"/>
                  <a:gd name="connsiteX27" fmla="*/ 849267 w 2133600"/>
                  <a:gd name="connsiteY27" fmla="*/ 696964 h 895350"/>
                  <a:gd name="connsiteX28" fmla="*/ 848855 w 2133600"/>
                  <a:gd name="connsiteY28" fmla="*/ 695597 h 895350"/>
                  <a:gd name="connsiteX29" fmla="*/ 827575 w 2133600"/>
                  <a:gd name="connsiteY29" fmla="*/ 695142 h 895350"/>
                  <a:gd name="connsiteX30" fmla="*/ 754341 w 2133600"/>
                  <a:gd name="connsiteY30" fmla="*/ 692930 h 895350"/>
                  <a:gd name="connsiteX31" fmla="*/ 677116 w 2133600"/>
                  <a:gd name="connsiteY31" fmla="*/ 690109 h 895350"/>
                  <a:gd name="connsiteX32" fmla="*/ 676074 w 2133600"/>
                  <a:gd name="connsiteY32" fmla="*/ 690564 h 895350"/>
                  <a:gd name="connsiteX33" fmla="*/ 670001 w 2133600"/>
                  <a:gd name="connsiteY33" fmla="*/ 698808 h 895350"/>
                  <a:gd name="connsiteX34" fmla="*/ 669133 w 2133600"/>
                  <a:gd name="connsiteY34" fmla="*/ 700847 h 895350"/>
                  <a:gd name="connsiteX35" fmla="*/ 667506 w 2133600"/>
                  <a:gd name="connsiteY35" fmla="*/ 701476 h 895350"/>
                  <a:gd name="connsiteX36" fmla="*/ 641410 w 2133600"/>
                  <a:gd name="connsiteY36" fmla="*/ 705467 h 895350"/>
                  <a:gd name="connsiteX37" fmla="*/ 617050 w 2133600"/>
                  <a:gd name="connsiteY37" fmla="*/ 709394 h 895350"/>
                  <a:gd name="connsiteX38" fmla="*/ 589348 w 2133600"/>
                  <a:gd name="connsiteY38" fmla="*/ 697745 h 895350"/>
                  <a:gd name="connsiteX39" fmla="*/ 579695 w 2133600"/>
                  <a:gd name="connsiteY39" fmla="*/ 699632 h 895350"/>
                  <a:gd name="connsiteX40" fmla="*/ 546505 w 2133600"/>
                  <a:gd name="connsiteY40" fmla="*/ 705489 h 895350"/>
                  <a:gd name="connsiteX41" fmla="*/ 514660 w 2133600"/>
                  <a:gd name="connsiteY41" fmla="*/ 711411 h 895350"/>
                  <a:gd name="connsiteX42" fmla="*/ 512340 w 2133600"/>
                  <a:gd name="connsiteY42" fmla="*/ 712214 h 895350"/>
                  <a:gd name="connsiteX43" fmla="*/ 492079 w 2133600"/>
                  <a:gd name="connsiteY43" fmla="*/ 721000 h 895350"/>
                  <a:gd name="connsiteX44" fmla="*/ 495225 w 2133600"/>
                  <a:gd name="connsiteY44" fmla="*/ 743582 h 895350"/>
                  <a:gd name="connsiteX45" fmla="*/ 495441 w 2133600"/>
                  <a:gd name="connsiteY45" fmla="*/ 755447 h 895350"/>
                  <a:gd name="connsiteX46" fmla="*/ 490734 w 2133600"/>
                  <a:gd name="connsiteY46" fmla="*/ 755707 h 895350"/>
                  <a:gd name="connsiteX47" fmla="*/ 490517 w 2133600"/>
                  <a:gd name="connsiteY47" fmla="*/ 759764 h 895350"/>
                  <a:gd name="connsiteX48" fmla="*/ 371079 w 2133600"/>
                  <a:gd name="connsiteY48" fmla="*/ 773452 h 895350"/>
                  <a:gd name="connsiteX49" fmla="*/ 325351 w 2133600"/>
                  <a:gd name="connsiteY49" fmla="*/ 778224 h 895350"/>
                  <a:gd name="connsiteX50" fmla="*/ 298648 w 2133600"/>
                  <a:gd name="connsiteY50" fmla="*/ 780827 h 895350"/>
                  <a:gd name="connsiteX51" fmla="*/ 201053 w 2133600"/>
                  <a:gd name="connsiteY51" fmla="*/ 790827 h 895350"/>
                  <a:gd name="connsiteX52" fmla="*/ 195348 w 2133600"/>
                  <a:gd name="connsiteY52" fmla="*/ 791977 h 895350"/>
                  <a:gd name="connsiteX53" fmla="*/ 181920 w 2133600"/>
                  <a:gd name="connsiteY53" fmla="*/ 795079 h 895350"/>
                  <a:gd name="connsiteX54" fmla="*/ 166823 w 2133600"/>
                  <a:gd name="connsiteY54" fmla="*/ 795513 h 895350"/>
                  <a:gd name="connsiteX55" fmla="*/ 75670 w 2133600"/>
                  <a:gd name="connsiteY55" fmla="*/ 794428 h 895350"/>
                  <a:gd name="connsiteX56" fmla="*/ 67145 w 2133600"/>
                  <a:gd name="connsiteY56" fmla="*/ 794472 h 895350"/>
                  <a:gd name="connsiteX57" fmla="*/ 64130 w 2133600"/>
                  <a:gd name="connsiteY57" fmla="*/ 794776 h 895350"/>
                  <a:gd name="connsiteX58" fmla="*/ 63002 w 2133600"/>
                  <a:gd name="connsiteY58" fmla="*/ 795144 h 895350"/>
                  <a:gd name="connsiteX59" fmla="*/ 61939 w 2133600"/>
                  <a:gd name="connsiteY59" fmla="*/ 795686 h 895350"/>
                  <a:gd name="connsiteX60" fmla="*/ 58685 w 2133600"/>
                  <a:gd name="connsiteY60" fmla="*/ 798376 h 895350"/>
                  <a:gd name="connsiteX61" fmla="*/ 58057 w 2133600"/>
                  <a:gd name="connsiteY61" fmla="*/ 798571 h 895350"/>
                  <a:gd name="connsiteX62" fmla="*/ 35431 w 2133600"/>
                  <a:gd name="connsiteY62" fmla="*/ 798853 h 895350"/>
                  <a:gd name="connsiteX63" fmla="*/ 29162 w 2133600"/>
                  <a:gd name="connsiteY63" fmla="*/ 789916 h 895350"/>
                  <a:gd name="connsiteX64" fmla="*/ 19964 w 2133600"/>
                  <a:gd name="connsiteY64" fmla="*/ 779742 h 895350"/>
                  <a:gd name="connsiteX65" fmla="*/ 7144 w 2133600"/>
                  <a:gd name="connsiteY65" fmla="*/ 769178 h 895350"/>
                  <a:gd name="connsiteX66" fmla="*/ 11569 w 2133600"/>
                  <a:gd name="connsiteY66" fmla="*/ 765946 h 895350"/>
                  <a:gd name="connsiteX67" fmla="*/ 115694 w 2133600"/>
                  <a:gd name="connsiteY67" fmla="*/ 684665 h 895350"/>
                  <a:gd name="connsiteX68" fmla="*/ 406979 w 2133600"/>
                  <a:gd name="connsiteY68" fmla="*/ 680695 h 895350"/>
                  <a:gd name="connsiteX69" fmla="*/ 467284 w 2133600"/>
                  <a:gd name="connsiteY69" fmla="*/ 670304 h 895350"/>
                  <a:gd name="connsiteX70" fmla="*/ 638329 w 2133600"/>
                  <a:gd name="connsiteY70" fmla="*/ 612971 h 895350"/>
                  <a:gd name="connsiteX71" fmla="*/ 657202 w 2133600"/>
                  <a:gd name="connsiteY71" fmla="*/ 566202 h 895350"/>
                  <a:gd name="connsiteX72" fmla="*/ 658199 w 2133600"/>
                  <a:gd name="connsiteY72" fmla="*/ 552775 h 895350"/>
                  <a:gd name="connsiteX73" fmla="*/ 655857 w 2133600"/>
                  <a:gd name="connsiteY73" fmla="*/ 535659 h 895350"/>
                  <a:gd name="connsiteX74" fmla="*/ 654555 w 2133600"/>
                  <a:gd name="connsiteY74" fmla="*/ 525789 h 895350"/>
                  <a:gd name="connsiteX75" fmla="*/ 652040 w 2133600"/>
                  <a:gd name="connsiteY75" fmla="*/ 525984 h 895350"/>
                  <a:gd name="connsiteX76" fmla="*/ 651974 w 2133600"/>
                  <a:gd name="connsiteY76" fmla="*/ 525811 h 895350"/>
                  <a:gd name="connsiteX77" fmla="*/ 647874 w 2133600"/>
                  <a:gd name="connsiteY77" fmla="*/ 526092 h 895350"/>
                  <a:gd name="connsiteX78" fmla="*/ 647917 w 2133600"/>
                  <a:gd name="connsiteY78" fmla="*/ 526288 h 895350"/>
                  <a:gd name="connsiteX79" fmla="*/ 644772 w 2133600"/>
                  <a:gd name="connsiteY79" fmla="*/ 526548 h 895350"/>
                  <a:gd name="connsiteX80" fmla="*/ 644663 w 2133600"/>
                  <a:gd name="connsiteY80" fmla="*/ 526396 h 895350"/>
                  <a:gd name="connsiteX81" fmla="*/ 642430 w 2133600"/>
                  <a:gd name="connsiteY81" fmla="*/ 526722 h 895350"/>
                  <a:gd name="connsiteX82" fmla="*/ 633795 w 2133600"/>
                  <a:gd name="connsiteY82" fmla="*/ 527242 h 895350"/>
                  <a:gd name="connsiteX83" fmla="*/ 633688 w 2133600"/>
                  <a:gd name="connsiteY83" fmla="*/ 527481 h 895350"/>
                  <a:gd name="connsiteX84" fmla="*/ 633340 w 2133600"/>
                  <a:gd name="connsiteY84" fmla="*/ 527459 h 895350"/>
                  <a:gd name="connsiteX85" fmla="*/ 633275 w 2133600"/>
                  <a:gd name="connsiteY85" fmla="*/ 527199 h 895350"/>
                  <a:gd name="connsiteX86" fmla="*/ 632386 w 2133600"/>
                  <a:gd name="connsiteY86" fmla="*/ 527373 h 895350"/>
                  <a:gd name="connsiteX87" fmla="*/ 627071 w 2133600"/>
                  <a:gd name="connsiteY87" fmla="*/ 527568 h 895350"/>
                  <a:gd name="connsiteX88" fmla="*/ 618264 w 2133600"/>
                  <a:gd name="connsiteY88" fmla="*/ 527437 h 895350"/>
                  <a:gd name="connsiteX89" fmla="*/ 609413 w 2133600"/>
                  <a:gd name="connsiteY89" fmla="*/ 526831 h 895350"/>
                  <a:gd name="connsiteX90" fmla="*/ 601951 w 2133600"/>
                  <a:gd name="connsiteY90" fmla="*/ 525854 h 895350"/>
                  <a:gd name="connsiteX91" fmla="*/ 596333 w 2133600"/>
                  <a:gd name="connsiteY91" fmla="*/ 524769 h 895350"/>
                  <a:gd name="connsiteX92" fmla="*/ 590455 w 2133600"/>
                  <a:gd name="connsiteY92" fmla="*/ 523273 h 895350"/>
                  <a:gd name="connsiteX93" fmla="*/ 583924 w 2133600"/>
                  <a:gd name="connsiteY93" fmla="*/ 521212 h 895350"/>
                  <a:gd name="connsiteX94" fmla="*/ 576138 w 2133600"/>
                  <a:gd name="connsiteY94" fmla="*/ 518023 h 895350"/>
                  <a:gd name="connsiteX95" fmla="*/ 572233 w 2133600"/>
                  <a:gd name="connsiteY95" fmla="*/ 516071 h 895350"/>
                  <a:gd name="connsiteX96" fmla="*/ 566484 w 2133600"/>
                  <a:gd name="connsiteY96" fmla="*/ 512470 h 895350"/>
                  <a:gd name="connsiteX97" fmla="*/ 562493 w 2133600"/>
                  <a:gd name="connsiteY97" fmla="*/ 509498 h 895350"/>
                  <a:gd name="connsiteX98" fmla="*/ 557742 w 2133600"/>
                  <a:gd name="connsiteY98" fmla="*/ 505137 h 895350"/>
                  <a:gd name="connsiteX99" fmla="*/ 554315 w 2133600"/>
                  <a:gd name="connsiteY99" fmla="*/ 501189 h 895350"/>
                  <a:gd name="connsiteX100" fmla="*/ 551169 w 2133600"/>
                  <a:gd name="connsiteY100" fmla="*/ 496548 h 895350"/>
                  <a:gd name="connsiteX101" fmla="*/ 548696 w 2133600"/>
                  <a:gd name="connsiteY101" fmla="*/ 491580 h 895350"/>
                  <a:gd name="connsiteX102" fmla="*/ 546874 w 2133600"/>
                  <a:gd name="connsiteY102" fmla="*/ 485962 h 895350"/>
                  <a:gd name="connsiteX103" fmla="*/ 544184 w 2133600"/>
                  <a:gd name="connsiteY103" fmla="*/ 472230 h 895350"/>
                  <a:gd name="connsiteX104" fmla="*/ 540323 w 2133600"/>
                  <a:gd name="connsiteY104" fmla="*/ 447501 h 895350"/>
                  <a:gd name="connsiteX105" fmla="*/ 536505 w 2133600"/>
                  <a:gd name="connsiteY105" fmla="*/ 416263 h 895350"/>
                  <a:gd name="connsiteX106" fmla="*/ 536310 w 2133600"/>
                  <a:gd name="connsiteY106" fmla="*/ 416068 h 895350"/>
                  <a:gd name="connsiteX107" fmla="*/ 536288 w 2133600"/>
                  <a:gd name="connsiteY107" fmla="*/ 414572 h 895350"/>
                  <a:gd name="connsiteX108" fmla="*/ 535963 w 2133600"/>
                  <a:gd name="connsiteY108" fmla="*/ 414572 h 895350"/>
                  <a:gd name="connsiteX109" fmla="*/ 535768 w 2133600"/>
                  <a:gd name="connsiteY109" fmla="*/ 411145 h 895350"/>
                  <a:gd name="connsiteX110" fmla="*/ 536245 w 2133600"/>
                  <a:gd name="connsiteY110" fmla="*/ 411057 h 895350"/>
                  <a:gd name="connsiteX111" fmla="*/ 536180 w 2133600"/>
                  <a:gd name="connsiteY111" fmla="*/ 409605 h 895350"/>
                  <a:gd name="connsiteX112" fmla="*/ 535963 w 2133600"/>
                  <a:gd name="connsiteY112" fmla="*/ 409605 h 895350"/>
                  <a:gd name="connsiteX113" fmla="*/ 535984 w 2133600"/>
                  <a:gd name="connsiteY113" fmla="*/ 404072 h 895350"/>
                  <a:gd name="connsiteX114" fmla="*/ 536440 w 2133600"/>
                  <a:gd name="connsiteY114" fmla="*/ 396697 h 895350"/>
                  <a:gd name="connsiteX115" fmla="*/ 539022 w 2133600"/>
                  <a:gd name="connsiteY115" fmla="*/ 375720 h 895350"/>
                  <a:gd name="connsiteX116" fmla="*/ 539390 w 2133600"/>
                  <a:gd name="connsiteY116" fmla="*/ 369126 h 895350"/>
                  <a:gd name="connsiteX117" fmla="*/ 538804 w 2133600"/>
                  <a:gd name="connsiteY117" fmla="*/ 368215 h 895350"/>
                  <a:gd name="connsiteX118" fmla="*/ 538826 w 2133600"/>
                  <a:gd name="connsiteY118" fmla="*/ 367695 h 895350"/>
                  <a:gd name="connsiteX119" fmla="*/ 539326 w 2133600"/>
                  <a:gd name="connsiteY119" fmla="*/ 366674 h 895350"/>
                  <a:gd name="connsiteX120" fmla="*/ 540735 w 2133600"/>
                  <a:gd name="connsiteY120" fmla="*/ 365677 h 895350"/>
                  <a:gd name="connsiteX121" fmla="*/ 542036 w 2133600"/>
                  <a:gd name="connsiteY121" fmla="*/ 365287 h 895350"/>
                  <a:gd name="connsiteX122" fmla="*/ 545551 w 2133600"/>
                  <a:gd name="connsiteY122" fmla="*/ 364939 h 895350"/>
                  <a:gd name="connsiteX123" fmla="*/ 545486 w 2133600"/>
                  <a:gd name="connsiteY123" fmla="*/ 355850 h 895350"/>
                  <a:gd name="connsiteX124" fmla="*/ 554185 w 2133600"/>
                  <a:gd name="connsiteY124" fmla="*/ 356414 h 895350"/>
                  <a:gd name="connsiteX125" fmla="*/ 554249 w 2133600"/>
                  <a:gd name="connsiteY125" fmla="*/ 356219 h 895350"/>
                  <a:gd name="connsiteX126" fmla="*/ 564900 w 2133600"/>
                  <a:gd name="connsiteY126" fmla="*/ 356891 h 895350"/>
                  <a:gd name="connsiteX127" fmla="*/ 578502 w 2133600"/>
                  <a:gd name="connsiteY127" fmla="*/ 357434 h 895350"/>
                  <a:gd name="connsiteX128" fmla="*/ 591907 w 2133600"/>
                  <a:gd name="connsiteY128" fmla="*/ 357650 h 895350"/>
                  <a:gd name="connsiteX129" fmla="*/ 597808 w 2133600"/>
                  <a:gd name="connsiteY129" fmla="*/ 357304 h 895350"/>
                  <a:gd name="connsiteX130" fmla="*/ 605531 w 2133600"/>
                  <a:gd name="connsiteY130" fmla="*/ 356154 h 895350"/>
                  <a:gd name="connsiteX131" fmla="*/ 609262 w 2133600"/>
                  <a:gd name="connsiteY131" fmla="*/ 355286 h 895350"/>
                  <a:gd name="connsiteX132" fmla="*/ 613275 w 2133600"/>
                  <a:gd name="connsiteY132" fmla="*/ 354137 h 895350"/>
                  <a:gd name="connsiteX133" fmla="*/ 616615 w 2133600"/>
                  <a:gd name="connsiteY133" fmla="*/ 352987 h 895350"/>
                  <a:gd name="connsiteX134" fmla="*/ 620260 w 2133600"/>
                  <a:gd name="connsiteY134" fmla="*/ 351490 h 895350"/>
                  <a:gd name="connsiteX135" fmla="*/ 625987 w 2133600"/>
                  <a:gd name="connsiteY135" fmla="*/ 348497 h 895350"/>
                  <a:gd name="connsiteX136" fmla="*/ 630650 w 2133600"/>
                  <a:gd name="connsiteY136" fmla="*/ 345286 h 895350"/>
                  <a:gd name="connsiteX137" fmla="*/ 635271 w 2133600"/>
                  <a:gd name="connsiteY137" fmla="*/ 341121 h 895350"/>
                  <a:gd name="connsiteX138" fmla="*/ 629587 w 2133600"/>
                  <a:gd name="connsiteY138" fmla="*/ 338843 h 895350"/>
                  <a:gd name="connsiteX139" fmla="*/ 627614 w 2133600"/>
                  <a:gd name="connsiteY139" fmla="*/ 338583 h 895350"/>
                  <a:gd name="connsiteX140" fmla="*/ 625835 w 2133600"/>
                  <a:gd name="connsiteY140" fmla="*/ 338583 h 895350"/>
                  <a:gd name="connsiteX141" fmla="*/ 625791 w 2133600"/>
                  <a:gd name="connsiteY141" fmla="*/ 336349 h 895350"/>
                  <a:gd name="connsiteX142" fmla="*/ 623861 w 2133600"/>
                  <a:gd name="connsiteY142" fmla="*/ 234351 h 895350"/>
                  <a:gd name="connsiteX143" fmla="*/ 623644 w 2133600"/>
                  <a:gd name="connsiteY143" fmla="*/ 223115 h 895350"/>
                  <a:gd name="connsiteX144" fmla="*/ 607287 w 2133600"/>
                  <a:gd name="connsiteY144" fmla="*/ 223244 h 895350"/>
                  <a:gd name="connsiteX145" fmla="*/ 606138 w 2133600"/>
                  <a:gd name="connsiteY145" fmla="*/ 149794 h 895350"/>
                  <a:gd name="connsiteX146" fmla="*/ 697095 w 2133600"/>
                  <a:gd name="connsiteY146" fmla="*/ 149229 h 895350"/>
                  <a:gd name="connsiteX147" fmla="*/ 696183 w 2133600"/>
                  <a:gd name="connsiteY147" fmla="*/ 97016 h 895350"/>
                  <a:gd name="connsiteX148" fmla="*/ 721151 w 2133600"/>
                  <a:gd name="connsiteY148" fmla="*/ 96821 h 895350"/>
                  <a:gd name="connsiteX149" fmla="*/ 726466 w 2133600"/>
                  <a:gd name="connsiteY149" fmla="*/ 96951 h 895350"/>
                  <a:gd name="connsiteX150" fmla="*/ 732713 w 2133600"/>
                  <a:gd name="connsiteY150" fmla="*/ 97059 h 895350"/>
                  <a:gd name="connsiteX151" fmla="*/ 767442 w 2133600"/>
                  <a:gd name="connsiteY151" fmla="*/ 96799 h 895350"/>
                  <a:gd name="connsiteX152" fmla="*/ 772866 w 2133600"/>
                  <a:gd name="connsiteY152" fmla="*/ 97146 h 895350"/>
                  <a:gd name="connsiteX153" fmla="*/ 776206 w 2133600"/>
                  <a:gd name="connsiteY153" fmla="*/ 97059 h 895350"/>
                  <a:gd name="connsiteX154" fmla="*/ 779200 w 2133600"/>
                  <a:gd name="connsiteY154" fmla="*/ 96864 h 895350"/>
                  <a:gd name="connsiteX155" fmla="*/ 781934 w 2133600"/>
                  <a:gd name="connsiteY155" fmla="*/ 96452 h 895350"/>
                  <a:gd name="connsiteX156" fmla="*/ 785492 w 2133600"/>
                  <a:gd name="connsiteY156" fmla="*/ 95389 h 895350"/>
                  <a:gd name="connsiteX157" fmla="*/ 794103 w 2133600"/>
                  <a:gd name="connsiteY157" fmla="*/ 93545 h 895350"/>
                  <a:gd name="connsiteX158" fmla="*/ 797270 w 2133600"/>
                  <a:gd name="connsiteY158" fmla="*/ 93024 h 895350"/>
                  <a:gd name="connsiteX159" fmla="*/ 798832 w 2133600"/>
                  <a:gd name="connsiteY159" fmla="*/ 93133 h 895350"/>
                  <a:gd name="connsiteX160" fmla="*/ 804776 w 2133600"/>
                  <a:gd name="connsiteY160" fmla="*/ 94608 h 895350"/>
                  <a:gd name="connsiteX161" fmla="*/ 823951 w 2133600"/>
                  <a:gd name="connsiteY161" fmla="*/ 100443 h 895350"/>
                  <a:gd name="connsiteX162" fmla="*/ 814168 w 2133600"/>
                  <a:gd name="connsiteY162" fmla="*/ 112873 h 895350"/>
                  <a:gd name="connsiteX163" fmla="*/ 809678 w 2133600"/>
                  <a:gd name="connsiteY163" fmla="*/ 127190 h 895350"/>
                  <a:gd name="connsiteX164" fmla="*/ 830547 w 2133600"/>
                  <a:gd name="connsiteY164" fmla="*/ 129641 h 895350"/>
                  <a:gd name="connsiteX165" fmla="*/ 914258 w 2133600"/>
                  <a:gd name="connsiteY165" fmla="*/ 108057 h 895350"/>
                  <a:gd name="connsiteX166" fmla="*/ 932479 w 2133600"/>
                  <a:gd name="connsiteY166" fmla="*/ 103588 h 895350"/>
                  <a:gd name="connsiteX167" fmla="*/ 976689 w 2133600"/>
                  <a:gd name="connsiteY167" fmla="*/ 92200 h 895350"/>
                  <a:gd name="connsiteX168" fmla="*/ 976472 w 2133600"/>
                  <a:gd name="connsiteY168" fmla="*/ 91810 h 895350"/>
                  <a:gd name="connsiteX169" fmla="*/ 985930 w 2133600"/>
                  <a:gd name="connsiteY169" fmla="*/ 89445 h 895350"/>
                  <a:gd name="connsiteX170" fmla="*/ 986125 w 2133600"/>
                  <a:gd name="connsiteY170" fmla="*/ 89705 h 895350"/>
                  <a:gd name="connsiteX171" fmla="*/ 1006125 w 2133600"/>
                  <a:gd name="connsiteY171" fmla="*/ 84716 h 895350"/>
                  <a:gd name="connsiteX172" fmla="*/ 1006255 w 2133600"/>
                  <a:gd name="connsiteY172" fmla="*/ 84912 h 895350"/>
                  <a:gd name="connsiteX173" fmla="*/ 1016993 w 2133600"/>
                  <a:gd name="connsiteY173" fmla="*/ 82504 h 895350"/>
                  <a:gd name="connsiteX174" fmla="*/ 1055410 w 2133600"/>
                  <a:gd name="connsiteY174" fmla="*/ 73263 h 895350"/>
                  <a:gd name="connsiteX175" fmla="*/ 1056148 w 2133600"/>
                  <a:gd name="connsiteY175" fmla="*/ 73154 h 895350"/>
                  <a:gd name="connsiteX176" fmla="*/ 1056950 w 2133600"/>
                  <a:gd name="connsiteY176" fmla="*/ 76365 h 895350"/>
                  <a:gd name="connsiteX177" fmla="*/ 1057341 w 2133600"/>
                  <a:gd name="connsiteY177" fmla="*/ 76625 h 895350"/>
                  <a:gd name="connsiteX178" fmla="*/ 1062981 w 2133600"/>
                  <a:gd name="connsiteY178" fmla="*/ 77297 h 895350"/>
                  <a:gd name="connsiteX179" fmla="*/ 1065346 w 2133600"/>
                  <a:gd name="connsiteY179" fmla="*/ 74867 h 895350"/>
                  <a:gd name="connsiteX180" fmla="*/ 1065346 w 2133600"/>
                  <a:gd name="connsiteY180" fmla="*/ 70855 h 895350"/>
                  <a:gd name="connsiteX181" fmla="*/ 1086431 w 2133600"/>
                  <a:gd name="connsiteY181" fmla="*/ 65823 h 895350"/>
                  <a:gd name="connsiteX182" fmla="*/ 1114002 w 2133600"/>
                  <a:gd name="connsiteY182" fmla="*/ 59488 h 895350"/>
                  <a:gd name="connsiteX183" fmla="*/ 1124696 w 2133600"/>
                  <a:gd name="connsiteY183" fmla="*/ 56755 h 895350"/>
                  <a:gd name="connsiteX184" fmla="*/ 1153179 w 2133600"/>
                  <a:gd name="connsiteY184" fmla="*/ 49076 h 895350"/>
                  <a:gd name="connsiteX185" fmla="*/ 1155413 w 2133600"/>
                  <a:gd name="connsiteY185" fmla="*/ 52112 h 895350"/>
                  <a:gd name="connsiteX186" fmla="*/ 1181140 w 2133600"/>
                  <a:gd name="connsiteY186" fmla="*/ 45605 h 895350"/>
                  <a:gd name="connsiteX187" fmla="*/ 1182354 w 2133600"/>
                  <a:gd name="connsiteY187" fmla="*/ 47362 h 895350"/>
                  <a:gd name="connsiteX188" fmla="*/ 1186107 w 2133600"/>
                  <a:gd name="connsiteY188" fmla="*/ 46386 h 895350"/>
                  <a:gd name="connsiteX189" fmla="*/ 1181769 w 2133600"/>
                  <a:gd name="connsiteY189" fmla="*/ 40008 h 895350"/>
                  <a:gd name="connsiteX190" fmla="*/ 1184242 w 2133600"/>
                  <a:gd name="connsiteY190" fmla="*/ 39401 h 895350"/>
                  <a:gd name="connsiteX191" fmla="*/ 1187518 w 2133600"/>
                  <a:gd name="connsiteY191" fmla="*/ 44021 h 895350"/>
                  <a:gd name="connsiteX192" fmla="*/ 1194134 w 2133600"/>
                  <a:gd name="connsiteY192" fmla="*/ 44129 h 895350"/>
                  <a:gd name="connsiteX193" fmla="*/ 1195674 w 2133600"/>
                  <a:gd name="connsiteY193" fmla="*/ 43934 h 895350"/>
                  <a:gd name="connsiteX194" fmla="*/ 1201379 w 2133600"/>
                  <a:gd name="connsiteY194" fmla="*/ 42893 h 895350"/>
                  <a:gd name="connsiteX195" fmla="*/ 1207344 w 2133600"/>
                  <a:gd name="connsiteY195" fmla="*/ 41419 h 895350"/>
                  <a:gd name="connsiteX196" fmla="*/ 1219535 w 2133600"/>
                  <a:gd name="connsiteY196" fmla="*/ 37752 h 895350"/>
                  <a:gd name="connsiteX197" fmla="*/ 1225479 w 2133600"/>
                  <a:gd name="connsiteY197" fmla="*/ 35453 h 895350"/>
                  <a:gd name="connsiteX198" fmla="*/ 1229991 w 2133600"/>
                  <a:gd name="connsiteY198" fmla="*/ 35778 h 895350"/>
                  <a:gd name="connsiteX199" fmla="*/ 1232356 w 2133600"/>
                  <a:gd name="connsiteY199" fmla="*/ 35453 h 895350"/>
                  <a:gd name="connsiteX200" fmla="*/ 1234959 w 2133600"/>
                  <a:gd name="connsiteY200" fmla="*/ 34737 h 895350"/>
                  <a:gd name="connsiteX201" fmla="*/ 1236282 w 2133600"/>
                  <a:gd name="connsiteY201" fmla="*/ 34238 h 895350"/>
                  <a:gd name="connsiteX202" fmla="*/ 1237128 w 2133600"/>
                  <a:gd name="connsiteY202" fmla="*/ 33197 h 895350"/>
                  <a:gd name="connsiteX203" fmla="*/ 1237779 w 2133600"/>
                  <a:gd name="connsiteY203" fmla="*/ 30571 h 895350"/>
                  <a:gd name="connsiteX204" fmla="*/ 1239493 w 2133600"/>
                  <a:gd name="connsiteY204" fmla="*/ 30116 h 895350"/>
                  <a:gd name="connsiteX205" fmla="*/ 1241271 w 2133600"/>
                  <a:gd name="connsiteY205" fmla="*/ 29661 h 895350"/>
                  <a:gd name="connsiteX206" fmla="*/ 1242508 w 2133600"/>
                  <a:gd name="connsiteY206" fmla="*/ 30464 h 895350"/>
                  <a:gd name="connsiteX207" fmla="*/ 1244308 w 2133600"/>
                  <a:gd name="connsiteY207" fmla="*/ 30832 h 895350"/>
                  <a:gd name="connsiteX208" fmla="*/ 1246347 w 2133600"/>
                  <a:gd name="connsiteY208" fmla="*/ 31548 h 895350"/>
                  <a:gd name="connsiteX209" fmla="*/ 1249428 w 2133600"/>
                  <a:gd name="connsiteY209" fmla="*/ 31634 h 895350"/>
                  <a:gd name="connsiteX210" fmla="*/ 1254005 w 2133600"/>
                  <a:gd name="connsiteY210" fmla="*/ 32004 h 895350"/>
                  <a:gd name="connsiteX211" fmla="*/ 1263203 w 2133600"/>
                  <a:gd name="connsiteY211" fmla="*/ 34737 h 895350"/>
                  <a:gd name="connsiteX212" fmla="*/ 1267866 w 2133600"/>
                  <a:gd name="connsiteY212" fmla="*/ 36949 h 895350"/>
                  <a:gd name="connsiteX213" fmla="*/ 1268929 w 2133600"/>
                  <a:gd name="connsiteY213" fmla="*/ 37101 h 895350"/>
                  <a:gd name="connsiteX214" fmla="*/ 1270556 w 2133600"/>
                  <a:gd name="connsiteY214" fmla="*/ 37123 h 895350"/>
                  <a:gd name="connsiteX215" fmla="*/ 1272747 w 2133600"/>
                  <a:gd name="connsiteY215" fmla="*/ 36428 h 895350"/>
                  <a:gd name="connsiteX216" fmla="*/ 1274092 w 2133600"/>
                  <a:gd name="connsiteY216" fmla="*/ 35474 h 895350"/>
                  <a:gd name="connsiteX217" fmla="*/ 1275611 w 2133600"/>
                  <a:gd name="connsiteY217" fmla="*/ 34000 h 895350"/>
                  <a:gd name="connsiteX218" fmla="*/ 1280470 w 2133600"/>
                  <a:gd name="connsiteY218" fmla="*/ 35063 h 895350"/>
                  <a:gd name="connsiteX219" fmla="*/ 1281402 w 2133600"/>
                  <a:gd name="connsiteY219" fmla="*/ 36212 h 895350"/>
                  <a:gd name="connsiteX220" fmla="*/ 1288257 w 2133600"/>
                  <a:gd name="connsiteY220" fmla="*/ 34260 h 895350"/>
                  <a:gd name="connsiteX221" fmla="*/ 1289862 w 2133600"/>
                  <a:gd name="connsiteY221" fmla="*/ 35756 h 895350"/>
                  <a:gd name="connsiteX222" fmla="*/ 1295004 w 2133600"/>
                  <a:gd name="connsiteY222" fmla="*/ 34411 h 895350"/>
                  <a:gd name="connsiteX223" fmla="*/ 1296522 w 2133600"/>
                  <a:gd name="connsiteY223" fmla="*/ 36624 h 895350"/>
                  <a:gd name="connsiteX224" fmla="*/ 1296305 w 2133600"/>
                  <a:gd name="connsiteY224" fmla="*/ 36993 h 895350"/>
                  <a:gd name="connsiteX225" fmla="*/ 1297130 w 2133600"/>
                  <a:gd name="connsiteY225" fmla="*/ 38164 h 895350"/>
                  <a:gd name="connsiteX226" fmla="*/ 1297802 w 2133600"/>
                  <a:gd name="connsiteY226" fmla="*/ 38468 h 895350"/>
                  <a:gd name="connsiteX227" fmla="*/ 1297998 w 2133600"/>
                  <a:gd name="connsiteY227" fmla="*/ 39162 h 895350"/>
                  <a:gd name="connsiteX228" fmla="*/ 1304918 w 2133600"/>
                  <a:gd name="connsiteY228" fmla="*/ 37427 h 895350"/>
                  <a:gd name="connsiteX229" fmla="*/ 1304483 w 2133600"/>
                  <a:gd name="connsiteY229" fmla="*/ 36819 h 895350"/>
                  <a:gd name="connsiteX230" fmla="*/ 1306718 w 2133600"/>
                  <a:gd name="connsiteY230" fmla="*/ 36255 h 895350"/>
                  <a:gd name="connsiteX231" fmla="*/ 1306392 w 2133600"/>
                  <a:gd name="connsiteY231" fmla="*/ 35756 h 895350"/>
                  <a:gd name="connsiteX232" fmla="*/ 1305590 w 2133600"/>
                  <a:gd name="connsiteY232" fmla="*/ 35800 h 895350"/>
                  <a:gd name="connsiteX233" fmla="*/ 1305242 w 2133600"/>
                  <a:gd name="connsiteY233" fmla="*/ 35279 h 895350"/>
                  <a:gd name="connsiteX234" fmla="*/ 1304114 w 2133600"/>
                  <a:gd name="connsiteY234" fmla="*/ 34976 h 895350"/>
                  <a:gd name="connsiteX235" fmla="*/ 1303529 w 2133600"/>
                  <a:gd name="connsiteY235" fmla="*/ 35127 h 895350"/>
                  <a:gd name="connsiteX236" fmla="*/ 1300470 w 2133600"/>
                  <a:gd name="connsiteY236" fmla="*/ 30746 h 895350"/>
                  <a:gd name="connsiteX237" fmla="*/ 1310210 w 2133600"/>
                  <a:gd name="connsiteY237" fmla="*/ 27990 h 895350"/>
                  <a:gd name="connsiteX238" fmla="*/ 1313724 w 2133600"/>
                  <a:gd name="connsiteY238" fmla="*/ 33023 h 895350"/>
                  <a:gd name="connsiteX239" fmla="*/ 1314353 w 2133600"/>
                  <a:gd name="connsiteY239" fmla="*/ 32850 h 895350"/>
                  <a:gd name="connsiteX240" fmla="*/ 1315785 w 2133600"/>
                  <a:gd name="connsiteY240" fmla="*/ 34823 h 895350"/>
                  <a:gd name="connsiteX241" fmla="*/ 1340341 w 2133600"/>
                  <a:gd name="connsiteY241" fmla="*/ 28034 h 895350"/>
                  <a:gd name="connsiteX242" fmla="*/ 1384095 w 2133600"/>
                  <a:gd name="connsiteY242" fmla="*/ 16363 h 895350"/>
                  <a:gd name="connsiteX243" fmla="*/ 1416503 w 2133600"/>
                  <a:gd name="connsiteY243" fmla="*/ 7144 h 895350"/>
                  <a:gd name="connsiteX244" fmla="*/ 1420733 w 2133600"/>
                  <a:gd name="connsiteY244" fmla="*/ 8728 h 895350"/>
                  <a:gd name="connsiteX245" fmla="*/ 1422903 w 2133600"/>
                  <a:gd name="connsiteY245" fmla="*/ 9292 h 895350"/>
                  <a:gd name="connsiteX246" fmla="*/ 1425136 w 2133600"/>
                  <a:gd name="connsiteY246" fmla="*/ 9682 h 895350"/>
                  <a:gd name="connsiteX247" fmla="*/ 1428152 w 2133600"/>
                  <a:gd name="connsiteY247" fmla="*/ 9942 h 895350"/>
                  <a:gd name="connsiteX248" fmla="*/ 1450017 w 2133600"/>
                  <a:gd name="connsiteY248" fmla="*/ 10311 h 895350"/>
                  <a:gd name="connsiteX249" fmla="*/ 1454508 w 2133600"/>
                  <a:gd name="connsiteY249" fmla="*/ 10810 h 895350"/>
                  <a:gd name="connsiteX250" fmla="*/ 1458999 w 2133600"/>
                  <a:gd name="connsiteY250" fmla="*/ 11700 h 895350"/>
                  <a:gd name="connsiteX251" fmla="*/ 1463098 w 2133600"/>
                  <a:gd name="connsiteY251" fmla="*/ 12914 h 895350"/>
                  <a:gd name="connsiteX252" fmla="*/ 1466960 w 2133600"/>
                  <a:gd name="connsiteY252" fmla="*/ 14476 h 895350"/>
                  <a:gd name="connsiteX253" fmla="*/ 1487850 w 2133600"/>
                  <a:gd name="connsiteY253" fmla="*/ 24932 h 895350"/>
                  <a:gd name="connsiteX254" fmla="*/ 1507676 w 2133600"/>
                  <a:gd name="connsiteY254" fmla="*/ 34845 h 895350"/>
                  <a:gd name="connsiteX255" fmla="*/ 1531300 w 2133600"/>
                  <a:gd name="connsiteY255" fmla="*/ 46711 h 895350"/>
                  <a:gd name="connsiteX256" fmla="*/ 1537178 w 2133600"/>
                  <a:gd name="connsiteY256" fmla="*/ 49813 h 895350"/>
                  <a:gd name="connsiteX257" fmla="*/ 1543491 w 2133600"/>
                  <a:gd name="connsiteY257" fmla="*/ 54000 h 895350"/>
                  <a:gd name="connsiteX258" fmla="*/ 1548480 w 2133600"/>
                  <a:gd name="connsiteY258" fmla="*/ 58251 h 895350"/>
                  <a:gd name="connsiteX259" fmla="*/ 1551083 w 2133600"/>
                  <a:gd name="connsiteY259" fmla="*/ 60985 h 895350"/>
                  <a:gd name="connsiteX260" fmla="*/ 1553469 w 2133600"/>
                  <a:gd name="connsiteY260" fmla="*/ 63892 h 895350"/>
                  <a:gd name="connsiteX261" fmla="*/ 1558133 w 2133600"/>
                  <a:gd name="connsiteY261" fmla="*/ 68165 h 895350"/>
                  <a:gd name="connsiteX262" fmla="*/ 1564489 w 2133600"/>
                  <a:gd name="connsiteY262" fmla="*/ 72894 h 895350"/>
                  <a:gd name="connsiteX263" fmla="*/ 1571518 w 2133600"/>
                  <a:gd name="connsiteY263" fmla="*/ 77080 h 895350"/>
                  <a:gd name="connsiteX264" fmla="*/ 1575596 w 2133600"/>
                  <a:gd name="connsiteY264" fmla="*/ 79098 h 895350"/>
                  <a:gd name="connsiteX265" fmla="*/ 1579977 w 2133600"/>
                  <a:gd name="connsiteY265" fmla="*/ 80920 h 895350"/>
                  <a:gd name="connsiteX266" fmla="*/ 1588762 w 2133600"/>
                  <a:gd name="connsiteY266" fmla="*/ 83784 h 895350"/>
                  <a:gd name="connsiteX267" fmla="*/ 1597115 w 2133600"/>
                  <a:gd name="connsiteY267" fmla="*/ 85715 h 895350"/>
                  <a:gd name="connsiteX268" fmla="*/ 1603015 w 2133600"/>
                  <a:gd name="connsiteY268" fmla="*/ 86669 h 895350"/>
                  <a:gd name="connsiteX269" fmla="*/ 1607007 w 2133600"/>
                  <a:gd name="connsiteY269" fmla="*/ 87124 h 895350"/>
                  <a:gd name="connsiteX270" fmla="*/ 1610585 w 2133600"/>
                  <a:gd name="connsiteY270" fmla="*/ 87428 h 895350"/>
                  <a:gd name="connsiteX271" fmla="*/ 1721954 w 2133600"/>
                  <a:gd name="connsiteY271" fmla="*/ 94131 h 895350"/>
                  <a:gd name="connsiteX272" fmla="*/ 1762324 w 2133600"/>
                  <a:gd name="connsiteY272" fmla="*/ 96561 h 895350"/>
                  <a:gd name="connsiteX273" fmla="*/ 1767096 w 2133600"/>
                  <a:gd name="connsiteY273" fmla="*/ 96257 h 895350"/>
                  <a:gd name="connsiteX274" fmla="*/ 1773647 w 2133600"/>
                  <a:gd name="connsiteY274" fmla="*/ 95606 h 895350"/>
                  <a:gd name="connsiteX275" fmla="*/ 1779049 w 2133600"/>
                  <a:gd name="connsiteY275" fmla="*/ 94846 h 895350"/>
                  <a:gd name="connsiteX276" fmla="*/ 1788507 w 2133600"/>
                  <a:gd name="connsiteY276" fmla="*/ 92959 h 895350"/>
                  <a:gd name="connsiteX277" fmla="*/ 1841198 w 2133600"/>
                  <a:gd name="connsiteY277" fmla="*/ 82222 h 895350"/>
                  <a:gd name="connsiteX278" fmla="*/ 1891633 w 2133600"/>
                  <a:gd name="connsiteY278" fmla="*/ 72395 h 895350"/>
                  <a:gd name="connsiteX279" fmla="*/ 1905364 w 2133600"/>
                  <a:gd name="connsiteY279" fmla="*/ 68837 h 895350"/>
                  <a:gd name="connsiteX280" fmla="*/ 1910961 w 2133600"/>
                  <a:gd name="connsiteY280" fmla="*/ 78837 h 895350"/>
                  <a:gd name="connsiteX281" fmla="*/ 1936211 w 2133600"/>
                  <a:gd name="connsiteY281" fmla="*/ 134869 h 895350"/>
                  <a:gd name="connsiteX282" fmla="*/ 1946992 w 2133600"/>
                  <a:gd name="connsiteY282" fmla="*/ 151876 h 895350"/>
                  <a:gd name="connsiteX283" fmla="*/ 1986277 w 2133600"/>
                  <a:gd name="connsiteY283" fmla="*/ 195153 h 895350"/>
                  <a:gd name="connsiteX284" fmla="*/ 2027190 w 2133600"/>
                  <a:gd name="connsiteY284" fmla="*/ 239037 h 895350"/>
                  <a:gd name="connsiteX285" fmla="*/ 2044890 w 2133600"/>
                  <a:gd name="connsiteY285" fmla="*/ 268039 h 895350"/>
                  <a:gd name="connsiteX286" fmla="*/ 2070227 w 2133600"/>
                  <a:gd name="connsiteY286" fmla="*/ 309559 h 895350"/>
                  <a:gd name="connsiteX287" fmla="*/ 2080531 w 2133600"/>
                  <a:gd name="connsiteY287" fmla="*/ 326435 h 895350"/>
                  <a:gd name="connsiteX288" fmla="*/ 2090379 w 2133600"/>
                  <a:gd name="connsiteY288" fmla="*/ 360731 h 895350"/>
                  <a:gd name="connsiteX289" fmla="*/ 2091030 w 2133600"/>
                  <a:gd name="connsiteY289" fmla="*/ 364006 h 895350"/>
                  <a:gd name="connsiteX290" fmla="*/ 2093069 w 2133600"/>
                  <a:gd name="connsiteY290" fmla="*/ 373964 h 895350"/>
                  <a:gd name="connsiteX291" fmla="*/ 2096474 w 2133600"/>
                  <a:gd name="connsiteY291" fmla="*/ 383638 h 895350"/>
                  <a:gd name="connsiteX292" fmla="*/ 2105456 w 2133600"/>
                  <a:gd name="connsiteY292" fmla="*/ 401535 h 895350"/>
                  <a:gd name="connsiteX293" fmla="*/ 2111551 w 2133600"/>
                  <a:gd name="connsiteY293" fmla="*/ 408997 h 895350"/>
                  <a:gd name="connsiteX294" fmla="*/ 2127300 w 2133600"/>
                  <a:gd name="connsiteY294" fmla="*/ 428368 h 895350"/>
                  <a:gd name="connsiteX295" fmla="*/ 2129057 w 2133600"/>
                  <a:gd name="connsiteY295" fmla="*/ 432924 h 895350"/>
                  <a:gd name="connsiteX296" fmla="*/ 2130011 w 2133600"/>
                  <a:gd name="connsiteY296" fmla="*/ 439041 h 895350"/>
                  <a:gd name="connsiteX297" fmla="*/ 2129578 w 2133600"/>
                  <a:gd name="connsiteY297" fmla="*/ 445223 h 895350"/>
                  <a:gd name="connsiteX298" fmla="*/ 2127387 w 2133600"/>
                  <a:gd name="connsiteY298" fmla="*/ 450885 h 895350"/>
                  <a:gd name="connsiteX299" fmla="*/ 2123330 w 2133600"/>
                  <a:gd name="connsiteY299" fmla="*/ 456525 h 895350"/>
                  <a:gd name="connsiteX300" fmla="*/ 2116714 w 2133600"/>
                  <a:gd name="connsiteY300" fmla="*/ 465224 h 895350"/>
                  <a:gd name="connsiteX301" fmla="*/ 2109555 w 2133600"/>
                  <a:gd name="connsiteY301" fmla="*/ 473076 h 895350"/>
                  <a:gd name="connsiteX302" fmla="*/ 2099925 w 2133600"/>
                  <a:gd name="connsiteY302" fmla="*/ 479584 h 895350"/>
                  <a:gd name="connsiteX303" fmla="*/ 2091074 w 2133600"/>
                  <a:gd name="connsiteY303" fmla="*/ 484855 h 895350"/>
                  <a:gd name="connsiteX304" fmla="*/ 2078730 w 2133600"/>
                  <a:gd name="connsiteY304" fmla="*/ 491363 h 895350"/>
                  <a:gd name="connsiteX305" fmla="*/ 2065498 w 2133600"/>
                  <a:gd name="connsiteY305" fmla="*/ 496113 h 895350"/>
                  <a:gd name="connsiteX306" fmla="*/ 2060813 w 2133600"/>
                  <a:gd name="connsiteY306" fmla="*/ 497307 h 895350"/>
                  <a:gd name="connsiteX307" fmla="*/ 2047276 w 2133600"/>
                  <a:gd name="connsiteY307" fmla="*/ 500561 h 895350"/>
                  <a:gd name="connsiteX308" fmla="*/ 2037298 w 2133600"/>
                  <a:gd name="connsiteY308" fmla="*/ 502730 h 895350"/>
                  <a:gd name="connsiteX309" fmla="*/ 2023349 w 2133600"/>
                  <a:gd name="connsiteY309" fmla="*/ 506331 h 895350"/>
                  <a:gd name="connsiteX310" fmla="*/ 2009249 w 2133600"/>
                  <a:gd name="connsiteY310" fmla="*/ 512231 h 895350"/>
                  <a:gd name="connsiteX311" fmla="*/ 2005844 w 2133600"/>
                  <a:gd name="connsiteY311" fmla="*/ 513663 h 895350"/>
                  <a:gd name="connsiteX312" fmla="*/ 1977601 w 2133600"/>
                  <a:gd name="connsiteY312" fmla="*/ 524227 h 895350"/>
                  <a:gd name="connsiteX313" fmla="*/ 1972958 w 2133600"/>
                  <a:gd name="connsiteY313" fmla="*/ 526440 h 895350"/>
                  <a:gd name="connsiteX314" fmla="*/ 1967232 w 2133600"/>
                  <a:gd name="connsiteY314" fmla="*/ 529802 h 895350"/>
                  <a:gd name="connsiteX315" fmla="*/ 1965604 w 2133600"/>
                  <a:gd name="connsiteY315" fmla="*/ 530822 h 895350"/>
                  <a:gd name="connsiteX316" fmla="*/ 1963435 w 2133600"/>
                  <a:gd name="connsiteY316" fmla="*/ 532926 h 895350"/>
                  <a:gd name="connsiteX317" fmla="*/ 1961873 w 2133600"/>
                  <a:gd name="connsiteY317" fmla="*/ 535116 h 895350"/>
                  <a:gd name="connsiteX318" fmla="*/ 1960854 w 2133600"/>
                  <a:gd name="connsiteY318" fmla="*/ 537307 h 895350"/>
                  <a:gd name="connsiteX319" fmla="*/ 1954542 w 2133600"/>
                  <a:gd name="connsiteY319" fmla="*/ 563512 h 895350"/>
                  <a:gd name="connsiteX320" fmla="*/ 1953652 w 2133600"/>
                  <a:gd name="connsiteY320" fmla="*/ 568848 h 895350"/>
                  <a:gd name="connsiteX321" fmla="*/ 1952329 w 2133600"/>
                  <a:gd name="connsiteY321" fmla="*/ 573209 h 895350"/>
                  <a:gd name="connsiteX322" fmla="*/ 1951395 w 2133600"/>
                  <a:gd name="connsiteY322" fmla="*/ 575335 h 895350"/>
                  <a:gd name="connsiteX323" fmla="*/ 1948663 w 2133600"/>
                  <a:gd name="connsiteY323" fmla="*/ 579976 h 895350"/>
                  <a:gd name="connsiteX324" fmla="*/ 1945604 w 2133600"/>
                  <a:gd name="connsiteY324" fmla="*/ 583903 h 895350"/>
                  <a:gd name="connsiteX325" fmla="*/ 1942611 w 2133600"/>
                  <a:gd name="connsiteY325" fmla="*/ 586918 h 895350"/>
                  <a:gd name="connsiteX326" fmla="*/ 1935127 w 2133600"/>
                  <a:gd name="connsiteY326" fmla="*/ 595183 h 895350"/>
                  <a:gd name="connsiteX327" fmla="*/ 1925235 w 2133600"/>
                  <a:gd name="connsiteY327" fmla="*/ 605140 h 895350"/>
                  <a:gd name="connsiteX328" fmla="*/ 1918857 w 2133600"/>
                  <a:gd name="connsiteY328" fmla="*/ 610672 h 895350"/>
                  <a:gd name="connsiteX329" fmla="*/ 1908510 w 2133600"/>
                  <a:gd name="connsiteY329" fmla="*/ 619045 h 895350"/>
                  <a:gd name="connsiteX330" fmla="*/ 1903521 w 2133600"/>
                  <a:gd name="connsiteY330" fmla="*/ 622321 h 895350"/>
                  <a:gd name="connsiteX331" fmla="*/ 1897251 w 2133600"/>
                  <a:gd name="connsiteY331" fmla="*/ 625032 h 895350"/>
                  <a:gd name="connsiteX332" fmla="*/ 1890375 w 2133600"/>
                  <a:gd name="connsiteY332" fmla="*/ 626962 h 895350"/>
                  <a:gd name="connsiteX333" fmla="*/ 1881914 w 2133600"/>
                  <a:gd name="connsiteY333" fmla="*/ 628091 h 895350"/>
                  <a:gd name="connsiteX334" fmla="*/ 1866687 w 2133600"/>
                  <a:gd name="connsiteY334" fmla="*/ 629154 h 895350"/>
                  <a:gd name="connsiteX335" fmla="*/ 1858660 w 2133600"/>
                  <a:gd name="connsiteY335" fmla="*/ 629479 h 895350"/>
                  <a:gd name="connsiteX336" fmla="*/ 1852521 w 2133600"/>
                  <a:gd name="connsiteY336" fmla="*/ 629436 h 895350"/>
                  <a:gd name="connsiteX337" fmla="*/ 1830005 w 2133600"/>
                  <a:gd name="connsiteY337" fmla="*/ 627896 h 895350"/>
                  <a:gd name="connsiteX338" fmla="*/ 1817879 w 2133600"/>
                  <a:gd name="connsiteY338" fmla="*/ 628307 h 895350"/>
                  <a:gd name="connsiteX339" fmla="*/ 1809223 w 2133600"/>
                  <a:gd name="connsiteY339" fmla="*/ 629261 h 895350"/>
                  <a:gd name="connsiteX340" fmla="*/ 1801132 w 2133600"/>
                  <a:gd name="connsiteY340" fmla="*/ 630759 h 895350"/>
                  <a:gd name="connsiteX341" fmla="*/ 1797010 w 2133600"/>
                  <a:gd name="connsiteY341" fmla="*/ 631778 h 895350"/>
                  <a:gd name="connsiteX342" fmla="*/ 1793366 w 2133600"/>
                  <a:gd name="connsiteY342" fmla="*/ 632776 h 895350"/>
                  <a:gd name="connsiteX343" fmla="*/ 1789591 w 2133600"/>
                  <a:gd name="connsiteY343" fmla="*/ 634186 h 895350"/>
                  <a:gd name="connsiteX344" fmla="*/ 1785818 w 2133600"/>
                  <a:gd name="connsiteY344" fmla="*/ 635921 h 895350"/>
                  <a:gd name="connsiteX345" fmla="*/ 1782715 w 2133600"/>
                  <a:gd name="connsiteY345" fmla="*/ 637809 h 895350"/>
                  <a:gd name="connsiteX346" fmla="*/ 1779700 w 2133600"/>
                  <a:gd name="connsiteY346" fmla="*/ 640043 h 895350"/>
                  <a:gd name="connsiteX347" fmla="*/ 1777855 w 2133600"/>
                  <a:gd name="connsiteY347" fmla="*/ 641931 h 895350"/>
                  <a:gd name="connsiteX348" fmla="*/ 1774950 w 2133600"/>
                  <a:gd name="connsiteY348" fmla="*/ 645423 h 895350"/>
                  <a:gd name="connsiteX349" fmla="*/ 1772910 w 2133600"/>
                  <a:gd name="connsiteY349" fmla="*/ 648851 h 895350"/>
                  <a:gd name="connsiteX350" fmla="*/ 1771934 w 2133600"/>
                  <a:gd name="connsiteY350" fmla="*/ 653145 h 895350"/>
                  <a:gd name="connsiteX351" fmla="*/ 1771825 w 2133600"/>
                  <a:gd name="connsiteY351" fmla="*/ 657462 h 895350"/>
                  <a:gd name="connsiteX352" fmla="*/ 1772216 w 2133600"/>
                  <a:gd name="connsiteY352" fmla="*/ 660043 h 895350"/>
                  <a:gd name="connsiteX353" fmla="*/ 1780459 w 2133600"/>
                  <a:gd name="connsiteY353" fmla="*/ 678526 h 895350"/>
                  <a:gd name="connsiteX354" fmla="*/ 1783430 w 2133600"/>
                  <a:gd name="connsiteY354" fmla="*/ 687181 h 895350"/>
                  <a:gd name="connsiteX355" fmla="*/ 1784798 w 2133600"/>
                  <a:gd name="connsiteY355" fmla="*/ 693038 h 895350"/>
                  <a:gd name="connsiteX356" fmla="*/ 1784819 w 2133600"/>
                  <a:gd name="connsiteY356" fmla="*/ 698244 h 895350"/>
                  <a:gd name="connsiteX357" fmla="*/ 1783756 w 2133600"/>
                  <a:gd name="connsiteY357" fmla="*/ 702626 h 895350"/>
                  <a:gd name="connsiteX358" fmla="*/ 1781283 w 2133600"/>
                  <a:gd name="connsiteY358" fmla="*/ 707420 h 895350"/>
                  <a:gd name="connsiteX359" fmla="*/ 1778181 w 2133600"/>
                  <a:gd name="connsiteY359" fmla="*/ 712127 h 895350"/>
                  <a:gd name="connsiteX360" fmla="*/ 1766967 w 2133600"/>
                  <a:gd name="connsiteY360" fmla="*/ 724839 h 895350"/>
                  <a:gd name="connsiteX361" fmla="*/ 1757985 w 2133600"/>
                  <a:gd name="connsiteY361" fmla="*/ 733495 h 895350"/>
                  <a:gd name="connsiteX362" fmla="*/ 1746836 w 2133600"/>
                  <a:gd name="connsiteY362" fmla="*/ 745382 h 895350"/>
                  <a:gd name="connsiteX363" fmla="*/ 1742909 w 2133600"/>
                  <a:gd name="connsiteY363" fmla="*/ 750675 h 895350"/>
                  <a:gd name="connsiteX364" fmla="*/ 1739851 w 2133600"/>
                  <a:gd name="connsiteY364" fmla="*/ 755469 h 895350"/>
                  <a:gd name="connsiteX365" fmla="*/ 1736771 w 2133600"/>
                  <a:gd name="connsiteY365" fmla="*/ 761694 h 895350"/>
                  <a:gd name="connsiteX366" fmla="*/ 1732822 w 2133600"/>
                  <a:gd name="connsiteY366" fmla="*/ 770849 h 895350"/>
                  <a:gd name="connsiteX367" fmla="*/ 1730197 w 2133600"/>
                  <a:gd name="connsiteY367" fmla="*/ 777942 h 895350"/>
                  <a:gd name="connsiteX368" fmla="*/ 1727746 w 2133600"/>
                  <a:gd name="connsiteY368" fmla="*/ 782780 h 895350"/>
                  <a:gd name="connsiteX369" fmla="*/ 1714644 w 2133600"/>
                  <a:gd name="connsiteY369" fmla="*/ 806598 h 895350"/>
                  <a:gd name="connsiteX370" fmla="*/ 1703125 w 2133600"/>
                  <a:gd name="connsiteY370" fmla="*/ 825296 h 895350"/>
                  <a:gd name="connsiteX371" fmla="*/ 1701933 w 2133600"/>
                  <a:gd name="connsiteY371" fmla="*/ 828290 h 895350"/>
                  <a:gd name="connsiteX372" fmla="*/ 1701347 w 2133600"/>
                  <a:gd name="connsiteY372" fmla="*/ 830980 h 895350"/>
                  <a:gd name="connsiteX373" fmla="*/ 1702149 w 2133600"/>
                  <a:gd name="connsiteY373" fmla="*/ 836273 h 895350"/>
                  <a:gd name="connsiteX374" fmla="*/ 1704579 w 2133600"/>
                  <a:gd name="connsiteY374" fmla="*/ 843584 h 895350"/>
                  <a:gd name="connsiteX375" fmla="*/ 1706596 w 2133600"/>
                  <a:gd name="connsiteY375" fmla="*/ 847358 h 895350"/>
                  <a:gd name="connsiteX376" fmla="*/ 1712866 w 2133600"/>
                  <a:gd name="connsiteY376" fmla="*/ 857206 h 895350"/>
                  <a:gd name="connsiteX377" fmla="*/ 1716184 w 2133600"/>
                  <a:gd name="connsiteY377" fmla="*/ 860894 h 895350"/>
                  <a:gd name="connsiteX378" fmla="*/ 1719981 w 2133600"/>
                  <a:gd name="connsiteY378" fmla="*/ 863996 h 895350"/>
                  <a:gd name="connsiteX379" fmla="*/ 1724623 w 2133600"/>
                  <a:gd name="connsiteY379" fmla="*/ 866881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133600" h="895350">
                    <a:moveTo>
                      <a:pt x="1724623" y="866881"/>
                    </a:moveTo>
                    <a:lnTo>
                      <a:pt x="1712952" y="867076"/>
                    </a:lnTo>
                    <a:lnTo>
                      <a:pt x="1699329" y="867207"/>
                    </a:lnTo>
                    <a:lnTo>
                      <a:pt x="1694644" y="866881"/>
                    </a:lnTo>
                    <a:lnTo>
                      <a:pt x="1686986" y="866903"/>
                    </a:lnTo>
                    <a:lnTo>
                      <a:pt x="1667007" y="867706"/>
                    </a:lnTo>
                    <a:lnTo>
                      <a:pt x="1653298" y="868009"/>
                    </a:lnTo>
                    <a:lnTo>
                      <a:pt x="1330081" y="874018"/>
                    </a:lnTo>
                    <a:lnTo>
                      <a:pt x="1135586" y="877467"/>
                    </a:lnTo>
                    <a:lnTo>
                      <a:pt x="993977" y="879832"/>
                    </a:lnTo>
                    <a:lnTo>
                      <a:pt x="890916" y="881784"/>
                    </a:lnTo>
                    <a:lnTo>
                      <a:pt x="889138" y="881870"/>
                    </a:lnTo>
                    <a:lnTo>
                      <a:pt x="887012" y="882218"/>
                    </a:lnTo>
                    <a:lnTo>
                      <a:pt x="886297" y="882760"/>
                    </a:lnTo>
                    <a:lnTo>
                      <a:pt x="885862" y="883931"/>
                    </a:lnTo>
                    <a:lnTo>
                      <a:pt x="885494" y="888400"/>
                    </a:lnTo>
                    <a:lnTo>
                      <a:pt x="866882" y="888747"/>
                    </a:lnTo>
                    <a:lnTo>
                      <a:pt x="866729" y="885689"/>
                    </a:lnTo>
                    <a:lnTo>
                      <a:pt x="862781" y="885515"/>
                    </a:lnTo>
                    <a:lnTo>
                      <a:pt x="862847" y="881068"/>
                    </a:lnTo>
                    <a:lnTo>
                      <a:pt x="857770" y="881177"/>
                    </a:lnTo>
                    <a:lnTo>
                      <a:pt x="860265" y="745187"/>
                    </a:lnTo>
                    <a:lnTo>
                      <a:pt x="859658" y="727529"/>
                    </a:lnTo>
                    <a:lnTo>
                      <a:pt x="858551" y="720479"/>
                    </a:lnTo>
                    <a:lnTo>
                      <a:pt x="857619" y="717333"/>
                    </a:lnTo>
                    <a:lnTo>
                      <a:pt x="854755" y="709415"/>
                    </a:lnTo>
                    <a:lnTo>
                      <a:pt x="853258" y="709394"/>
                    </a:lnTo>
                    <a:lnTo>
                      <a:pt x="849267" y="696964"/>
                    </a:lnTo>
                    <a:lnTo>
                      <a:pt x="848855" y="695597"/>
                    </a:lnTo>
                    <a:lnTo>
                      <a:pt x="827575" y="695142"/>
                    </a:lnTo>
                    <a:lnTo>
                      <a:pt x="754341" y="692930"/>
                    </a:lnTo>
                    <a:lnTo>
                      <a:pt x="677116" y="690109"/>
                    </a:lnTo>
                    <a:lnTo>
                      <a:pt x="676074" y="690564"/>
                    </a:lnTo>
                    <a:lnTo>
                      <a:pt x="670001" y="698808"/>
                    </a:lnTo>
                    <a:lnTo>
                      <a:pt x="669133" y="700847"/>
                    </a:lnTo>
                    <a:lnTo>
                      <a:pt x="667506" y="701476"/>
                    </a:lnTo>
                    <a:lnTo>
                      <a:pt x="641410" y="705467"/>
                    </a:lnTo>
                    <a:lnTo>
                      <a:pt x="617050" y="709394"/>
                    </a:lnTo>
                    <a:lnTo>
                      <a:pt x="589348" y="697745"/>
                    </a:lnTo>
                    <a:lnTo>
                      <a:pt x="579695" y="699632"/>
                    </a:lnTo>
                    <a:lnTo>
                      <a:pt x="546505" y="705489"/>
                    </a:lnTo>
                    <a:lnTo>
                      <a:pt x="514660" y="711411"/>
                    </a:lnTo>
                    <a:lnTo>
                      <a:pt x="512340" y="712214"/>
                    </a:lnTo>
                    <a:lnTo>
                      <a:pt x="492079" y="721000"/>
                    </a:lnTo>
                    <a:lnTo>
                      <a:pt x="495225" y="743582"/>
                    </a:lnTo>
                    <a:lnTo>
                      <a:pt x="495441" y="755447"/>
                    </a:lnTo>
                    <a:lnTo>
                      <a:pt x="490734" y="755707"/>
                    </a:lnTo>
                    <a:lnTo>
                      <a:pt x="490517" y="759764"/>
                    </a:lnTo>
                    <a:lnTo>
                      <a:pt x="371079" y="773452"/>
                    </a:lnTo>
                    <a:lnTo>
                      <a:pt x="325351" y="778224"/>
                    </a:lnTo>
                    <a:lnTo>
                      <a:pt x="298648" y="780827"/>
                    </a:lnTo>
                    <a:lnTo>
                      <a:pt x="201053" y="790827"/>
                    </a:lnTo>
                    <a:lnTo>
                      <a:pt x="195348" y="791977"/>
                    </a:lnTo>
                    <a:lnTo>
                      <a:pt x="181920" y="795079"/>
                    </a:lnTo>
                    <a:lnTo>
                      <a:pt x="166823" y="795513"/>
                    </a:lnTo>
                    <a:lnTo>
                      <a:pt x="75670" y="794428"/>
                    </a:lnTo>
                    <a:lnTo>
                      <a:pt x="67145" y="794472"/>
                    </a:lnTo>
                    <a:lnTo>
                      <a:pt x="64130" y="794776"/>
                    </a:lnTo>
                    <a:lnTo>
                      <a:pt x="63002" y="795144"/>
                    </a:lnTo>
                    <a:lnTo>
                      <a:pt x="61939" y="795686"/>
                    </a:lnTo>
                    <a:lnTo>
                      <a:pt x="58685" y="798376"/>
                    </a:lnTo>
                    <a:lnTo>
                      <a:pt x="58057" y="798571"/>
                    </a:lnTo>
                    <a:lnTo>
                      <a:pt x="35431" y="798853"/>
                    </a:lnTo>
                    <a:lnTo>
                      <a:pt x="29162" y="789916"/>
                    </a:lnTo>
                    <a:lnTo>
                      <a:pt x="19964" y="779742"/>
                    </a:lnTo>
                    <a:lnTo>
                      <a:pt x="7144" y="769178"/>
                    </a:lnTo>
                    <a:lnTo>
                      <a:pt x="11569" y="765946"/>
                    </a:lnTo>
                    <a:lnTo>
                      <a:pt x="115694" y="684665"/>
                    </a:lnTo>
                    <a:lnTo>
                      <a:pt x="406979" y="680695"/>
                    </a:lnTo>
                    <a:lnTo>
                      <a:pt x="467284" y="670304"/>
                    </a:lnTo>
                    <a:lnTo>
                      <a:pt x="638329" y="612971"/>
                    </a:lnTo>
                    <a:lnTo>
                      <a:pt x="657202" y="566202"/>
                    </a:lnTo>
                    <a:lnTo>
                      <a:pt x="658199" y="552775"/>
                    </a:lnTo>
                    <a:lnTo>
                      <a:pt x="655857" y="535659"/>
                    </a:lnTo>
                    <a:lnTo>
                      <a:pt x="654555" y="525789"/>
                    </a:lnTo>
                    <a:lnTo>
                      <a:pt x="652040" y="525984"/>
                    </a:lnTo>
                    <a:lnTo>
                      <a:pt x="651974" y="525811"/>
                    </a:lnTo>
                    <a:lnTo>
                      <a:pt x="647874" y="526092"/>
                    </a:lnTo>
                    <a:lnTo>
                      <a:pt x="647917" y="526288"/>
                    </a:lnTo>
                    <a:lnTo>
                      <a:pt x="644772" y="526548"/>
                    </a:lnTo>
                    <a:lnTo>
                      <a:pt x="644663" y="526396"/>
                    </a:lnTo>
                    <a:lnTo>
                      <a:pt x="642430" y="526722"/>
                    </a:lnTo>
                    <a:lnTo>
                      <a:pt x="633795" y="527242"/>
                    </a:lnTo>
                    <a:lnTo>
                      <a:pt x="633688" y="527481"/>
                    </a:lnTo>
                    <a:lnTo>
                      <a:pt x="633340" y="527459"/>
                    </a:lnTo>
                    <a:lnTo>
                      <a:pt x="633275" y="527199"/>
                    </a:lnTo>
                    <a:lnTo>
                      <a:pt x="632386" y="527373"/>
                    </a:lnTo>
                    <a:lnTo>
                      <a:pt x="627071" y="527568"/>
                    </a:lnTo>
                    <a:lnTo>
                      <a:pt x="618264" y="527437"/>
                    </a:lnTo>
                    <a:lnTo>
                      <a:pt x="609413" y="526831"/>
                    </a:lnTo>
                    <a:lnTo>
                      <a:pt x="601951" y="525854"/>
                    </a:lnTo>
                    <a:lnTo>
                      <a:pt x="596333" y="524769"/>
                    </a:lnTo>
                    <a:lnTo>
                      <a:pt x="590455" y="523273"/>
                    </a:lnTo>
                    <a:lnTo>
                      <a:pt x="583924" y="521212"/>
                    </a:lnTo>
                    <a:lnTo>
                      <a:pt x="576138" y="518023"/>
                    </a:lnTo>
                    <a:lnTo>
                      <a:pt x="572233" y="516071"/>
                    </a:lnTo>
                    <a:lnTo>
                      <a:pt x="566484" y="512470"/>
                    </a:lnTo>
                    <a:lnTo>
                      <a:pt x="562493" y="509498"/>
                    </a:lnTo>
                    <a:lnTo>
                      <a:pt x="557742" y="505137"/>
                    </a:lnTo>
                    <a:lnTo>
                      <a:pt x="554315" y="501189"/>
                    </a:lnTo>
                    <a:lnTo>
                      <a:pt x="551169" y="496548"/>
                    </a:lnTo>
                    <a:lnTo>
                      <a:pt x="548696" y="491580"/>
                    </a:lnTo>
                    <a:lnTo>
                      <a:pt x="546874" y="485962"/>
                    </a:lnTo>
                    <a:lnTo>
                      <a:pt x="544184" y="472230"/>
                    </a:lnTo>
                    <a:lnTo>
                      <a:pt x="540323" y="447501"/>
                    </a:lnTo>
                    <a:lnTo>
                      <a:pt x="536505" y="416263"/>
                    </a:lnTo>
                    <a:lnTo>
                      <a:pt x="536310" y="416068"/>
                    </a:lnTo>
                    <a:lnTo>
                      <a:pt x="536288" y="414572"/>
                    </a:lnTo>
                    <a:lnTo>
                      <a:pt x="535963" y="414572"/>
                    </a:lnTo>
                    <a:lnTo>
                      <a:pt x="535768" y="411145"/>
                    </a:lnTo>
                    <a:lnTo>
                      <a:pt x="536245" y="411057"/>
                    </a:lnTo>
                    <a:lnTo>
                      <a:pt x="536180" y="409605"/>
                    </a:lnTo>
                    <a:lnTo>
                      <a:pt x="535963" y="409605"/>
                    </a:lnTo>
                    <a:lnTo>
                      <a:pt x="535984" y="404072"/>
                    </a:lnTo>
                    <a:lnTo>
                      <a:pt x="536440" y="396697"/>
                    </a:lnTo>
                    <a:lnTo>
                      <a:pt x="539022" y="375720"/>
                    </a:lnTo>
                    <a:lnTo>
                      <a:pt x="539390" y="369126"/>
                    </a:lnTo>
                    <a:lnTo>
                      <a:pt x="538804" y="368215"/>
                    </a:lnTo>
                    <a:lnTo>
                      <a:pt x="538826" y="367695"/>
                    </a:lnTo>
                    <a:lnTo>
                      <a:pt x="539326" y="366674"/>
                    </a:lnTo>
                    <a:lnTo>
                      <a:pt x="540735" y="365677"/>
                    </a:lnTo>
                    <a:lnTo>
                      <a:pt x="542036" y="365287"/>
                    </a:lnTo>
                    <a:lnTo>
                      <a:pt x="545551" y="364939"/>
                    </a:lnTo>
                    <a:lnTo>
                      <a:pt x="545486" y="355850"/>
                    </a:lnTo>
                    <a:lnTo>
                      <a:pt x="554185" y="356414"/>
                    </a:lnTo>
                    <a:lnTo>
                      <a:pt x="554249" y="356219"/>
                    </a:lnTo>
                    <a:lnTo>
                      <a:pt x="564900" y="356891"/>
                    </a:lnTo>
                    <a:lnTo>
                      <a:pt x="578502" y="357434"/>
                    </a:lnTo>
                    <a:lnTo>
                      <a:pt x="591907" y="357650"/>
                    </a:lnTo>
                    <a:lnTo>
                      <a:pt x="597808" y="357304"/>
                    </a:lnTo>
                    <a:lnTo>
                      <a:pt x="605531" y="356154"/>
                    </a:lnTo>
                    <a:lnTo>
                      <a:pt x="609262" y="355286"/>
                    </a:lnTo>
                    <a:lnTo>
                      <a:pt x="613275" y="354137"/>
                    </a:lnTo>
                    <a:lnTo>
                      <a:pt x="616615" y="352987"/>
                    </a:lnTo>
                    <a:lnTo>
                      <a:pt x="620260" y="351490"/>
                    </a:lnTo>
                    <a:lnTo>
                      <a:pt x="625987" y="348497"/>
                    </a:lnTo>
                    <a:lnTo>
                      <a:pt x="630650" y="345286"/>
                    </a:lnTo>
                    <a:lnTo>
                      <a:pt x="635271" y="341121"/>
                    </a:lnTo>
                    <a:lnTo>
                      <a:pt x="629587" y="338843"/>
                    </a:lnTo>
                    <a:lnTo>
                      <a:pt x="627614" y="338583"/>
                    </a:lnTo>
                    <a:lnTo>
                      <a:pt x="625835" y="338583"/>
                    </a:lnTo>
                    <a:lnTo>
                      <a:pt x="625791" y="336349"/>
                    </a:lnTo>
                    <a:lnTo>
                      <a:pt x="623861" y="234351"/>
                    </a:lnTo>
                    <a:lnTo>
                      <a:pt x="623644" y="223115"/>
                    </a:lnTo>
                    <a:lnTo>
                      <a:pt x="607287" y="223244"/>
                    </a:lnTo>
                    <a:lnTo>
                      <a:pt x="606138" y="149794"/>
                    </a:lnTo>
                    <a:lnTo>
                      <a:pt x="697095" y="149229"/>
                    </a:lnTo>
                    <a:lnTo>
                      <a:pt x="696183" y="97016"/>
                    </a:lnTo>
                    <a:lnTo>
                      <a:pt x="721151" y="96821"/>
                    </a:lnTo>
                    <a:lnTo>
                      <a:pt x="726466" y="96951"/>
                    </a:lnTo>
                    <a:lnTo>
                      <a:pt x="732713" y="97059"/>
                    </a:lnTo>
                    <a:lnTo>
                      <a:pt x="767442" y="96799"/>
                    </a:lnTo>
                    <a:lnTo>
                      <a:pt x="772866" y="97146"/>
                    </a:lnTo>
                    <a:lnTo>
                      <a:pt x="776206" y="97059"/>
                    </a:lnTo>
                    <a:lnTo>
                      <a:pt x="779200" y="96864"/>
                    </a:lnTo>
                    <a:lnTo>
                      <a:pt x="781934" y="96452"/>
                    </a:lnTo>
                    <a:lnTo>
                      <a:pt x="785492" y="95389"/>
                    </a:lnTo>
                    <a:lnTo>
                      <a:pt x="794103" y="93545"/>
                    </a:lnTo>
                    <a:lnTo>
                      <a:pt x="797270" y="93024"/>
                    </a:lnTo>
                    <a:lnTo>
                      <a:pt x="798832" y="93133"/>
                    </a:lnTo>
                    <a:lnTo>
                      <a:pt x="804776" y="94608"/>
                    </a:lnTo>
                    <a:lnTo>
                      <a:pt x="823951" y="100443"/>
                    </a:lnTo>
                    <a:lnTo>
                      <a:pt x="814168" y="112873"/>
                    </a:lnTo>
                    <a:lnTo>
                      <a:pt x="809678" y="127190"/>
                    </a:lnTo>
                    <a:lnTo>
                      <a:pt x="830547" y="129641"/>
                    </a:lnTo>
                    <a:lnTo>
                      <a:pt x="914258" y="108057"/>
                    </a:lnTo>
                    <a:lnTo>
                      <a:pt x="932479" y="103588"/>
                    </a:lnTo>
                    <a:lnTo>
                      <a:pt x="976689" y="92200"/>
                    </a:lnTo>
                    <a:lnTo>
                      <a:pt x="976472" y="91810"/>
                    </a:lnTo>
                    <a:lnTo>
                      <a:pt x="985930" y="89445"/>
                    </a:lnTo>
                    <a:lnTo>
                      <a:pt x="986125" y="89705"/>
                    </a:lnTo>
                    <a:lnTo>
                      <a:pt x="1006125" y="84716"/>
                    </a:lnTo>
                    <a:lnTo>
                      <a:pt x="1006255" y="84912"/>
                    </a:lnTo>
                    <a:lnTo>
                      <a:pt x="1016993" y="82504"/>
                    </a:lnTo>
                    <a:lnTo>
                      <a:pt x="1055410" y="73263"/>
                    </a:lnTo>
                    <a:lnTo>
                      <a:pt x="1056148" y="73154"/>
                    </a:lnTo>
                    <a:lnTo>
                      <a:pt x="1056950" y="76365"/>
                    </a:lnTo>
                    <a:lnTo>
                      <a:pt x="1057341" y="76625"/>
                    </a:lnTo>
                    <a:lnTo>
                      <a:pt x="1062981" y="77297"/>
                    </a:lnTo>
                    <a:lnTo>
                      <a:pt x="1065346" y="74867"/>
                    </a:lnTo>
                    <a:lnTo>
                      <a:pt x="1065346" y="70855"/>
                    </a:lnTo>
                    <a:lnTo>
                      <a:pt x="1086431" y="65823"/>
                    </a:lnTo>
                    <a:lnTo>
                      <a:pt x="1114002" y="59488"/>
                    </a:lnTo>
                    <a:lnTo>
                      <a:pt x="1124696" y="56755"/>
                    </a:lnTo>
                    <a:lnTo>
                      <a:pt x="1153179" y="49076"/>
                    </a:lnTo>
                    <a:lnTo>
                      <a:pt x="1155413" y="52112"/>
                    </a:lnTo>
                    <a:lnTo>
                      <a:pt x="1181140" y="45605"/>
                    </a:lnTo>
                    <a:lnTo>
                      <a:pt x="1182354" y="47362"/>
                    </a:lnTo>
                    <a:lnTo>
                      <a:pt x="1186107" y="46386"/>
                    </a:lnTo>
                    <a:lnTo>
                      <a:pt x="1181769" y="40008"/>
                    </a:lnTo>
                    <a:lnTo>
                      <a:pt x="1184242" y="39401"/>
                    </a:lnTo>
                    <a:lnTo>
                      <a:pt x="1187518" y="44021"/>
                    </a:lnTo>
                    <a:lnTo>
                      <a:pt x="1194134" y="44129"/>
                    </a:lnTo>
                    <a:lnTo>
                      <a:pt x="1195674" y="43934"/>
                    </a:lnTo>
                    <a:lnTo>
                      <a:pt x="1201379" y="42893"/>
                    </a:lnTo>
                    <a:lnTo>
                      <a:pt x="1207344" y="41419"/>
                    </a:lnTo>
                    <a:lnTo>
                      <a:pt x="1219535" y="37752"/>
                    </a:lnTo>
                    <a:lnTo>
                      <a:pt x="1225479" y="35453"/>
                    </a:lnTo>
                    <a:lnTo>
                      <a:pt x="1229991" y="35778"/>
                    </a:lnTo>
                    <a:lnTo>
                      <a:pt x="1232356" y="35453"/>
                    </a:lnTo>
                    <a:lnTo>
                      <a:pt x="1234959" y="34737"/>
                    </a:lnTo>
                    <a:lnTo>
                      <a:pt x="1236282" y="34238"/>
                    </a:lnTo>
                    <a:lnTo>
                      <a:pt x="1237128" y="33197"/>
                    </a:lnTo>
                    <a:lnTo>
                      <a:pt x="1237779" y="30571"/>
                    </a:lnTo>
                    <a:lnTo>
                      <a:pt x="1239493" y="30116"/>
                    </a:lnTo>
                    <a:lnTo>
                      <a:pt x="1241271" y="29661"/>
                    </a:lnTo>
                    <a:lnTo>
                      <a:pt x="1242508" y="30464"/>
                    </a:lnTo>
                    <a:lnTo>
                      <a:pt x="1244308" y="30832"/>
                    </a:lnTo>
                    <a:lnTo>
                      <a:pt x="1246347" y="31548"/>
                    </a:lnTo>
                    <a:lnTo>
                      <a:pt x="1249428" y="31634"/>
                    </a:lnTo>
                    <a:lnTo>
                      <a:pt x="1254005" y="32004"/>
                    </a:lnTo>
                    <a:lnTo>
                      <a:pt x="1263203" y="34737"/>
                    </a:lnTo>
                    <a:lnTo>
                      <a:pt x="1267866" y="36949"/>
                    </a:lnTo>
                    <a:lnTo>
                      <a:pt x="1268929" y="37101"/>
                    </a:lnTo>
                    <a:lnTo>
                      <a:pt x="1270556" y="37123"/>
                    </a:lnTo>
                    <a:lnTo>
                      <a:pt x="1272747" y="36428"/>
                    </a:lnTo>
                    <a:lnTo>
                      <a:pt x="1274092" y="35474"/>
                    </a:lnTo>
                    <a:lnTo>
                      <a:pt x="1275611" y="34000"/>
                    </a:lnTo>
                    <a:lnTo>
                      <a:pt x="1280470" y="35063"/>
                    </a:lnTo>
                    <a:lnTo>
                      <a:pt x="1281402" y="36212"/>
                    </a:lnTo>
                    <a:lnTo>
                      <a:pt x="1288257" y="34260"/>
                    </a:lnTo>
                    <a:lnTo>
                      <a:pt x="1289862" y="35756"/>
                    </a:lnTo>
                    <a:lnTo>
                      <a:pt x="1295004" y="34411"/>
                    </a:lnTo>
                    <a:lnTo>
                      <a:pt x="1296522" y="36624"/>
                    </a:lnTo>
                    <a:lnTo>
                      <a:pt x="1296305" y="36993"/>
                    </a:lnTo>
                    <a:lnTo>
                      <a:pt x="1297130" y="38164"/>
                    </a:lnTo>
                    <a:lnTo>
                      <a:pt x="1297802" y="38468"/>
                    </a:lnTo>
                    <a:lnTo>
                      <a:pt x="1297998" y="39162"/>
                    </a:lnTo>
                    <a:lnTo>
                      <a:pt x="1304918" y="37427"/>
                    </a:lnTo>
                    <a:lnTo>
                      <a:pt x="1304483" y="36819"/>
                    </a:lnTo>
                    <a:lnTo>
                      <a:pt x="1306718" y="36255"/>
                    </a:lnTo>
                    <a:lnTo>
                      <a:pt x="1306392" y="35756"/>
                    </a:lnTo>
                    <a:lnTo>
                      <a:pt x="1305590" y="35800"/>
                    </a:lnTo>
                    <a:lnTo>
                      <a:pt x="1305242" y="35279"/>
                    </a:lnTo>
                    <a:lnTo>
                      <a:pt x="1304114" y="34976"/>
                    </a:lnTo>
                    <a:lnTo>
                      <a:pt x="1303529" y="35127"/>
                    </a:lnTo>
                    <a:lnTo>
                      <a:pt x="1300470" y="30746"/>
                    </a:lnTo>
                    <a:lnTo>
                      <a:pt x="1310210" y="27990"/>
                    </a:lnTo>
                    <a:lnTo>
                      <a:pt x="1313724" y="33023"/>
                    </a:lnTo>
                    <a:lnTo>
                      <a:pt x="1314353" y="32850"/>
                    </a:lnTo>
                    <a:lnTo>
                      <a:pt x="1315785" y="34823"/>
                    </a:lnTo>
                    <a:lnTo>
                      <a:pt x="1340341" y="28034"/>
                    </a:lnTo>
                    <a:lnTo>
                      <a:pt x="1384095" y="16363"/>
                    </a:lnTo>
                    <a:lnTo>
                      <a:pt x="1416503" y="7144"/>
                    </a:lnTo>
                    <a:lnTo>
                      <a:pt x="1420733" y="8728"/>
                    </a:lnTo>
                    <a:lnTo>
                      <a:pt x="1422903" y="9292"/>
                    </a:lnTo>
                    <a:lnTo>
                      <a:pt x="1425136" y="9682"/>
                    </a:lnTo>
                    <a:lnTo>
                      <a:pt x="1428152" y="9942"/>
                    </a:lnTo>
                    <a:lnTo>
                      <a:pt x="1450017" y="10311"/>
                    </a:lnTo>
                    <a:lnTo>
                      <a:pt x="1454508" y="10810"/>
                    </a:lnTo>
                    <a:lnTo>
                      <a:pt x="1458999" y="11700"/>
                    </a:lnTo>
                    <a:lnTo>
                      <a:pt x="1463098" y="12914"/>
                    </a:lnTo>
                    <a:lnTo>
                      <a:pt x="1466960" y="14476"/>
                    </a:lnTo>
                    <a:lnTo>
                      <a:pt x="1487850" y="24932"/>
                    </a:lnTo>
                    <a:lnTo>
                      <a:pt x="1507676" y="34845"/>
                    </a:lnTo>
                    <a:lnTo>
                      <a:pt x="1531300" y="46711"/>
                    </a:lnTo>
                    <a:lnTo>
                      <a:pt x="1537178" y="49813"/>
                    </a:lnTo>
                    <a:lnTo>
                      <a:pt x="1543491" y="54000"/>
                    </a:lnTo>
                    <a:lnTo>
                      <a:pt x="1548480" y="58251"/>
                    </a:lnTo>
                    <a:lnTo>
                      <a:pt x="1551083" y="60985"/>
                    </a:lnTo>
                    <a:lnTo>
                      <a:pt x="1553469" y="63892"/>
                    </a:lnTo>
                    <a:lnTo>
                      <a:pt x="1558133" y="68165"/>
                    </a:lnTo>
                    <a:lnTo>
                      <a:pt x="1564489" y="72894"/>
                    </a:lnTo>
                    <a:lnTo>
                      <a:pt x="1571518" y="77080"/>
                    </a:lnTo>
                    <a:lnTo>
                      <a:pt x="1575596" y="79098"/>
                    </a:lnTo>
                    <a:lnTo>
                      <a:pt x="1579977" y="80920"/>
                    </a:lnTo>
                    <a:lnTo>
                      <a:pt x="1588762" y="83784"/>
                    </a:lnTo>
                    <a:lnTo>
                      <a:pt x="1597115" y="85715"/>
                    </a:lnTo>
                    <a:lnTo>
                      <a:pt x="1603015" y="86669"/>
                    </a:lnTo>
                    <a:lnTo>
                      <a:pt x="1607007" y="87124"/>
                    </a:lnTo>
                    <a:lnTo>
                      <a:pt x="1610585" y="87428"/>
                    </a:lnTo>
                    <a:lnTo>
                      <a:pt x="1721954" y="94131"/>
                    </a:lnTo>
                    <a:lnTo>
                      <a:pt x="1762324" y="96561"/>
                    </a:lnTo>
                    <a:lnTo>
                      <a:pt x="1767096" y="96257"/>
                    </a:lnTo>
                    <a:lnTo>
                      <a:pt x="1773647" y="95606"/>
                    </a:lnTo>
                    <a:lnTo>
                      <a:pt x="1779049" y="94846"/>
                    </a:lnTo>
                    <a:lnTo>
                      <a:pt x="1788507" y="92959"/>
                    </a:lnTo>
                    <a:lnTo>
                      <a:pt x="1841198" y="82222"/>
                    </a:lnTo>
                    <a:lnTo>
                      <a:pt x="1891633" y="72395"/>
                    </a:lnTo>
                    <a:lnTo>
                      <a:pt x="1905364" y="68837"/>
                    </a:lnTo>
                    <a:lnTo>
                      <a:pt x="1910961" y="78837"/>
                    </a:lnTo>
                    <a:lnTo>
                      <a:pt x="1936211" y="134869"/>
                    </a:lnTo>
                    <a:lnTo>
                      <a:pt x="1946992" y="151876"/>
                    </a:lnTo>
                    <a:lnTo>
                      <a:pt x="1986277" y="195153"/>
                    </a:lnTo>
                    <a:lnTo>
                      <a:pt x="2027190" y="239037"/>
                    </a:lnTo>
                    <a:lnTo>
                      <a:pt x="2044890" y="268039"/>
                    </a:lnTo>
                    <a:lnTo>
                      <a:pt x="2070227" y="309559"/>
                    </a:lnTo>
                    <a:lnTo>
                      <a:pt x="2080531" y="326435"/>
                    </a:lnTo>
                    <a:lnTo>
                      <a:pt x="2090379" y="360731"/>
                    </a:lnTo>
                    <a:lnTo>
                      <a:pt x="2091030" y="364006"/>
                    </a:lnTo>
                    <a:lnTo>
                      <a:pt x="2093069" y="373964"/>
                    </a:lnTo>
                    <a:lnTo>
                      <a:pt x="2096474" y="383638"/>
                    </a:lnTo>
                    <a:lnTo>
                      <a:pt x="2105456" y="401535"/>
                    </a:lnTo>
                    <a:lnTo>
                      <a:pt x="2111551" y="408997"/>
                    </a:lnTo>
                    <a:lnTo>
                      <a:pt x="2127300" y="428368"/>
                    </a:lnTo>
                    <a:lnTo>
                      <a:pt x="2129057" y="432924"/>
                    </a:lnTo>
                    <a:lnTo>
                      <a:pt x="2130011" y="439041"/>
                    </a:lnTo>
                    <a:lnTo>
                      <a:pt x="2129578" y="445223"/>
                    </a:lnTo>
                    <a:lnTo>
                      <a:pt x="2127387" y="450885"/>
                    </a:lnTo>
                    <a:lnTo>
                      <a:pt x="2123330" y="456525"/>
                    </a:lnTo>
                    <a:lnTo>
                      <a:pt x="2116714" y="465224"/>
                    </a:lnTo>
                    <a:lnTo>
                      <a:pt x="2109555" y="473076"/>
                    </a:lnTo>
                    <a:lnTo>
                      <a:pt x="2099925" y="479584"/>
                    </a:lnTo>
                    <a:lnTo>
                      <a:pt x="2091074" y="484855"/>
                    </a:lnTo>
                    <a:lnTo>
                      <a:pt x="2078730" y="491363"/>
                    </a:lnTo>
                    <a:lnTo>
                      <a:pt x="2065498" y="496113"/>
                    </a:lnTo>
                    <a:lnTo>
                      <a:pt x="2060813" y="497307"/>
                    </a:lnTo>
                    <a:lnTo>
                      <a:pt x="2047276" y="500561"/>
                    </a:lnTo>
                    <a:lnTo>
                      <a:pt x="2037298" y="502730"/>
                    </a:lnTo>
                    <a:lnTo>
                      <a:pt x="2023349" y="506331"/>
                    </a:lnTo>
                    <a:lnTo>
                      <a:pt x="2009249" y="512231"/>
                    </a:lnTo>
                    <a:lnTo>
                      <a:pt x="2005844" y="513663"/>
                    </a:lnTo>
                    <a:lnTo>
                      <a:pt x="1977601" y="524227"/>
                    </a:lnTo>
                    <a:lnTo>
                      <a:pt x="1972958" y="526440"/>
                    </a:lnTo>
                    <a:lnTo>
                      <a:pt x="1967232" y="529802"/>
                    </a:lnTo>
                    <a:lnTo>
                      <a:pt x="1965604" y="530822"/>
                    </a:lnTo>
                    <a:lnTo>
                      <a:pt x="1963435" y="532926"/>
                    </a:lnTo>
                    <a:lnTo>
                      <a:pt x="1961873" y="535116"/>
                    </a:lnTo>
                    <a:lnTo>
                      <a:pt x="1960854" y="537307"/>
                    </a:lnTo>
                    <a:lnTo>
                      <a:pt x="1954542" y="563512"/>
                    </a:lnTo>
                    <a:lnTo>
                      <a:pt x="1953652" y="568848"/>
                    </a:lnTo>
                    <a:lnTo>
                      <a:pt x="1952329" y="573209"/>
                    </a:lnTo>
                    <a:lnTo>
                      <a:pt x="1951395" y="575335"/>
                    </a:lnTo>
                    <a:lnTo>
                      <a:pt x="1948663" y="579976"/>
                    </a:lnTo>
                    <a:lnTo>
                      <a:pt x="1945604" y="583903"/>
                    </a:lnTo>
                    <a:lnTo>
                      <a:pt x="1942611" y="586918"/>
                    </a:lnTo>
                    <a:lnTo>
                      <a:pt x="1935127" y="595183"/>
                    </a:lnTo>
                    <a:lnTo>
                      <a:pt x="1925235" y="605140"/>
                    </a:lnTo>
                    <a:lnTo>
                      <a:pt x="1918857" y="610672"/>
                    </a:lnTo>
                    <a:lnTo>
                      <a:pt x="1908510" y="619045"/>
                    </a:lnTo>
                    <a:lnTo>
                      <a:pt x="1903521" y="622321"/>
                    </a:lnTo>
                    <a:lnTo>
                      <a:pt x="1897251" y="625032"/>
                    </a:lnTo>
                    <a:lnTo>
                      <a:pt x="1890375" y="626962"/>
                    </a:lnTo>
                    <a:lnTo>
                      <a:pt x="1881914" y="628091"/>
                    </a:lnTo>
                    <a:lnTo>
                      <a:pt x="1866687" y="629154"/>
                    </a:lnTo>
                    <a:lnTo>
                      <a:pt x="1858660" y="629479"/>
                    </a:lnTo>
                    <a:lnTo>
                      <a:pt x="1852521" y="629436"/>
                    </a:lnTo>
                    <a:lnTo>
                      <a:pt x="1830005" y="627896"/>
                    </a:lnTo>
                    <a:lnTo>
                      <a:pt x="1817879" y="628307"/>
                    </a:lnTo>
                    <a:lnTo>
                      <a:pt x="1809223" y="629261"/>
                    </a:lnTo>
                    <a:lnTo>
                      <a:pt x="1801132" y="630759"/>
                    </a:lnTo>
                    <a:lnTo>
                      <a:pt x="1797010" y="631778"/>
                    </a:lnTo>
                    <a:lnTo>
                      <a:pt x="1793366" y="632776"/>
                    </a:lnTo>
                    <a:lnTo>
                      <a:pt x="1789591" y="634186"/>
                    </a:lnTo>
                    <a:lnTo>
                      <a:pt x="1785818" y="635921"/>
                    </a:lnTo>
                    <a:lnTo>
                      <a:pt x="1782715" y="637809"/>
                    </a:lnTo>
                    <a:lnTo>
                      <a:pt x="1779700" y="640043"/>
                    </a:lnTo>
                    <a:lnTo>
                      <a:pt x="1777855" y="641931"/>
                    </a:lnTo>
                    <a:lnTo>
                      <a:pt x="1774950" y="645423"/>
                    </a:lnTo>
                    <a:lnTo>
                      <a:pt x="1772910" y="648851"/>
                    </a:lnTo>
                    <a:lnTo>
                      <a:pt x="1771934" y="653145"/>
                    </a:lnTo>
                    <a:lnTo>
                      <a:pt x="1771825" y="657462"/>
                    </a:lnTo>
                    <a:lnTo>
                      <a:pt x="1772216" y="660043"/>
                    </a:lnTo>
                    <a:lnTo>
                      <a:pt x="1780459" y="678526"/>
                    </a:lnTo>
                    <a:lnTo>
                      <a:pt x="1783430" y="687181"/>
                    </a:lnTo>
                    <a:lnTo>
                      <a:pt x="1784798" y="693038"/>
                    </a:lnTo>
                    <a:lnTo>
                      <a:pt x="1784819" y="698244"/>
                    </a:lnTo>
                    <a:lnTo>
                      <a:pt x="1783756" y="702626"/>
                    </a:lnTo>
                    <a:lnTo>
                      <a:pt x="1781283" y="707420"/>
                    </a:lnTo>
                    <a:lnTo>
                      <a:pt x="1778181" y="712127"/>
                    </a:lnTo>
                    <a:lnTo>
                      <a:pt x="1766967" y="724839"/>
                    </a:lnTo>
                    <a:lnTo>
                      <a:pt x="1757985" y="733495"/>
                    </a:lnTo>
                    <a:lnTo>
                      <a:pt x="1746836" y="745382"/>
                    </a:lnTo>
                    <a:lnTo>
                      <a:pt x="1742909" y="750675"/>
                    </a:lnTo>
                    <a:lnTo>
                      <a:pt x="1739851" y="755469"/>
                    </a:lnTo>
                    <a:lnTo>
                      <a:pt x="1736771" y="761694"/>
                    </a:lnTo>
                    <a:lnTo>
                      <a:pt x="1732822" y="770849"/>
                    </a:lnTo>
                    <a:lnTo>
                      <a:pt x="1730197" y="777942"/>
                    </a:lnTo>
                    <a:lnTo>
                      <a:pt x="1727746" y="782780"/>
                    </a:lnTo>
                    <a:lnTo>
                      <a:pt x="1714644" y="806598"/>
                    </a:lnTo>
                    <a:lnTo>
                      <a:pt x="1703125" y="825296"/>
                    </a:lnTo>
                    <a:lnTo>
                      <a:pt x="1701933" y="828290"/>
                    </a:lnTo>
                    <a:lnTo>
                      <a:pt x="1701347" y="830980"/>
                    </a:lnTo>
                    <a:lnTo>
                      <a:pt x="1702149" y="836273"/>
                    </a:lnTo>
                    <a:lnTo>
                      <a:pt x="1704579" y="843584"/>
                    </a:lnTo>
                    <a:lnTo>
                      <a:pt x="1706596" y="847358"/>
                    </a:lnTo>
                    <a:lnTo>
                      <a:pt x="1712866" y="857206"/>
                    </a:lnTo>
                    <a:lnTo>
                      <a:pt x="1716184" y="860894"/>
                    </a:lnTo>
                    <a:lnTo>
                      <a:pt x="1719981" y="863996"/>
                    </a:lnTo>
                    <a:lnTo>
                      <a:pt x="1724623" y="866881"/>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94" name="Freeform: Shape 93">
                <a:extLst>
                  <a:ext uri="{FF2B5EF4-FFF2-40B4-BE49-F238E27FC236}">
                    <a16:creationId xmlns:a16="http://schemas.microsoft.com/office/drawing/2014/main" id="{0E0F3745-C84B-4EBB-B3C9-CA27148BE1E0}"/>
                  </a:ext>
                </a:extLst>
              </p:cNvPr>
              <p:cNvSpPr/>
              <p:nvPr/>
            </p:nvSpPr>
            <p:spPr>
              <a:xfrm>
                <a:off x="5840398" y="4184683"/>
                <a:ext cx="890069" cy="600911"/>
              </a:xfrm>
              <a:custGeom>
                <a:avLst/>
                <a:gdLst>
                  <a:gd name="connsiteX0" fmla="*/ 30420 w 3133725"/>
                  <a:gd name="connsiteY0" fmla="*/ 1313615 h 1409700"/>
                  <a:gd name="connsiteX1" fmla="*/ 25777 w 3133725"/>
                  <a:gd name="connsiteY1" fmla="*/ 1310730 h 1409700"/>
                  <a:gd name="connsiteX2" fmla="*/ 21981 w 3133725"/>
                  <a:gd name="connsiteY2" fmla="*/ 1307628 h 1409700"/>
                  <a:gd name="connsiteX3" fmla="*/ 18662 w 3133725"/>
                  <a:gd name="connsiteY3" fmla="*/ 1303940 h 1409700"/>
                  <a:gd name="connsiteX4" fmla="*/ 12393 w 3133725"/>
                  <a:gd name="connsiteY4" fmla="*/ 1294092 h 1409700"/>
                  <a:gd name="connsiteX5" fmla="*/ 10376 w 3133725"/>
                  <a:gd name="connsiteY5" fmla="*/ 1290318 h 1409700"/>
                  <a:gd name="connsiteX6" fmla="*/ 7946 w 3133725"/>
                  <a:gd name="connsiteY6" fmla="*/ 1283007 h 1409700"/>
                  <a:gd name="connsiteX7" fmla="*/ 7144 w 3133725"/>
                  <a:gd name="connsiteY7" fmla="*/ 1277714 h 1409700"/>
                  <a:gd name="connsiteX8" fmla="*/ 7729 w 3133725"/>
                  <a:gd name="connsiteY8" fmla="*/ 1275024 h 1409700"/>
                  <a:gd name="connsiteX9" fmla="*/ 8922 w 3133725"/>
                  <a:gd name="connsiteY9" fmla="*/ 1272030 h 1409700"/>
                  <a:gd name="connsiteX10" fmla="*/ 20441 w 3133725"/>
                  <a:gd name="connsiteY10" fmla="*/ 1253332 h 1409700"/>
                  <a:gd name="connsiteX11" fmla="*/ 33543 w 3133725"/>
                  <a:gd name="connsiteY11" fmla="*/ 1229514 h 1409700"/>
                  <a:gd name="connsiteX12" fmla="*/ 35994 w 3133725"/>
                  <a:gd name="connsiteY12" fmla="*/ 1224676 h 1409700"/>
                  <a:gd name="connsiteX13" fmla="*/ 38619 w 3133725"/>
                  <a:gd name="connsiteY13" fmla="*/ 1217583 h 1409700"/>
                  <a:gd name="connsiteX14" fmla="*/ 42567 w 3133725"/>
                  <a:gd name="connsiteY14" fmla="*/ 1208428 h 1409700"/>
                  <a:gd name="connsiteX15" fmla="*/ 45648 w 3133725"/>
                  <a:gd name="connsiteY15" fmla="*/ 1202203 h 1409700"/>
                  <a:gd name="connsiteX16" fmla="*/ 48706 w 3133725"/>
                  <a:gd name="connsiteY16" fmla="*/ 1197409 h 1409700"/>
                  <a:gd name="connsiteX17" fmla="*/ 52632 w 3133725"/>
                  <a:gd name="connsiteY17" fmla="*/ 1192116 h 1409700"/>
                  <a:gd name="connsiteX18" fmla="*/ 63782 w 3133725"/>
                  <a:gd name="connsiteY18" fmla="*/ 1180228 h 1409700"/>
                  <a:gd name="connsiteX19" fmla="*/ 72763 w 3133725"/>
                  <a:gd name="connsiteY19" fmla="*/ 1171573 h 1409700"/>
                  <a:gd name="connsiteX20" fmla="*/ 83978 w 3133725"/>
                  <a:gd name="connsiteY20" fmla="*/ 1158861 h 1409700"/>
                  <a:gd name="connsiteX21" fmla="*/ 87080 w 3133725"/>
                  <a:gd name="connsiteY21" fmla="*/ 1154154 h 1409700"/>
                  <a:gd name="connsiteX22" fmla="*/ 89553 w 3133725"/>
                  <a:gd name="connsiteY22" fmla="*/ 1149360 h 1409700"/>
                  <a:gd name="connsiteX23" fmla="*/ 90616 w 3133725"/>
                  <a:gd name="connsiteY23" fmla="*/ 1144978 h 1409700"/>
                  <a:gd name="connsiteX24" fmla="*/ 90594 w 3133725"/>
                  <a:gd name="connsiteY24" fmla="*/ 1139772 h 1409700"/>
                  <a:gd name="connsiteX25" fmla="*/ 89227 w 3133725"/>
                  <a:gd name="connsiteY25" fmla="*/ 1133915 h 1409700"/>
                  <a:gd name="connsiteX26" fmla="*/ 86255 w 3133725"/>
                  <a:gd name="connsiteY26" fmla="*/ 1125260 h 1409700"/>
                  <a:gd name="connsiteX27" fmla="*/ 78012 w 3133725"/>
                  <a:gd name="connsiteY27" fmla="*/ 1106777 h 1409700"/>
                  <a:gd name="connsiteX28" fmla="*/ 77622 w 3133725"/>
                  <a:gd name="connsiteY28" fmla="*/ 1104196 h 1409700"/>
                  <a:gd name="connsiteX29" fmla="*/ 77730 w 3133725"/>
                  <a:gd name="connsiteY29" fmla="*/ 1099879 h 1409700"/>
                  <a:gd name="connsiteX30" fmla="*/ 78707 w 3133725"/>
                  <a:gd name="connsiteY30" fmla="*/ 1095585 h 1409700"/>
                  <a:gd name="connsiteX31" fmla="*/ 80746 w 3133725"/>
                  <a:gd name="connsiteY31" fmla="*/ 1092157 h 1409700"/>
                  <a:gd name="connsiteX32" fmla="*/ 83652 w 3133725"/>
                  <a:gd name="connsiteY32" fmla="*/ 1088665 h 1409700"/>
                  <a:gd name="connsiteX33" fmla="*/ 85496 w 3133725"/>
                  <a:gd name="connsiteY33" fmla="*/ 1086777 h 1409700"/>
                  <a:gd name="connsiteX34" fmla="*/ 88512 w 3133725"/>
                  <a:gd name="connsiteY34" fmla="*/ 1084543 h 1409700"/>
                  <a:gd name="connsiteX35" fmla="*/ 91614 w 3133725"/>
                  <a:gd name="connsiteY35" fmla="*/ 1082655 h 1409700"/>
                  <a:gd name="connsiteX36" fmla="*/ 95388 w 3133725"/>
                  <a:gd name="connsiteY36" fmla="*/ 1080920 h 1409700"/>
                  <a:gd name="connsiteX37" fmla="*/ 99163 w 3133725"/>
                  <a:gd name="connsiteY37" fmla="*/ 1079510 h 1409700"/>
                  <a:gd name="connsiteX38" fmla="*/ 102807 w 3133725"/>
                  <a:gd name="connsiteY38" fmla="*/ 1078512 h 1409700"/>
                  <a:gd name="connsiteX39" fmla="*/ 106928 w 3133725"/>
                  <a:gd name="connsiteY39" fmla="*/ 1077493 h 1409700"/>
                  <a:gd name="connsiteX40" fmla="*/ 115020 w 3133725"/>
                  <a:gd name="connsiteY40" fmla="*/ 1075995 h 1409700"/>
                  <a:gd name="connsiteX41" fmla="*/ 123675 w 3133725"/>
                  <a:gd name="connsiteY41" fmla="*/ 1075041 h 1409700"/>
                  <a:gd name="connsiteX42" fmla="*/ 135802 w 3133725"/>
                  <a:gd name="connsiteY42" fmla="*/ 1074630 h 1409700"/>
                  <a:gd name="connsiteX43" fmla="*/ 158318 w 3133725"/>
                  <a:gd name="connsiteY43" fmla="*/ 1076170 h 1409700"/>
                  <a:gd name="connsiteX44" fmla="*/ 164457 w 3133725"/>
                  <a:gd name="connsiteY44" fmla="*/ 1076213 h 1409700"/>
                  <a:gd name="connsiteX45" fmla="*/ 172483 w 3133725"/>
                  <a:gd name="connsiteY45" fmla="*/ 1075888 h 1409700"/>
                  <a:gd name="connsiteX46" fmla="*/ 187711 w 3133725"/>
                  <a:gd name="connsiteY46" fmla="*/ 1074825 h 1409700"/>
                  <a:gd name="connsiteX47" fmla="*/ 196171 w 3133725"/>
                  <a:gd name="connsiteY47" fmla="*/ 1073696 h 1409700"/>
                  <a:gd name="connsiteX48" fmla="*/ 203048 w 3133725"/>
                  <a:gd name="connsiteY48" fmla="*/ 1071765 h 1409700"/>
                  <a:gd name="connsiteX49" fmla="*/ 209317 w 3133725"/>
                  <a:gd name="connsiteY49" fmla="*/ 1069055 h 1409700"/>
                  <a:gd name="connsiteX50" fmla="*/ 214307 w 3133725"/>
                  <a:gd name="connsiteY50" fmla="*/ 1065779 h 1409700"/>
                  <a:gd name="connsiteX51" fmla="*/ 224654 w 3133725"/>
                  <a:gd name="connsiteY51" fmla="*/ 1057406 h 1409700"/>
                  <a:gd name="connsiteX52" fmla="*/ 231032 w 3133725"/>
                  <a:gd name="connsiteY52" fmla="*/ 1051874 h 1409700"/>
                  <a:gd name="connsiteX53" fmla="*/ 240923 w 3133725"/>
                  <a:gd name="connsiteY53" fmla="*/ 1041917 h 1409700"/>
                  <a:gd name="connsiteX54" fmla="*/ 248407 w 3133725"/>
                  <a:gd name="connsiteY54" fmla="*/ 1033652 h 1409700"/>
                  <a:gd name="connsiteX55" fmla="*/ 251401 w 3133725"/>
                  <a:gd name="connsiteY55" fmla="*/ 1030637 h 1409700"/>
                  <a:gd name="connsiteX56" fmla="*/ 254459 w 3133725"/>
                  <a:gd name="connsiteY56" fmla="*/ 1026710 h 1409700"/>
                  <a:gd name="connsiteX57" fmla="*/ 257192 w 3133725"/>
                  <a:gd name="connsiteY57" fmla="*/ 1022069 h 1409700"/>
                  <a:gd name="connsiteX58" fmla="*/ 258126 w 3133725"/>
                  <a:gd name="connsiteY58" fmla="*/ 1019943 h 1409700"/>
                  <a:gd name="connsiteX59" fmla="*/ 259448 w 3133725"/>
                  <a:gd name="connsiteY59" fmla="*/ 1015582 h 1409700"/>
                  <a:gd name="connsiteX60" fmla="*/ 260338 w 3133725"/>
                  <a:gd name="connsiteY60" fmla="*/ 1010246 h 1409700"/>
                  <a:gd name="connsiteX61" fmla="*/ 266650 w 3133725"/>
                  <a:gd name="connsiteY61" fmla="*/ 984041 h 1409700"/>
                  <a:gd name="connsiteX62" fmla="*/ 267669 w 3133725"/>
                  <a:gd name="connsiteY62" fmla="*/ 981850 h 1409700"/>
                  <a:gd name="connsiteX63" fmla="*/ 269232 w 3133725"/>
                  <a:gd name="connsiteY63" fmla="*/ 979660 h 1409700"/>
                  <a:gd name="connsiteX64" fmla="*/ 271401 w 3133725"/>
                  <a:gd name="connsiteY64" fmla="*/ 977555 h 1409700"/>
                  <a:gd name="connsiteX65" fmla="*/ 273028 w 3133725"/>
                  <a:gd name="connsiteY65" fmla="*/ 976536 h 1409700"/>
                  <a:gd name="connsiteX66" fmla="*/ 278755 w 3133725"/>
                  <a:gd name="connsiteY66" fmla="*/ 973174 h 1409700"/>
                  <a:gd name="connsiteX67" fmla="*/ 283397 w 3133725"/>
                  <a:gd name="connsiteY67" fmla="*/ 970961 h 1409700"/>
                  <a:gd name="connsiteX68" fmla="*/ 311641 w 3133725"/>
                  <a:gd name="connsiteY68" fmla="*/ 960397 h 1409700"/>
                  <a:gd name="connsiteX69" fmla="*/ 315046 w 3133725"/>
                  <a:gd name="connsiteY69" fmla="*/ 958965 h 1409700"/>
                  <a:gd name="connsiteX70" fmla="*/ 329146 w 3133725"/>
                  <a:gd name="connsiteY70" fmla="*/ 953065 h 1409700"/>
                  <a:gd name="connsiteX71" fmla="*/ 343094 w 3133725"/>
                  <a:gd name="connsiteY71" fmla="*/ 949463 h 1409700"/>
                  <a:gd name="connsiteX72" fmla="*/ 353073 w 3133725"/>
                  <a:gd name="connsiteY72" fmla="*/ 947295 h 1409700"/>
                  <a:gd name="connsiteX73" fmla="*/ 366610 w 3133725"/>
                  <a:gd name="connsiteY73" fmla="*/ 944041 h 1409700"/>
                  <a:gd name="connsiteX74" fmla="*/ 371295 w 3133725"/>
                  <a:gd name="connsiteY74" fmla="*/ 942847 h 1409700"/>
                  <a:gd name="connsiteX75" fmla="*/ 384527 w 3133725"/>
                  <a:gd name="connsiteY75" fmla="*/ 938097 h 1409700"/>
                  <a:gd name="connsiteX76" fmla="*/ 396871 w 3133725"/>
                  <a:gd name="connsiteY76" fmla="*/ 931589 h 1409700"/>
                  <a:gd name="connsiteX77" fmla="*/ 405721 w 3133725"/>
                  <a:gd name="connsiteY77" fmla="*/ 926318 h 1409700"/>
                  <a:gd name="connsiteX78" fmla="*/ 415352 w 3133725"/>
                  <a:gd name="connsiteY78" fmla="*/ 919810 h 1409700"/>
                  <a:gd name="connsiteX79" fmla="*/ 422511 w 3133725"/>
                  <a:gd name="connsiteY79" fmla="*/ 911958 h 1409700"/>
                  <a:gd name="connsiteX80" fmla="*/ 429127 w 3133725"/>
                  <a:gd name="connsiteY80" fmla="*/ 903259 h 1409700"/>
                  <a:gd name="connsiteX81" fmla="*/ 433183 w 3133725"/>
                  <a:gd name="connsiteY81" fmla="*/ 897619 h 1409700"/>
                  <a:gd name="connsiteX82" fmla="*/ 435374 w 3133725"/>
                  <a:gd name="connsiteY82" fmla="*/ 891957 h 1409700"/>
                  <a:gd name="connsiteX83" fmla="*/ 435808 w 3133725"/>
                  <a:gd name="connsiteY83" fmla="*/ 885775 h 1409700"/>
                  <a:gd name="connsiteX84" fmla="*/ 434853 w 3133725"/>
                  <a:gd name="connsiteY84" fmla="*/ 879658 h 1409700"/>
                  <a:gd name="connsiteX85" fmla="*/ 433097 w 3133725"/>
                  <a:gd name="connsiteY85" fmla="*/ 875102 h 1409700"/>
                  <a:gd name="connsiteX86" fmla="*/ 417347 w 3133725"/>
                  <a:gd name="connsiteY86" fmla="*/ 855731 h 1409700"/>
                  <a:gd name="connsiteX87" fmla="*/ 411252 w 3133725"/>
                  <a:gd name="connsiteY87" fmla="*/ 848269 h 1409700"/>
                  <a:gd name="connsiteX88" fmla="*/ 402271 w 3133725"/>
                  <a:gd name="connsiteY88" fmla="*/ 830372 h 1409700"/>
                  <a:gd name="connsiteX89" fmla="*/ 398866 w 3133725"/>
                  <a:gd name="connsiteY89" fmla="*/ 820698 h 1409700"/>
                  <a:gd name="connsiteX90" fmla="*/ 396827 w 3133725"/>
                  <a:gd name="connsiteY90" fmla="*/ 810740 h 1409700"/>
                  <a:gd name="connsiteX91" fmla="*/ 396176 w 3133725"/>
                  <a:gd name="connsiteY91" fmla="*/ 807465 h 1409700"/>
                  <a:gd name="connsiteX92" fmla="*/ 386327 w 3133725"/>
                  <a:gd name="connsiteY92" fmla="*/ 773169 h 1409700"/>
                  <a:gd name="connsiteX93" fmla="*/ 376024 w 3133725"/>
                  <a:gd name="connsiteY93" fmla="*/ 756293 h 1409700"/>
                  <a:gd name="connsiteX94" fmla="*/ 350686 w 3133725"/>
                  <a:gd name="connsiteY94" fmla="*/ 714773 h 1409700"/>
                  <a:gd name="connsiteX95" fmla="*/ 332986 w 3133725"/>
                  <a:gd name="connsiteY95" fmla="*/ 685771 h 1409700"/>
                  <a:gd name="connsiteX96" fmla="*/ 292073 w 3133725"/>
                  <a:gd name="connsiteY96" fmla="*/ 641887 h 1409700"/>
                  <a:gd name="connsiteX97" fmla="*/ 252789 w 3133725"/>
                  <a:gd name="connsiteY97" fmla="*/ 598610 h 1409700"/>
                  <a:gd name="connsiteX98" fmla="*/ 242007 w 3133725"/>
                  <a:gd name="connsiteY98" fmla="*/ 581603 h 1409700"/>
                  <a:gd name="connsiteX99" fmla="*/ 216757 w 3133725"/>
                  <a:gd name="connsiteY99" fmla="*/ 525571 h 1409700"/>
                  <a:gd name="connsiteX100" fmla="*/ 211161 w 3133725"/>
                  <a:gd name="connsiteY100" fmla="*/ 515571 h 1409700"/>
                  <a:gd name="connsiteX101" fmla="*/ 222658 w 3133725"/>
                  <a:gd name="connsiteY101" fmla="*/ 512621 h 1409700"/>
                  <a:gd name="connsiteX102" fmla="*/ 240272 w 3133725"/>
                  <a:gd name="connsiteY102" fmla="*/ 509367 h 1409700"/>
                  <a:gd name="connsiteX103" fmla="*/ 244524 w 3133725"/>
                  <a:gd name="connsiteY103" fmla="*/ 508239 h 1409700"/>
                  <a:gd name="connsiteX104" fmla="*/ 251770 w 3133725"/>
                  <a:gd name="connsiteY104" fmla="*/ 505766 h 1409700"/>
                  <a:gd name="connsiteX105" fmla="*/ 254741 w 3133725"/>
                  <a:gd name="connsiteY105" fmla="*/ 504465 h 1409700"/>
                  <a:gd name="connsiteX106" fmla="*/ 260815 w 3133725"/>
                  <a:gd name="connsiteY106" fmla="*/ 501167 h 1409700"/>
                  <a:gd name="connsiteX107" fmla="*/ 264741 w 3133725"/>
                  <a:gd name="connsiteY107" fmla="*/ 498391 h 1409700"/>
                  <a:gd name="connsiteX108" fmla="*/ 270728 w 3133725"/>
                  <a:gd name="connsiteY108" fmla="*/ 493727 h 1409700"/>
                  <a:gd name="connsiteX109" fmla="*/ 273548 w 3133725"/>
                  <a:gd name="connsiteY109" fmla="*/ 491970 h 1409700"/>
                  <a:gd name="connsiteX110" fmla="*/ 276498 w 3133725"/>
                  <a:gd name="connsiteY110" fmla="*/ 490452 h 1409700"/>
                  <a:gd name="connsiteX111" fmla="*/ 279514 w 3133725"/>
                  <a:gd name="connsiteY111" fmla="*/ 489128 h 1409700"/>
                  <a:gd name="connsiteX112" fmla="*/ 283635 w 3133725"/>
                  <a:gd name="connsiteY112" fmla="*/ 487653 h 1409700"/>
                  <a:gd name="connsiteX113" fmla="*/ 291163 w 3133725"/>
                  <a:gd name="connsiteY113" fmla="*/ 485701 h 1409700"/>
                  <a:gd name="connsiteX114" fmla="*/ 296087 w 3133725"/>
                  <a:gd name="connsiteY114" fmla="*/ 484616 h 1409700"/>
                  <a:gd name="connsiteX115" fmla="*/ 301836 w 3133725"/>
                  <a:gd name="connsiteY115" fmla="*/ 484161 h 1409700"/>
                  <a:gd name="connsiteX116" fmla="*/ 306716 w 3133725"/>
                  <a:gd name="connsiteY116" fmla="*/ 484356 h 1409700"/>
                  <a:gd name="connsiteX117" fmla="*/ 313854 w 3133725"/>
                  <a:gd name="connsiteY117" fmla="*/ 485527 h 1409700"/>
                  <a:gd name="connsiteX118" fmla="*/ 320274 w 3133725"/>
                  <a:gd name="connsiteY118" fmla="*/ 485961 h 1409700"/>
                  <a:gd name="connsiteX119" fmla="*/ 326739 w 3133725"/>
                  <a:gd name="connsiteY119" fmla="*/ 485765 h 1409700"/>
                  <a:gd name="connsiteX120" fmla="*/ 332899 w 3133725"/>
                  <a:gd name="connsiteY120" fmla="*/ 485006 h 1409700"/>
                  <a:gd name="connsiteX121" fmla="*/ 336174 w 3133725"/>
                  <a:gd name="connsiteY121" fmla="*/ 484356 h 1409700"/>
                  <a:gd name="connsiteX122" fmla="*/ 339862 w 3133725"/>
                  <a:gd name="connsiteY122" fmla="*/ 483380 h 1409700"/>
                  <a:gd name="connsiteX123" fmla="*/ 345763 w 3133725"/>
                  <a:gd name="connsiteY123" fmla="*/ 481233 h 1409700"/>
                  <a:gd name="connsiteX124" fmla="*/ 350513 w 3133725"/>
                  <a:gd name="connsiteY124" fmla="*/ 478825 h 1409700"/>
                  <a:gd name="connsiteX125" fmla="*/ 353355 w 3133725"/>
                  <a:gd name="connsiteY125" fmla="*/ 476959 h 1409700"/>
                  <a:gd name="connsiteX126" fmla="*/ 355937 w 3133725"/>
                  <a:gd name="connsiteY126" fmla="*/ 474897 h 1409700"/>
                  <a:gd name="connsiteX127" fmla="*/ 357498 w 3133725"/>
                  <a:gd name="connsiteY127" fmla="*/ 473965 h 1409700"/>
                  <a:gd name="connsiteX128" fmla="*/ 359928 w 3133725"/>
                  <a:gd name="connsiteY128" fmla="*/ 472880 h 1409700"/>
                  <a:gd name="connsiteX129" fmla="*/ 363139 w 3133725"/>
                  <a:gd name="connsiteY129" fmla="*/ 471926 h 1409700"/>
                  <a:gd name="connsiteX130" fmla="*/ 365871 w 3133725"/>
                  <a:gd name="connsiteY130" fmla="*/ 471448 h 1409700"/>
                  <a:gd name="connsiteX131" fmla="*/ 389170 w 3133725"/>
                  <a:gd name="connsiteY131" fmla="*/ 469041 h 1409700"/>
                  <a:gd name="connsiteX132" fmla="*/ 415135 w 3133725"/>
                  <a:gd name="connsiteY132" fmla="*/ 466048 h 1409700"/>
                  <a:gd name="connsiteX133" fmla="*/ 437782 w 3133725"/>
                  <a:gd name="connsiteY133" fmla="*/ 459735 h 1409700"/>
                  <a:gd name="connsiteX134" fmla="*/ 452750 w 3133725"/>
                  <a:gd name="connsiteY134" fmla="*/ 455591 h 1409700"/>
                  <a:gd name="connsiteX135" fmla="*/ 457306 w 3133725"/>
                  <a:gd name="connsiteY135" fmla="*/ 454572 h 1409700"/>
                  <a:gd name="connsiteX136" fmla="*/ 463379 w 3133725"/>
                  <a:gd name="connsiteY136" fmla="*/ 453553 h 1409700"/>
                  <a:gd name="connsiteX137" fmla="*/ 466850 w 3133725"/>
                  <a:gd name="connsiteY137" fmla="*/ 453162 h 1409700"/>
                  <a:gd name="connsiteX138" fmla="*/ 490061 w 3133725"/>
                  <a:gd name="connsiteY138" fmla="*/ 452273 h 1409700"/>
                  <a:gd name="connsiteX139" fmla="*/ 496048 w 3133725"/>
                  <a:gd name="connsiteY139" fmla="*/ 452056 h 1409700"/>
                  <a:gd name="connsiteX140" fmla="*/ 503271 w 3133725"/>
                  <a:gd name="connsiteY140" fmla="*/ 451079 h 1409700"/>
                  <a:gd name="connsiteX141" fmla="*/ 509909 w 3133725"/>
                  <a:gd name="connsiteY141" fmla="*/ 449452 h 1409700"/>
                  <a:gd name="connsiteX142" fmla="*/ 516048 w 3133725"/>
                  <a:gd name="connsiteY142" fmla="*/ 447197 h 1409700"/>
                  <a:gd name="connsiteX143" fmla="*/ 519671 w 3133725"/>
                  <a:gd name="connsiteY143" fmla="*/ 445418 h 1409700"/>
                  <a:gd name="connsiteX144" fmla="*/ 523532 w 3133725"/>
                  <a:gd name="connsiteY144" fmla="*/ 443032 h 1409700"/>
                  <a:gd name="connsiteX145" fmla="*/ 531190 w 3133725"/>
                  <a:gd name="connsiteY145" fmla="*/ 436372 h 1409700"/>
                  <a:gd name="connsiteX146" fmla="*/ 538587 w 3133725"/>
                  <a:gd name="connsiteY146" fmla="*/ 430341 h 1409700"/>
                  <a:gd name="connsiteX147" fmla="*/ 541884 w 3133725"/>
                  <a:gd name="connsiteY147" fmla="*/ 428584 h 1409700"/>
                  <a:gd name="connsiteX148" fmla="*/ 545962 w 3133725"/>
                  <a:gd name="connsiteY148" fmla="*/ 427001 h 1409700"/>
                  <a:gd name="connsiteX149" fmla="*/ 549347 w 3133725"/>
                  <a:gd name="connsiteY149" fmla="*/ 426047 h 1409700"/>
                  <a:gd name="connsiteX150" fmla="*/ 552860 w 3133725"/>
                  <a:gd name="connsiteY150" fmla="*/ 425352 h 1409700"/>
                  <a:gd name="connsiteX151" fmla="*/ 567763 w 3133725"/>
                  <a:gd name="connsiteY151" fmla="*/ 424116 h 1409700"/>
                  <a:gd name="connsiteX152" fmla="*/ 577894 w 3133725"/>
                  <a:gd name="connsiteY152" fmla="*/ 422880 h 1409700"/>
                  <a:gd name="connsiteX153" fmla="*/ 582731 w 3133725"/>
                  <a:gd name="connsiteY153" fmla="*/ 422120 h 1409700"/>
                  <a:gd name="connsiteX154" fmla="*/ 586679 w 3133725"/>
                  <a:gd name="connsiteY154" fmla="*/ 421057 h 1409700"/>
                  <a:gd name="connsiteX155" fmla="*/ 589455 w 3133725"/>
                  <a:gd name="connsiteY155" fmla="*/ 419994 h 1409700"/>
                  <a:gd name="connsiteX156" fmla="*/ 592103 w 3133725"/>
                  <a:gd name="connsiteY156" fmla="*/ 418671 h 1409700"/>
                  <a:gd name="connsiteX157" fmla="*/ 594684 w 3133725"/>
                  <a:gd name="connsiteY157" fmla="*/ 416936 h 1409700"/>
                  <a:gd name="connsiteX158" fmla="*/ 648177 w 3133725"/>
                  <a:gd name="connsiteY158" fmla="*/ 384636 h 1409700"/>
                  <a:gd name="connsiteX159" fmla="*/ 666030 w 3133725"/>
                  <a:gd name="connsiteY159" fmla="*/ 375590 h 1409700"/>
                  <a:gd name="connsiteX160" fmla="*/ 687462 w 3133725"/>
                  <a:gd name="connsiteY160" fmla="*/ 362618 h 1409700"/>
                  <a:gd name="connsiteX161" fmla="*/ 690065 w 3133725"/>
                  <a:gd name="connsiteY161" fmla="*/ 361273 h 1409700"/>
                  <a:gd name="connsiteX162" fmla="*/ 693341 w 3133725"/>
                  <a:gd name="connsiteY162" fmla="*/ 359950 h 1409700"/>
                  <a:gd name="connsiteX163" fmla="*/ 695879 w 3133725"/>
                  <a:gd name="connsiteY163" fmla="*/ 359169 h 1409700"/>
                  <a:gd name="connsiteX164" fmla="*/ 699306 w 3133725"/>
                  <a:gd name="connsiteY164" fmla="*/ 358345 h 1409700"/>
                  <a:gd name="connsiteX165" fmla="*/ 703667 w 3133725"/>
                  <a:gd name="connsiteY165" fmla="*/ 357715 h 1409700"/>
                  <a:gd name="connsiteX166" fmla="*/ 707636 w 3133725"/>
                  <a:gd name="connsiteY166" fmla="*/ 357455 h 1409700"/>
                  <a:gd name="connsiteX167" fmla="*/ 795838 w 3133725"/>
                  <a:gd name="connsiteY167" fmla="*/ 355980 h 1409700"/>
                  <a:gd name="connsiteX168" fmla="*/ 804579 w 3133725"/>
                  <a:gd name="connsiteY168" fmla="*/ 341532 h 1409700"/>
                  <a:gd name="connsiteX169" fmla="*/ 808940 w 3133725"/>
                  <a:gd name="connsiteY169" fmla="*/ 334287 h 1409700"/>
                  <a:gd name="connsiteX170" fmla="*/ 807595 w 3133725"/>
                  <a:gd name="connsiteY170" fmla="*/ 333593 h 1409700"/>
                  <a:gd name="connsiteX171" fmla="*/ 807227 w 3133725"/>
                  <a:gd name="connsiteY171" fmla="*/ 333094 h 1409700"/>
                  <a:gd name="connsiteX172" fmla="*/ 807313 w 3133725"/>
                  <a:gd name="connsiteY172" fmla="*/ 332248 h 1409700"/>
                  <a:gd name="connsiteX173" fmla="*/ 806836 w 3133725"/>
                  <a:gd name="connsiteY173" fmla="*/ 332162 h 1409700"/>
                  <a:gd name="connsiteX174" fmla="*/ 817465 w 3133725"/>
                  <a:gd name="connsiteY174" fmla="*/ 314396 h 1409700"/>
                  <a:gd name="connsiteX175" fmla="*/ 818876 w 3133725"/>
                  <a:gd name="connsiteY175" fmla="*/ 311684 h 1409700"/>
                  <a:gd name="connsiteX176" fmla="*/ 821175 w 3133725"/>
                  <a:gd name="connsiteY176" fmla="*/ 306304 h 1409700"/>
                  <a:gd name="connsiteX177" fmla="*/ 822867 w 3133725"/>
                  <a:gd name="connsiteY177" fmla="*/ 301206 h 1409700"/>
                  <a:gd name="connsiteX178" fmla="*/ 824363 w 3133725"/>
                  <a:gd name="connsiteY178" fmla="*/ 294004 h 1409700"/>
                  <a:gd name="connsiteX179" fmla="*/ 825426 w 3133725"/>
                  <a:gd name="connsiteY179" fmla="*/ 283635 h 1409700"/>
                  <a:gd name="connsiteX180" fmla="*/ 824753 w 3133725"/>
                  <a:gd name="connsiteY180" fmla="*/ 280512 h 1409700"/>
                  <a:gd name="connsiteX181" fmla="*/ 824407 w 3133725"/>
                  <a:gd name="connsiteY181" fmla="*/ 273635 h 1409700"/>
                  <a:gd name="connsiteX182" fmla="*/ 825925 w 3133725"/>
                  <a:gd name="connsiteY182" fmla="*/ 272725 h 1409700"/>
                  <a:gd name="connsiteX183" fmla="*/ 825253 w 3133725"/>
                  <a:gd name="connsiteY183" fmla="*/ 269709 h 1409700"/>
                  <a:gd name="connsiteX184" fmla="*/ 824645 w 3133725"/>
                  <a:gd name="connsiteY184" fmla="*/ 267106 h 1409700"/>
                  <a:gd name="connsiteX185" fmla="*/ 824342 w 3133725"/>
                  <a:gd name="connsiteY185" fmla="*/ 267128 h 1409700"/>
                  <a:gd name="connsiteX186" fmla="*/ 824233 w 3133725"/>
                  <a:gd name="connsiteY186" fmla="*/ 266737 h 1409700"/>
                  <a:gd name="connsiteX187" fmla="*/ 823257 w 3133725"/>
                  <a:gd name="connsiteY187" fmla="*/ 266759 h 1409700"/>
                  <a:gd name="connsiteX188" fmla="*/ 822541 w 3133725"/>
                  <a:gd name="connsiteY188" fmla="*/ 266542 h 1409700"/>
                  <a:gd name="connsiteX189" fmla="*/ 821804 w 3133725"/>
                  <a:gd name="connsiteY189" fmla="*/ 265956 h 1409700"/>
                  <a:gd name="connsiteX190" fmla="*/ 821478 w 3133725"/>
                  <a:gd name="connsiteY190" fmla="*/ 261986 h 1409700"/>
                  <a:gd name="connsiteX191" fmla="*/ 818441 w 3133725"/>
                  <a:gd name="connsiteY191" fmla="*/ 253830 h 1409700"/>
                  <a:gd name="connsiteX192" fmla="*/ 815795 w 3133725"/>
                  <a:gd name="connsiteY192" fmla="*/ 248927 h 1409700"/>
                  <a:gd name="connsiteX193" fmla="*/ 811868 w 3133725"/>
                  <a:gd name="connsiteY193" fmla="*/ 244719 h 1409700"/>
                  <a:gd name="connsiteX194" fmla="*/ 811760 w 3133725"/>
                  <a:gd name="connsiteY194" fmla="*/ 244004 h 1409700"/>
                  <a:gd name="connsiteX195" fmla="*/ 812021 w 3133725"/>
                  <a:gd name="connsiteY195" fmla="*/ 243613 h 1409700"/>
                  <a:gd name="connsiteX196" fmla="*/ 813408 w 3133725"/>
                  <a:gd name="connsiteY196" fmla="*/ 242854 h 1409700"/>
                  <a:gd name="connsiteX197" fmla="*/ 810415 w 3133725"/>
                  <a:gd name="connsiteY197" fmla="*/ 238993 h 1409700"/>
                  <a:gd name="connsiteX198" fmla="*/ 808723 w 3133725"/>
                  <a:gd name="connsiteY198" fmla="*/ 239101 h 1409700"/>
                  <a:gd name="connsiteX199" fmla="*/ 807378 w 3133725"/>
                  <a:gd name="connsiteY199" fmla="*/ 238667 h 1409700"/>
                  <a:gd name="connsiteX200" fmla="*/ 804255 w 3133725"/>
                  <a:gd name="connsiteY200" fmla="*/ 234784 h 1409700"/>
                  <a:gd name="connsiteX201" fmla="*/ 799374 w 3133725"/>
                  <a:gd name="connsiteY201" fmla="*/ 230597 h 1409700"/>
                  <a:gd name="connsiteX202" fmla="*/ 793430 w 3133725"/>
                  <a:gd name="connsiteY202" fmla="*/ 226107 h 1409700"/>
                  <a:gd name="connsiteX203" fmla="*/ 786987 w 3133725"/>
                  <a:gd name="connsiteY203" fmla="*/ 221899 h 1409700"/>
                  <a:gd name="connsiteX204" fmla="*/ 780501 w 3133725"/>
                  <a:gd name="connsiteY204" fmla="*/ 218211 h 1409700"/>
                  <a:gd name="connsiteX205" fmla="*/ 773364 w 3133725"/>
                  <a:gd name="connsiteY205" fmla="*/ 214827 h 1409700"/>
                  <a:gd name="connsiteX206" fmla="*/ 765577 w 3133725"/>
                  <a:gd name="connsiteY206" fmla="*/ 211595 h 1409700"/>
                  <a:gd name="connsiteX207" fmla="*/ 758288 w 3133725"/>
                  <a:gd name="connsiteY207" fmla="*/ 208992 h 1409700"/>
                  <a:gd name="connsiteX208" fmla="*/ 748461 w 3133725"/>
                  <a:gd name="connsiteY208" fmla="*/ 206193 h 1409700"/>
                  <a:gd name="connsiteX209" fmla="*/ 729980 w 3133725"/>
                  <a:gd name="connsiteY209" fmla="*/ 201725 h 1409700"/>
                  <a:gd name="connsiteX210" fmla="*/ 716031 w 3133725"/>
                  <a:gd name="connsiteY210" fmla="*/ 197972 h 1409700"/>
                  <a:gd name="connsiteX211" fmla="*/ 711475 w 3133725"/>
                  <a:gd name="connsiteY211" fmla="*/ 196648 h 1409700"/>
                  <a:gd name="connsiteX212" fmla="*/ 651497 w 3133725"/>
                  <a:gd name="connsiteY212" fmla="*/ 177364 h 1409700"/>
                  <a:gd name="connsiteX213" fmla="*/ 636854 w 3133725"/>
                  <a:gd name="connsiteY213" fmla="*/ 172657 h 1409700"/>
                  <a:gd name="connsiteX214" fmla="*/ 629370 w 3133725"/>
                  <a:gd name="connsiteY214" fmla="*/ 170597 h 1409700"/>
                  <a:gd name="connsiteX215" fmla="*/ 620779 w 3133725"/>
                  <a:gd name="connsiteY215" fmla="*/ 168535 h 1409700"/>
                  <a:gd name="connsiteX216" fmla="*/ 610389 w 3133725"/>
                  <a:gd name="connsiteY216" fmla="*/ 166540 h 1409700"/>
                  <a:gd name="connsiteX217" fmla="*/ 578002 w 3133725"/>
                  <a:gd name="connsiteY217" fmla="*/ 161594 h 1409700"/>
                  <a:gd name="connsiteX218" fmla="*/ 578458 w 3133725"/>
                  <a:gd name="connsiteY218" fmla="*/ 160444 h 1409700"/>
                  <a:gd name="connsiteX219" fmla="*/ 575117 w 3133725"/>
                  <a:gd name="connsiteY219" fmla="*/ 159967 h 1409700"/>
                  <a:gd name="connsiteX220" fmla="*/ 572535 w 3133725"/>
                  <a:gd name="connsiteY220" fmla="*/ 159598 h 1409700"/>
                  <a:gd name="connsiteX221" fmla="*/ 572275 w 3133725"/>
                  <a:gd name="connsiteY221" fmla="*/ 159924 h 1409700"/>
                  <a:gd name="connsiteX222" fmla="*/ 571863 w 3133725"/>
                  <a:gd name="connsiteY222" fmla="*/ 159880 h 1409700"/>
                  <a:gd name="connsiteX223" fmla="*/ 571581 w 3133725"/>
                  <a:gd name="connsiteY223" fmla="*/ 160617 h 1409700"/>
                  <a:gd name="connsiteX224" fmla="*/ 555377 w 3133725"/>
                  <a:gd name="connsiteY224" fmla="*/ 158209 h 1409700"/>
                  <a:gd name="connsiteX225" fmla="*/ 425439 w 3133725"/>
                  <a:gd name="connsiteY225" fmla="*/ 137103 h 1409700"/>
                  <a:gd name="connsiteX226" fmla="*/ 416892 w 3133725"/>
                  <a:gd name="connsiteY226" fmla="*/ 135888 h 1409700"/>
                  <a:gd name="connsiteX227" fmla="*/ 405915 w 3133725"/>
                  <a:gd name="connsiteY227" fmla="*/ 134782 h 1409700"/>
                  <a:gd name="connsiteX228" fmla="*/ 399213 w 3133725"/>
                  <a:gd name="connsiteY228" fmla="*/ 134348 h 1409700"/>
                  <a:gd name="connsiteX229" fmla="*/ 386783 w 3133725"/>
                  <a:gd name="connsiteY229" fmla="*/ 134109 h 1409700"/>
                  <a:gd name="connsiteX230" fmla="*/ 379733 w 3133725"/>
                  <a:gd name="connsiteY230" fmla="*/ 134283 h 1409700"/>
                  <a:gd name="connsiteX231" fmla="*/ 373768 w 3133725"/>
                  <a:gd name="connsiteY231" fmla="*/ 134608 h 1409700"/>
                  <a:gd name="connsiteX232" fmla="*/ 372944 w 3133725"/>
                  <a:gd name="connsiteY232" fmla="*/ 134370 h 1409700"/>
                  <a:gd name="connsiteX233" fmla="*/ 372748 w 3133725"/>
                  <a:gd name="connsiteY233" fmla="*/ 133936 h 1409700"/>
                  <a:gd name="connsiteX234" fmla="*/ 370536 w 3133725"/>
                  <a:gd name="connsiteY234" fmla="*/ 134109 h 1409700"/>
                  <a:gd name="connsiteX235" fmla="*/ 368909 w 3133725"/>
                  <a:gd name="connsiteY235" fmla="*/ 127580 h 1409700"/>
                  <a:gd name="connsiteX236" fmla="*/ 371772 w 3133725"/>
                  <a:gd name="connsiteY236" fmla="*/ 127298 h 1409700"/>
                  <a:gd name="connsiteX237" fmla="*/ 372835 w 3133725"/>
                  <a:gd name="connsiteY237" fmla="*/ 125715 h 1409700"/>
                  <a:gd name="connsiteX238" fmla="*/ 370622 w 3133725"/>
                  <a:gd name="connsiteY238" fmla="*/ 117124 h 1409700"/>
                  <a:gd name="connsiteX239" fmla="*/ 352704 w 3133725"/>
                  <a:gd name="connsiteY239" fmla="*/ 115910 h 1409700"/>
                  <a:gd name="connsiteX240" fmla="*/ 340448 w 3133725"/>
                  <a:gd name="connsiteY240" fmla="*/ 66516 h 1409700"/>
                  <a:gd name="connsiteX241" fmla="*/ 349364 w 3133725"/>
                  <a:gd name="connsiteY241" fmla="*/ 66234 h 1409700"/>
                  <a:gd name="connsiteX242" fmla="*/ 490321 w 3133725"/>
                  <a:gd name="connsiteY242" fmla="*/ 52763 h 1409700"/>
                  <a:gd name="connsiteX243" fmla="*/ 541429 w 3133725"/>
                  <a:gd name="connsiteY243" fmla="*/ 47036 h 1409700"/>
                  <a:gd name="connsiteX244" fmla="*/ 597786 w 3133725"/>
                  <a:gd name="connsiteY244" fmla="*/ 40680 h 1409700"/>
                  <a:gd name="connsiteX245" fmla="*/ 785013 w 3133725"/>
                  <a:gd name="connsiteY245" fmla="*/ 18185 h 1409700"/>
                  <a:gd name="connsiteX246" fmla="*/ 920982 w 3133725"/>
                  <a:gd name="connsiteY246" fmla="*/ 12393 h 1409700"/>
                  <a:gd name="connsiteX247" fmla="*/ 974692 w 3133725"/>
                  <a:gd name="connsiteY247" fmla="*/ 10116 h 1409700"/>
                  <a:gd name="connsiteX248" fmla="*/ 1047492 w 3133725"/>
                  <a:gd name="connsiteY248" fmla="*/ 10180 h 1409700"/>
                  <a:gd name="connsiteX249" fmla="*/ 1186281 w 3133725"/>
                  <a:gd name="connsiteY249" fmla="*/ 10354 h 1409700"/>
                  <a:gd name="connsiteX250" fmla="*/ 1247952 w 3133725"/>
                  <a:gd name="connsiteY250" fmla="*/ 8857 h 1409700"/>
                  <a:gd name="connsiteX251" fmla="*/ 1287519 w 3133725"/>
                  <a:gd name="connsiteY251" fmla="*/ 7925 h 1409700"/>
                  <a:gd name="connsiteX252" fmla="*/ 1340839 w 3133725"/>
                  <a:gd name="connsiteY252" fmla="*/ 7144 h 1409700"/>
                  <a:gd name="connsiteX253" fmla="*/ 1377738 w 3133725"/>
                  <a:gd name="connsiteY253" fmla="*/ 10983 h 1409700"/>
                  <a:gd name="connsiteX254" fmla="*/ 1404767 w 3133725"/>
                  <a:gd name="connsiteY254" fmla="*/ 19161 h 1409700"/>
                  <a:gd name="connsiteX255" fmla="*/ 1425440 w 3133725"/>
                  <a:gd name="connsiteY255" fmla="*/ 28576 h 1409700"/>
                  <a:gd name="connsiteX256" fmla="*/ 1446438 w 3133725"/>
                  <a:gd name="connsiteY256" fmla="*/ 38099 h 1409700"/>
                  <a:gd name="connsiteX257" fmla="*/ 1492903 w 3133725"/>
                  <a:gd name="connsiteY257" fmla="*/ 69683 h 1409700"/>
                  <a:gd name="connsiteX258" fmla="*/ 1555725 w 3133725"/>
                  <a:gd name="connsiteY258" fmla="*/ 103046 h 1409700"/>
                  <a:gd name="connsiteX259" fmla="*/ 1636225 w 3133725"/>
                  <a:gd name="connsiteY259" fmla="*/ 145758 h 1409700"/>
                  <a:gd name="connsiteX260" fmla="*/ 1717833 w 3133725"/>
                  <a:gd name="connsiteY260" fmla="*/ 189165 h 1409700"/>
                  <a:gd name="connsiteX261" fmla="*/ 1788983 w 3133725"/>
                  <a:gd name="connsiteY261" fmla="*/ 226975 h 1409700"/>
                  <a:gd name="connsiteX262" fmla="*/ 1840503 w 3133725"/>
                  <a:gd name="connsiteY262" fmla="*/ 252637 h 1409700"/>
                  <a:gd name="connsiteX263" fmla="*/ 1892066 w 3133725"/>
                  <a:gd name="connsiteY263" fmla="*/ 273180 h 1409700"/>
                  <a:gd name="connsiteX264" fmla="*/ 1937099 w 3133725"/>
                  <a:gd name="connsiteY264" fmla="*/ 287453 h 1409700"/>
                  <a:gd name="connsiteX265" fmla="*/ 1987925 w 3133725"/>
                  <a:gd name="connsiteY265" fmla="*/ 300534 h 1409700"/>
                  <a:gd name="connsiteX266" fmla="*/ 2042200 w 3133725"/>
                  <a:gd name="connsiteY266" fmla="*/ 310491 h 1409700"/>
                  <a:gd name="connsiteX267" fmla="*/ 2093480 w 3133725"/>
                  <a:gd name="connsiteY267" fmla="*/ 316717 h 1409700"/>
                  <a:gd name="connsiteX268" fmla="*/ 2146974 w 3133725"/>
                  <a:gd name="connsiteY268" fmla="*/ 319624 h 1409700"/>
                  <a:gd name="connsiteX269" fmla="*/ 2202962 w 3133725"/>
                  <a:gd name="connsiteY269" fmla="*/ 319949 h 1409700"/>
                  <a:gd name="connsiteX270" fmla="*/ 2252703 w 3133725"/>
                  <a:gd name="connsiteY270" fmla="*/ 317150 h 1409700"/>
                  <a:gd name="connsiteX271" fmla="*/ 2307303 w 3133725"/>
                  <a:gd name="connsiteY271" fmla="*/ 312074 h 1409700"/>
                  <a:gd name="connsiteX272" fmla="*/ 2593145 w 3133725"/>
                  <a:gd name="connsiteY272" fmla="*/ 285327 h 1409700"/>
                  <a:gd name="connsiteX273" fmla="*/ 3097342 w 3133725"/>
                  <a:gd name="connsiteY273" fmla="*/ 164392 h 1409700"/>
                  <a:gd name="connsiteX274" fmla="*/ 3103264 w 3133725"/>
                  <a:gd name="connsiteY274" fmla="*/ 253201 h 1409700"/>
                  <a:gd name="connsiteX275" fmla="*/ 3113243 w 3133725"/>
                  <a:gd name="connsiteY275" fmla="*/ 416567 h 1409700"/>
                  <a:gd name="connsiteX276" fmla="*/ 3115434 w 3133725"/>
                  <a:gd name="connsiteY276" fmla="*/ 452468 h 1409700"/>
                  <a:gd name="connsiteX277" fmla="*/ 3120814 w 3133725"/>
                  <a:gd name="connsiteY277" fmla="*/ 525940 h 1409700"/>
                  <a:gd name="connsiteX278" fmla="*/ 3121833 w 3133725"/>
                  <a:gd name="connsiteY278" fmla="*/ 539585 h 1409700"/>
                  <a:gd name="connsiteX279" fmla="*/ 3127191 w 3133725"/>
                  <a:gd name="connsiteY279" fmla="*/ 616138 h 1409700"/>
                  <a:gd name="connsiteX280" fmla="*/ 2727638 w 3133725"/>
                  <a:gd name="connsiteY280" fmla="*/ 724014 h 1409700"/>
                  <a:gd name="connsiteX281" fmla="*/ 2718506 w 3133725"/>
                  <a:gd name="connsiteY281" fmla="*/ 726465 h 1409700"/>
                  <a:gd name="connsiteX282" fmla="*/ 2624881 w 3133725"/>
                  <a:gd name="connsiteY282" fmla="*/ 751781 h 1409700"/>
                  <a:gd name="connsiteX283" fmla="*/ 2602993 w 3133725"/>
                  <a:gd name="connsiteY283" fmla="*/ 776705 h 1409700"/>
                  <a:gd name="connsiteX284" fmla="*/ 2558632 w 3133725"/>
                  <a:gd name="connsiteY284" fmla="*/ 827314 h 1409700"/>
                  <a:gd name="connsiteX285" fmla="*/ 2548567 w 3133725"/>
                  <a:gd name="connsiteY285" fmla="*/ 838789 h 1409700"/>
                  <a:gd name="connsiteX286" fmla="*/ 2548111 w 3133725"/>
                  <a:gd name="connsiteY286" fmla="*/ 845969 h 1409700"/>
                  <a:gd name="connsiteX287" fmla="*/ 2546832 w 3133725"/>
                  <a:gd name="connsiteY287" fmla="*/ 848962 h 1409700"/>
                  <a:gd name="connsiteX288" fmla="*/ 2546397 w 3133725"/>
                  <a:gd name="connsiteY288" fmla="*/ 848854 h 1409700"/>
                  <a:gd name="connsiteX289" fmla="*/ 2545009 w 3133725"/>
                  <a:gd name="connsiteY289" fmla="*/ 851587 h 1409700"/>
                  <a:gd name="connsiteX290" fmla="*/ 2545834 w 3133725"/>
                  <a:gd name="connsiteY290" fmla="*/ 851739 h 1409700"/>
                  <a:gd name="connsiteX291" fmla="*/ 2544901 w 3133725"/>
                  <a:gd name="connsiteY291" fmla="*/ 853540 h 1409700"/>
                  <a:gd name="connsiteX292" fmla="*/ 2542992 w 3133725"/>
                  <a:gd name="connsiteY292" fmla="*/ 856295 h 1409700"/>
                  <a:gd name="connsiteX293" fmla="*/ 2540736 w 3133725"/>
                  <a:gd name="connsiteY293" fmla="*/ 858833 h 1409700"/>
                  <a:gd name="connsiteX294" fmla="*/ 2536006 w 3133725"/>
                  <a:gd name="connsiteY294" fmla="*/ 863019 h 1409700"/>
                  <a:gd name="connsiteX295" fmla="*/ 2530410 w 3133725"/>
                  <a:gd name="connsiteY295" fmla="*/ 867249 h 1409700"/>
                  <a:gd name="connsiteX296" fmla="*/ 2523815 w 3133725"/>
                  <a:gd name="connsiteY296" fmla="*/ 871544 h 1409700"/>
                  <a:gd name="connsiteX297" fmla="*/ 2519867 w 3133725"/>
                  <a:gd name="connsiteY297" fmla="*/ 873823 h 1409700"/>
                  <a:gd name="connsiteX298" fmla="*/ 2511147 w 3133725"/>
                  <a:gd name="connsiteY298" fmla="*/ 878377 h 1409700"/>
                  <a:gd name="connsiteX299" fmla="*/ 2503121 w 3133725"/>
                  <a:gd name="connsiteY299" fmla="*/ 882152 h 1409700"/>
                  <a:gd name="connsiteX300" fmla="*/ 2491428 w 3133725"/>
                  <a:gd name="connsiteY300" fmla="*/ 887077 h 1409700"/>
                  <a:gd name="connsiteX301" fmla="*/ 2486093 w 3133725"/>
                  <a:gd name="connsiteY301" fmla="*/ 889028 h 1409700"/>
                  <a:gd name="connsiteX302" fmla="*/ 2481645 w 3133725"/>
                  <a:gd name="connsiteY302" fmla="*/ 890265 h 1409700"/>
                  <a:gd name="connsiteX303" fmla="*/ 2473034 w 3133725"/>
                  <a:gd name="connsiteY303" fmla="*/ 891892 h 1409700"/>
                  <a:gd name="connsiteX304" fmla="*/ 2468695 w 3133725"/>
                  <a:gd name="connsiteY304" fmla="*/ 892391 h 1409700"/>
                  <a:gd name="connsiteX305" fmla="*/ 2464312 w 3133725"/>
                  <a:gd name="connsiteY305" fmla="*/ 892521 h 1409700"/>
                  <a:gd name="connsiteX306" fmla="*/ 2458174 w 3133725"/>
                  <a:gd name="connsiteY306" fmla="*/ 892044 h 1409700"/>
                  <a:gd name="connsiteX307" fmla="*/ 2453923 w 3133725"/>
                  <a:gd name="connsiteY307" fmla="*/ 891285 h 1409700"/>
                  <a:gd name="connsiteX308" fmla="*/ 2442382 w 3133725"/>
                  <a:gd name="connsiteY308" fmla="*/ 888356 h 1409700"/>
                  <a:gd name="connsiteX309" fmla="*/ 2426937 w 3133725"/>
                  <a:gd name="connsiteY309" fmla="*/ 885319 h 1409700"/>
                  <a:gd name="connsiteX310" fmla="*/ 2418998 w 3133725"/>
                  <a:gd name="connsiteY310" fmla="*/ 883562 h 1409700"/>
                  <a:gd name="connsiteX311" fmla="*/ 2403857 w 3133725"/>
                  <a:gd name="connsiteY311" fmla="*/ 879896 h 1409700"/>
                  <a:gd name="connsiteX312" fmla="*/ 2398975 w 3133725"/>
                  <a:gd name="connsiteY312" fmla="*/ 878963 h 1409700"/>
                  <a:gd name="connsiteX313" fmla="*/ 2392186 w 3133725"/>
                  <a:gd name="connsiteY313" fmla="*/ 877900 h 1409700"/>
                  <a:gd name="connsiteX314" fmla="*/ 2382402 w 3133725"/>
                  <a:gd name="connsiteY314" fmla="*/ 876729 h 1409700"/>
                  <a:gd name="connsiteX315" fmla="*/ 2376285 w 3133725"/>
                  <a:gd name="connsiteY315" fmla="*/ 876360 h 1409700"/>
                  <a:gd name="connsiteX316" fmla="*/ 2370298 w 3133725"/>
                  <a:gd name="connsiteY316" fmla="*/ 876382 h 1409700"/>
                  <a:gd name="connsiteX317" fmla="*/ 2334267 w 3133725"/>
                  <a:gd name="connsiteY317" fmla="*/ 878920 h 1409700"/>
                  <a:gd name="connsiteX318" fmla="*/ 2325980 w 3133725"/>
                  <a:gd name="connsiteY318" fmla="*/ 879700 h 1409700"/>
                  <a:gd name="connsiteX319" fmla="*/ 2312857 w 3133725"/>
                  <a:gd name="connsiteY319" fmla="*/ 881436 h 1409700"/>
                  <a:gd name="connsiteX320" fmla="*/ 2296110 w 3133725"/>
                  <a:gd name="connsiteY320" fmla="*/ 884387 h 1409700"/>
                  <a:gd name="connsiteX321" fmla="*/ 2291446 w 3133725"/>
                  <a:gd name="connsiteY321" fmla="*/ 885514 h 1409700"/>
                  <a:gd name="connsiteX322" fmla="*/ 2287498 w 3133725"/>
                  <a:gd name="connsiteY322" fmla="*/ 886686 h 1409700"/>
                  <a:gd name="connsiteX323" fmla="*/ 2283724 w 3133725"/>
                  <a:gd name="connsiteY323" fmla="*/ 887987 h 1409700"/>
                  <a:gd name="connsiteX324" fmla="*/ 2277866 w 3133725"/>
                  <a:gd name="connsiteY324" fmla="*/ 890439 h 1409700"/>
                  <a:gd name="connsiteX325" fmla="*/ 2274786 w 3133725"/>
                  <a:gd name="connsiteY325" fmla="*/ 892022 h 1409700"/>
                  <a:gd name="connsiteX326" fmla="*/ 2271228 w 3133725"/>
                  <a:gd name="connsiteY326" fmla="*/ 894170 h 1409700"/>
                  <a:gd name="connsiteX327" fmla="*/ 2265241 w 3133725"/>
                  <a:gd name="connsiteY327" fmla="*/ 898986 h 1409700"/>
                  <a:gd name="connsiteX328" fmla="*/ 2259645 w 3133725"/>
                  <a:gd name="connsiteY328" fmla="*/ 895970 h 1409700"/>
                  <a:gd name="connsiteX329" fmla="*/ 2242335 w 3133725"/>
                  <a:gd name="connsiteY329" fmla="*/ 887900 h 1409700"/>
                  <a:gd name="connsiteX330" fmla="*/ 2237648 w 3133725"/>
                  <a:gd name="connsiteY330" fmla="*/ 885428 h 1409700"/>
                  <a:gd name="connsiteX331" fmla="*/ 2152571 w 3133725"/>
                  <a:gd name="connsiteY331" fmla="*/ 839874 h 1409700"/>
                  <a:gd name="connsiteX332" fmla="*/ 2150228 w 3133725"/>
                  <a:gd name="connsiteY332" fmla="*/ 838724 h 1409700"/>
                  <a:gd name="connsiteX333" fmla="*/ 2143937 w 3133725"/>
                  <a:gd name="connsiteY333" fmla="*/ 836381 h 1409700"/>
                  <a:gd name="connsiteX334" fmla="*/ 2098101 w 3133725"/>
                  <a:gd name="connsiteY334" fmla="*/ 811825 h 1409700"/>
                  <a:gd name="connsiteX335" fmla="*/ 1905406 w 3133725"/>
                  <a:gd name="connsiteY335" fmla="*/ 709329 h 1409700"/>
                  <a:gd name="connsiteX336" fmla="*/ 1749178 w 3133725"/>
                  <a:gd name="connsiteY336" fmla="*/ 625986 h 1409700"/>
                  <a:gd name="connsiteX337" fmla="*/ 1726617 w 3133725"/>
                  <a:gd name="connsiteY337" fmla="*/ 614163 h 1409700"/>
                  <a:gd name="connsiteX338" fmla="*/ 1713277 w 3133725"/>
                  <a:gd name="connsiteY338" fmla="*/ 608067 h 1409700"/>
                  <a:gd name="connsiteX339" fmla="*/ 1704275 w 3133725"/>
                  <a:gd name="connsiteY339" fmla="*/ 604445 h 1409700"/>
                  <a:gd name="connsiteX340" fmla="*/ 1698266 w 3133725"/>
                  <a:gd name="connsiteY340" fmla="*/ 602168 h 1409700"/>
                  <a:gd name="connsiteX341" fmla="*/ 1689827 w 3133725"/>
                  <a:gd name="connsiteY341" fmla="*/ 599282 h 1409700"/>
                  <a:gd name="connsiteX342" fmla="*/ 1683016 w 3133725"/>
                  <a:gd name="connsiteY342" fmla="*/ 597026 h 1409700"/>
                  <a:gd name="connsiteX343" fmla="*/ 1676487 w 3133725"/>
                  <a:gd name="connsiteY343" fmla="*/ 595095 h 1409700"/>
                  <a:gd name="connsiteX344" fmla="*/ 1661801 w 3133725"/>
                  <a:gd name="connsiteY344" fmla="*/ 591191 h 1409700"/>
                  <a:gd name="connsiteX345" fmla="*/ 1653124 w 3133725"/>
                  <a:gd name="connsiteY345" fmla="*/ 589217 h 1409700"/>
                  <a:gd name="connsiteX346" fmla="*/ 1637766 w 3133725"/>
                  <a:gd name="connsiteY346" fmla="*/ 586159 h 1409700"/>
                  <a:gd name="connsiteX347" fmla="*/ 1638438 w 3133725"/>
                  <a:gd name="connsiteY347" fmla="*/ 584987 h 1409700"/>
                  <a:gd name="connsiteX348" fmla="*/ 1633904 w 3133725"/>
                  <a:gd name="connsiteY348" fmla="*/ 584142 h 1409700"/>
                  <a:gd name="connsiteX349" fmla="*/ 1633275 w 3133725"/>
                  <a:gd name="connsiteY349" fmla="*/ 585378 h 1409700"/>
                  <a:gd name="connsiteX350" fmla="*/ 1620411 w 3133725"/>
                  <a:gd name="connsiteY350" fmla="*/ 583035 h 1409700"/>
                  <a:gd name="connsiteX351" fmla="*/ 1615488 w 3133725"/>
                  <a:gd name="connsiteY351" fmla="*/ 593166 h 1409700"/>
                  <a:gd name="connsiteX352" fmla="*/ 1614685 w 3133725"/>
                  <a:gd name="connsiteY352" fmla="*/ 593035 h 1409700"/>
                  <a:gd name="connsiteX353" fmla="*/ 1614338 w 3133725"/>
                  <a:gd name="connsiteY353" fmla="*/ 593686 h 1409700"/>
                  <a:gd name="connsiteX354" fmla="*/ 1618394 w 3133725"/>
                  <a:gd name="connsiteY354" fmla="*/ 594402 h 1409700"/>
                  <a:gd name="connsiteX355" fmla="*/ 1618850 w 3133725"/>
                  <a:gd name="connsiteY355" fmla="*/ 596116 h 1409700"/>
                  <a:gd name="connsiteX356" fmla="*/ 1612341 w 3133725"/>
                  <a:gd name="connsiteY356" fmla="*/ 599782 h 1409700"/>
                  <a:gd name="connsiteX357" fmla="*/ 1601799 w 3133725"/>
                  <a:gd name="connsiteY357" fmla="*/ 605009 h 1409700"/>
                  <a:gd name="connsiteX358" fmla="*/ 1592537 w 3133725"/>
                  <a:gd name="connsiteY358" fmla="*/ 608502 h 1409700"/>
                  <a:gd name="connsiteX359" fmla="*/ 1584098 w 3133725"/>
                  <a:gd name="connsiteY359" fmla="*/ 610996 h 1409700"/>
                  <a:gd name="connsiteX360" fmla="*/ 1560779 w 3133725"/>
                  <a:gd name="connsiteY360" fmla="*/ 620085 h 1409700"/>
                  <a:gd name="connsiteX361" fmla="*/ 1553794 w 3133725"/>
                  <a:gd name="connsiteY361" fmla="*/ 622559 h 1409700"/>
                  <a:gd name="connsiteX362" fmla="*/ 1550171 w 3133725"/>
                  <a:gd name="connsiteY362" fmla="*/ 623469 h 1409700"/>
                  <a:gd name="connsiteX363" fmla="*/ 1547937 w 3133725"/>
                  <a:gd name="connsiteY363" fmla="*/ 624490 h 1409700"/>
                  <a:gd name="connsiteX364" fmla="*/ 1547655 w 3133725"/>
                  <a:gd name="connsiteY364" fmla="*/ 625074 h 1409700"/>
                  <a:gd name="connsiteX365" fmla="*/ 1543685 w 3133725"/>
                  <a:gd name="connsiteY365" fmla="*/ 620259 h 1409700"/>
                  <a:gd name="connsiteX366" fmla="*/ 1538588 w 3133725"/>
                  <a:gd name="connsiteY366" fmla="*/ 613491 h 1409700"/>
                  <a:gd name="connsiteX367" fmla="*/ 1519802 w 3133725"/>
                  <a:gd name="connsiteY367" fmla="*/ 644338 h 1409700"/>
                  <a:gd name="connsiteX368" fmla="*/ 1467306 w 3133725"/>
                  <a:gd name="connsiteY368" fmla="*/ 707419 h 1409700"/>
                  <a:gd name="connsiteX369" fmla="*/ 1441926 w 3133725"/>
                  <a:gd name="connsiteY369" fmla="*/ 740283 h 1409700"/>
                  <a:gd name="connsiteX370" fmla="*/ 1421578 w 3133725"/>
                  <a:gd name="connsiteY370" fmla="*/ 760154 h 1409700"/>
                  <a:gd name="connsiteX371" fmla="*/ 1410776 w 3133725"/>
                  <a:gd name="connsiteY371" fmla="*/ 770739 h 1409700"/>
                  <a:gd name="connsiteX372" fmla="*/ 1409604 w 3133725"/>
                  <a:gd name="connsiteY372" fmla="*/ 775750 h 1409700"/>
                  <a:gd name="connsiteX373" fmla="*/ 1405721 w 3133725"/>
                  <a:gd name="connsiteY373" fmla="*/ 781998 h 1409700"/>
                  <a:gd name="connsiteX374" fmla="*/ 1370492 w 3133725"/>
                  <a:gd name="connsiteY374" fmla="*/ 816575 h 1409700"/>
                  <a:gd name="connsiteX375" fmla="*/ 1347260 w 3133725"/>
                  <a:gd name="connsiteY375" fmla="*/ 837943 h 1409700"/>
                  <a:gd name="connsiteX376" fmla="*/ 1337629 w 3133725"/>
                  <a:gd name="connsiteY376" fmla="*/ 848203 h 1409700"/>
                  <a:gd name="connsiteX377" fmla="*/ 1331316 w 3133725"/>
                  <a:gd name="connsiteY377" fmla="*/ 854494 h 1409700"/>
                  <a:gd name="connsiteX378" fmla="*/ 1304244 w 3133725"/>
                  <a:gd name="connsiteY378" fmla="*/ 881697 h 1409700"/>
                  <a:gd name="connsiteX379" fmla="*/ 1278603 w 3133725"/>
                  <a:gd name="connsiteY379" fmla="*/ 909289 h 1409700"/>
                  <a:gd name="connsiteX380" fmla="*/ 1261597 w 3133725"/>
                  <a:gd name="connsiteY380" fmla="*/ 924278 h 1409700"/>
                  <a:gd name="connsiteX381" fmla="*/ 1254590 w 3133725"/>
                  <a:gd name="connsiteY381" fmla="*/ 928856 h 1409700"/>
                  <a:gd name="connsiteX382" fmla="*/ 1246976 w 3133725"/>
                  <a:gd name="connsiteY382" fmla="*/ 933867 h 1409700"/>
                  <a:gd name="connsiteX383" fmla="*/ 1236347 w 3133725"/>
                  <a:gd name="connsiteY383" fmla="*/ 939485 h 1409700"/>
                  <a:gd name="connsiteX384" fmla="*/ 1207778 w 3133725"/>
                  <a:gd name="connsiteY384" fmla="*/ 952479 h 1409700"/>
                  <a:gd name="connsiteX385" fmla="*/ 1188991 w 3133725"/>
                  <a:gd name="connsiteY385" fmla="*/ 959898 h 1409700"/>
                  <a:gd name="connsiteX386" fmla="*/ 1192441 w 3133725"/>
                  <a:gd name="connsiteY386" fmla="*/ 964193 h 1409700"/>
                  <a:gd name="connsiteX387" fmla="*/ 1186237 w 3133725"/>
                  <a:gd name="connsiteY387" fmla="*/ 966168 h 1409700"/>
                  <a:gd name="connsiteX388" fmla="*/ 1185131 w 3133725"/>
                  <a:gd name="connsiteY388" fmla="*/ 966840 h 1409700"/>
                  <a:gd name="connsiteX389" fmla="*/ 1185564 w 3133725"/>
                  <a:gd name="connsiteY389" fmla="*/ 967490 h 1409700"/>
                  <a:gd name="connsiteX390" fmla="*/ 1166475 w 3133725"/>
                  <a:gd name="connsiteY390" fmla="*/ 972848 h 1409700"/>
                  <a:gd name="connsiteX391" fmla="*/ 1165932 w 3133725"/>
                  <a:gd name="connsiteY391" fmla="*/ 972848 h 1409700"/>
                  <a:gd name="connsiteX392" fmla="*/ 1159403 w 3133725"/>
                  <a:gd name="connsiteY392" fmla="*/ 975083 h 1409700"/>
                  <a:gd name="connsiteX393" fmla="*/ 1150076 w 3133725"/>
                  <a:gd name="connsiteY393" fmla="*/ 977512 h 1409700"/>
                  <a:gd name="connsiteX394" fmla="*/ 1130835 w 3133725"/>
                  <a:gd name="connsiteY394" fmla="*/ 982132 h 1409700"/>
                  <a:gd name="connsiteX395" fmla="*/ 1127689 w 3133725"/>
                  <a:gd name="connsiteY395" fmla="*/ 982458 h 1409700"/>
                  <a:gd name="connsiteX396" fmla="*/ 1125238 w 3133725"/>
                  <a:gd name="connsiteY396" fmla="*/ 983087 h 1409700"/>
                  <a:gd name="connsiteX397" fmla="*/ 1087862 w 3133725"/>
                  <a:gd name="connsiteY397" fmla="*/ 994150 h 1409700"/>
                  <a:gd name="connsiteX398" fmla="*/ 1069727 w 3133725"/>
                  <a:gd name="connsiteY398" fmla="*/ 999769 h 1409700"/>
                  <a:gd name="connsiteX399" fmla="*/ 1064976 w 3133725"/>
                  <a:gd name="connsiteY399" fmla="*/ 1001331 h 1409700"/>
                  <a:gd name="connsiteX400" fmla="*/ 1063804 w 3133725"/>
                  <a:gd name="connsiteY400" fmla="*/ 1001851 h 1409700"/>
                  <a:gd name="connsiteX401" fmla="*/ 1059769 w 3133725"/>
                  <a:gd name="connsiteY401" fmla="*/ 1003001 h 1409700"/>
                  <a:gd name="connsiteX402" fmla="*/ 1060832 w 3133725"/>
                  <a:gd name="connsiteY402" fmla="*/ 1003630 h 1409700"/>
                  <a:gd name="connsiteX403" fmla="*/ 1054152 w 3133725"/>
                  <a:gd name="connsiteY403" fmla="*/ 1004541 h 1409700"/>
                  <a:gd name="connsiteX404" fmla="*/ 1046211 w 3133725"/>
                  <a:gd name="connsiteY404" fmla="*/ 1006276 h 1409700"/>
                  <a:gd name="connsiteX405" fmla="*/ 1043630 w 3133725"/>
                  <a:gd name="connsiteY405" fmla="*/ 1006623 h 1409700"/>
                  <a:gd name="connsiteX406" fmla="*/ 1034737 w 3133725"/>
                  <a:gd name="connsiteY406" fmla="*/ 1007752 h 1409700"/>
                  <a:gd name="connsiteX407" fmla="*/ 1015886 w 3133725"/>
                  <a:gd name="connsiteY407" fmla="*/ 1010202 h 1409700"/>
                  <a:gd name="connsiteX408" fmla="*/ 1015539 w 3133725"/>
                  <a:gd name="connsiteY408" fmla="*/ 1029184 h 1409700"/>
                  <a:gd name="connsiteX409" fmla="*/ 986471 w 3133725"/>
                  <a:gd name="connsiteY409" fmla="*/ 1027644 h 1409700"/>
                  <a:gd name="connsiteX410" fmla="*/ 977642 w 3133725"/>
                  <a:gd name="connsiteY410" fmla="*/ 1027362 h 1409700"/>
                  <a:gd name="connsiteX411" fmla="*/ 971481 w 3133725"/>
                  <a:gd name="connsiteY411" fmla="*/ 1027557 h 1409700"/>
                  <a:gd name="connsiteX412" fmla="*/ 968292 w 3133725"/>
                  <a:gd name="connsiteY412" fmla="*/ 1027882 h 1409700"/>
                  <a:gd name="connsiteX413" fmla="*/ 965429 w 3133725"/>
                  <a:gd name="connsiteY413" fmla="*/ 1028425 h 1409700"/>
                  <a:gd name="connsiteX414" fmla="*/ 957381 w 3133725"/>
                  <a:gd name="connsiteY414" fmla="*/ 1030507 h 1409700"/>
                  <a:gd name="connsiteX415" fmla="*/ 952934 w 3133725"/>
                  <a:gd name="connsiteY415" fmla="*/ 1032134 h 1409700"/>
                  <a:gd name="connsiteX416" fmla="*/ 945993 w 3133725"/>
                  <a:gd name="connsiteY416" fmla="*/ 1034065 h 1409700"/>
                  <a:gd name="connsiteX417" fmla="*/ 942261 w 3133725"/>
                  <a:gd name="connsiteY417" fmla="*/ 1034477 h 1409700"/>
                  <a:gd name="connsiteX418" fmla="*/ 938357 w 3133725"/>
                  <a:gd name="connsiteY418" fmla="*/ 1035561 h 1409700"/>
                  <a:gd name="connsiteX419" fmla="*/ 933238 w 3133725"/>
                  <a:gd name="connsiteY419" fmla="*/ 1038728 h 1409700"/>
                  <a:gd name="connsiteX420" fmla="*/ 928747 w 3133725"/>
                  <a:gd name="connsiteY420" fmla="*/ 1040659 h 1409700"/>
                  <a:gd name="connsiteX421" fmla="*/ 920786 w 3133725"/>
                  <a:gd name="connsiteY421" fmla="*/ 1043544 h 1409700"/>
                  <a:gd name="connsiteX422" fmla="*/ 902890 w 3133725"/>
                  <a:gd name="connsiteY422" fmla="*/ 1049596 h 1409700"/>
                  <a:gd name="connsiteX423" fmla="*/ 883627 w 3133725"/>
                  <a:gd name="connsiteY423" fmla="*/ 1029574 h 1409700"/>
                  <a:gd name="connsiteX424" fmla="*/ 853171 w 3133725"/>
                  <a:gd name="connsiteY424" fmla="*/ 1029965 h 1409700"/>
                  <a:gd name="connsiteX425" fmla="*/ 728939 w 3133725"/>
                  <a:gd name="connsiteY425" fmla="*/ 1006992 h 1409700"/>
                  <a:gd name="connsiteX426" fmla="*/ 691541 w 3133725"/>
                  <a:gd name="connsiteY426" fmla="*/ 1019812 h 1409700"/>
                  <a:gd name="connsiteX427" fmla="*/ 695315 w 3133725"/>
                  <a:gd name="connsiteY427" fmla="*/ 1023891 h 1409700"/>
                  <a:gd name="connsiteX428" fmla="*/ 669935 w 3133725"/>
                  <a:gd name="connsiteY428" fmla="*/ 1032655 h 1409700"/>
                  <a:gd name="connsiteX429" fmla="*/ 663861 w 3133725"/>
                  <a:gd name="connsiteY429" fmla="*/ 1032416 h 1409700"/>
                  <a:gd name="connsiteX430" fmla="*/ 651865 w 3133725"/>
                  <a:gd name="connsiteY430" fmla="*/ 1032416 h 1409700"/>
                  <a:gd name="connsiteX431" fmla="*/ 648828 w 3133725"/>
                  <a:gd name="connsiteY431" fmla="*/ 1032394 h 1409700"/>
                  <a:gd name="connsiteX432" fmla="*/ 643730 w 3133725"/>
                  <a:gd name="connsiteY432" fmla="*/ 1031982 h 1409700"/>
                  <a:gd name="connsiteX433" fmla="*/ 626376 w 3133725"/>
                  <a:gd name="connsiteY433" fmla="*/ 1031135 h 1409700"/>
                  <a:gd name="connsiteX434" fmla="*/ 626441 w 3133725"/>
                  <a:gd name="connsiteY434" fmla="*/ 1034932 h 1409700"/>
                  <a:gd name="connsiteX435" fmla="*/ 626073 w 3133725"/>
                  <a:gd name="connsiteY435" fmla="*/ 1041700 h 1409700"/>
                  <a:gd name="connsiteX436" fmla="*/ 625530 w 3133725"/>
                  <a:gd name="connsiteY436" fmla="*/ 1044824 h 1409700"/>
                  <a:gd name="connsiteX437" fmla="*/ 624467 w 3133725"/>
                  <a:gd name="connsiteY437" fmla="*/ 1048750 h 1409700"/>
                  <a:gd name="connsiteX438" fmla="*/ 623447 w 3133725"/>
                  <a:gd name="connsiteY438" fmla="*/ 1051418 h 1409700"/>
                  <a:gd name="connsiteX439" fmla="*/ 620888 w 3133725"/>
                  <a:gd name="connsiteY439" fmla="*/ 1056864 h 1409700"/>
                  <a:gd name="connsiteX440" fmla="*/ 618611 w 3133725"/>
                  <a:gd name="connsiteY440" fmla="*/ 1060486 h 1409700"/>
                  <a:gd name="connsiteX441" fmla="*/ 616094 w 3133725"/>
                  <a:gd name="connsiteY441" fmla="*/ 1063740 h 1409700"/>
                  <a:gd name="connsiteX442" fmla="*/ 611582 w 3133725"/>
                  <a:gd name="connsiteY442" fmla="*/ 1068664 h 1409700"/>
                  <a:gd name="connsiteX443" fmla="*/ 605291 w 3133725"/>
                  <a:gd name="connsiteY443" fmla="*/ 1074152 h 1409700"/>
                  <a:gd name="connsiteX444" fmla="*/ 601364 w 3133725"/>
                  <a:gd name="connsiteY444" fmla="*/ 1076994 h 1409700"/>
                  <a:gd name="connsiteX445" fmla="*/ 597612 w 3133725"/>
                  <a:gd name="connsiteY445" fmla="*/ 1079424 h 1409700"/>
                  <a:gd name="connsiteX446" fmla="*/ 600020 w 3133725"/>
                  <a:gd name="connsiteY446" fmla="*/ 1082287 h 1409700"/>
                  <a:gd name="connsiteX447" fmla="*/ 581039 w 3133725"/>
                  <a:gd name="connsiteY447" fmla="*/ 1089293 h 1409700"/>
                  <a:gd name="connsiteX448" fmla="*/ 552665 w 3133725"/>
                  <a:gd name="connsiteY448" fmla="*/ 1098035 h 1409700"/>
                  <a:gd name="connsiteX449" fmla="*/ 535789 w 3133725"/>
                  <a:gd name="connsiteY449" fmla="*/ 1102201 h 1409700"/>
                  <a:gd name="connsiteX450" fmla="*/ 489995 w 3133725"/>
                  <a:gd name="connsiteY450" fmla="*/ 1115910 h 1409700"/>
                  <a:gd name="connsiteX451" fmla="*/ 477480 w 3133725"/>
                  <a:gd name="connsiteY451" fmla="*/ 1119598 h 1409700"/>
                  <a:gd name="connsiteX452" fmla="*/ 426892 w 3133725"/>
                  <a:gd name="connsiteY452" fmla="*/ 1132635 h 1409700"/>
                  <a:gd name="connsiteX453" fmla="*/ 418345 w 3133725"/>
                  <a:gd name="connsiteY453" fmla="*/ 1134501 h 1409700"/>
                  <a:gd name="connsiteX454" fmla="*/ 410493 w 3133725"/>
                  <a:gd name="connsiteY454" fmla="*/ 1135846 h 1409700"/>
                  <a:gd name="connsiteX455" fmla="*/ 401165 w 3133725"/>
                  <a:gd name="connsiteY455" fmla="*/ 1137082 h 1409700"/>
                  <a:gd name="connsiteX456" fmla="*/ 391360 w 3133725"/>
                  <a:gd name="connsiteY456" fmla="*/ 1138101 h 1409700"/>
                  <a:gd name="connsiteX457" fmla="*/ 398627 w 3133725"/>
                  <a:gd name="connsiteY457" fmla="*/ 1183916 h 1409700"/>
                  <a:gd name="connsiteX458" fmla="*/ 411968 w 3133725"/>
                  <a:gd name="connsiteY458" fmla="*/ 1267367 h 1409700"/>
                  <a:gd name="connsiteX459" fmla="*/ 373789 w 3133725"/>
                  <a:gd name="connsiteY459" fmla="*/ 1273766 h 1409700"/>
                  <a:gd name="connsiteX460" fmla="*/ 362205 w 3133725"/>
                  <a:gd name="connsiteY460" fmla="*/ 1274851 h 1409700"/>
                  <a:gd name="connsiteX461" fmla="*/ 355741 w 3133725"/>
                  <a:gd name="connsiteY461" fmla="*/ 1275827 h 1409700"/>
                  <a:gd name="connsiteX462" fmla="*/ 351641 w 3133725"/>
                  <a:gd name="connsiteY462" fmla="*/ 1277215 h 1409700"/>
                  <a:gd name="connsiteX463" fmla="*/ 348387 w 3133725"/>
                  <a:gd name="connsiteY463" fmla="*/ 1279037 h 1409700"/>
                  <a:gd name="connsiteX464" fmla="*/ 335025 w 3133725"/>
                  <a:gd name="connsiteY464" fmla="*/ 1288755 h 1409700"/>
                  <a:gd name="connsiteX465" fmla="*/ 344678 w 3133725"/>
                  <a:gd name="connsiteY465" fmla="*/ 1294352 h 1409700"/>
                  <a:gd name="connsiteX466" fmla="*/ 354375 w 3133725"/>
                  <a:gd name="connsiteY466" fmla="*/ 1300773 h 1409700"/>
                  <a:gd name="connsiteX467" fmla="*/ 357086 w 3133725"/>
                  <a:gd name="connsiteY467" fmla="*/ 1303225 h 1409700"/>
                  <a:gd name="connsiteX468" fmla="*/ 356479 w 3133725"/>
                  <a:gd name="connsiteY468" fmla="*/ 1304830 h 1409700"/>
                  <a:gd name="connsiteX469" fmla="*/ 348539 w 3133725"/>
                  <a:gd name="connsiteY469" fmla="*/ 1317065 h 1409700"/>
                  <a:gd name="connsiteX470" fmla="*/ 344266 w 3133725"/>
                  <a:gd name="connsiteY470" fmla="*/ 1323073 h 1409700"/>
                  <a:gd name="connsiteX471" fmla="*/ 343615 w 3133725"/>
                  <a:gd name="connsiteY471" fmla="*/ 1324591 h 1409700"/>
                  <a:gd name="connsiteX472" fmla="*/ 344548 w 3133725"/>
                  <a:gd name="connsiteY472" fmla="*/ 1325155 h 1409700"/>
                  <a:gd name="connsiteX473" fmla="*/ 354483 w 3133725"/>
                  <a:gd name="connsiteY473" fmla="*/ 1328518 h 1409700"/>
                  <a:gd name="connsiteX474" fmla="*/ 381728 w 3133725"/>
                  <a:gd name="connsiteY474" fmla="*/ 1338908 h 1409700"/>
                  <a:gd name="connsiteX475" fmla="*/ 382987 w 3133725"/>
                  <a:gd name="connsiteY475" fmla="*/ 1339667 h 1409700"/>
                  <a:gd name="connsiteX476" fmla="*/ 382835 w 3133725"/>
                  <a:gd name="connsiteY476" fmla="*/ 1340622 h 1409700"/>
                  <a:gd name="connsiteX477" fmla="*/ 383291 w 3133725"/>
                  <a:gd name="connsiteY477" fmla="*/ 1341490 h 1409700"/>
                  <a:gd name="connsiteX478" fmla="*/ 386240 w 3133725"/>
                  <a:gd name="connsiteY478" fmla="*/ 1343074 h 1409700"/>
                  <a:gd name="connsiteX479" fmla="*/ 420645 w 3133725"/>
                  <a:gd name="connsiteY479" fmla="*/ 1357260 h 1409700"/>
                  <a:gd name="connsiteX480" fmla="*/ 404484 w 3133725"/>
                  <a:gd name="connsiteY480" fmla="*/ 1375807 h 1409700"/>
                  <a:gd name="connsiteX481" fmla="*/ 400080 w 3133725"/>
                  <a:gd name="connsiteY481" fmla="*/ 1381578 h 1409700"/>
                  <a:gd name="connsiteX482" fmla="*/ 379321 w 3133725"/>
                  <a:gd name="connsiteY482" fmla="*/ 1404117 h 1409700"/>
                  <a:gd name="connsiteX483" fmla="*/ 351989 w 3133725"/>
                  <a:gd name="connsiteY483" fmla="*/ 1403704 h 1409700"/>
                  <a:gd name="connsiteX484" fmla="*/ 344048 w 3133725"/>
                  <a:gd name="connsiteY484" fmla="*/ 1403443 h 1409700"/>
                  <a:gd name="connsiteX485" fmla="*/ 339862 w 3133725"/>
                  <a:gd name="connsiteY485" fmla="*/ 1403617 h 1409700"/>
                  <a:gd name="connsiteX486" fmla="*/ 308994 w 3133725"/>
                  <a:gd name="connsiteY486" fmla="*/ 1404008 h 1409700"/>
                  <a:gd name="connsiteX487" fmla="*/ 307172 w 3133725"/>
                  <a:gd name="connsiteY487" fmla="*/ 1391643 h 1409700"/>
                  <a:gd name="connsiteX488" fmla="*/ 280924 w 3133725"/>
                  <a:gd name="connsiteY488" fmla="*/ 1376848 h 1409700"/>
                  <a:gd name="connsiteX489" fmla="*/ 230575 w 3133725"/>
                  <a:gd name="connsiteY489" fmla="*/ 1362966 h 1409700"/>
                  <a:gd name="connsiteX490" fmla="*/ 212853 w 3133725"/>
                  <a:gd name="connsiteY490" fmla="*/ 1357564 h 1409700"/>
                  <a:gd name="connsiteX491" fmla="*/ 199621 w 3133725"/>
                  <a:gd name="connsiteY491" fmla="*/ 1352140 h 1409700"/>
                  <a:gd name="connsiteX492" fmla="*/ 175304 w 3133725"/>
                  <a:gd name="connsiteY492" fmla="*/ 1341251 h 1409700"/>
                  <a:gd name="connsiteX493" fmla="*/ 165781 w 3133725"/>
                  <a:gd name="connsiteY493" fmla="*/ 1337390 h 1409700"/>
                  <a:gd name="connsiteX494" fmla="*/ 156258 w 3133725"/>
                  <a:gd name="connsiteY494" fmla="*/ 1334656 h 1409700"/>
                  <a:gd name="connsiteX495" fmla="*/ 145585 w 3133725"/>
                  <a:gd name="connsiteY495" fmla="*/ 1332965 h 1409700"/>
                  <a:gd name="connsiteX496" fmla="*/ 130877 w 3133725"/>
                  <a:gd name="connsiteY496" fmla="*/ 1332141 h 1409700"/>
                  <a:gd name="connsiteX497" fmla="*/ 115128 w 3133725"/>
                  <a:gd name="connsiteY497" fmla="*/ 1332466 h 1409700"/>
                  <a:gd name="connsiteX498" fmla="*/ 96690 w 3133725"/>
                  <a:gd name="connsiteY498" fmla="*/ 1332487 h 1409700"/>
                  <a:gd name="connsiteX499" fmla="*/ 73565 w 3133725"/>
                  <a:gd name="connsiteY499" fmla="*/ 1330448 h 1409700"/>
                  <a:gd name="connsiteX500" fmla="*/ 48945 w 3133725"/>
                  <a:gd name="connsiteY500" fmla="*/ 1324982 h 1409700"/>
                  <a:gd name="connsiteX501" fmla="*/ 32935 w 3133725"/>
                  <a:gd name="connsiteY501" fmla="*/ 1315763 h 1409700"/>
                  <a:gd name="connsiteX502" fmla="*/ 30420 w 3133725"/>
                  <a:gd name="connsiteY502" fmla="*/ 1313615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Lst>
                <a:rect l="l" t="t" r="r" b="b"/>
                <a:pathLst>
                  <a:path w="3133725" h="1409700">
                    <a:moveTo>
                      <a:pt x="30420" y="1313615"/>
                    </a:moveTo>
                    <a:lnTo>
                      <a:pt x="25777" y="1310730"/>
                    </a:lnTo>
                    <a:lnTo>
                      <a:pt x="21981" y="1307628"/>
                    </a:lnTo>
                    <a:lnTo>
                      <a:pt x="18662" y="1303940"/>
                    </a:lnTo>
                    <a:lnTo>
                      <a:pt x="12393" y="1294092"/>
                    </a:lnTo>
                    <a:lnTo>
                      <a:pt x="10376" y="1290318"/>
                    </a:lnTo>
                    <a:lnTo>
                      <a:pt x="7946" y="1283007"/>
                    </a:lnTo>
                    <a:lnTo>
                      <a:pt x="7144" y="1277714"/>
                    </a:lnTo>
                    <a:lnTo>
                      <a:pt x="7729" y="1275024"/>
                    </a:lnTo>
                    <a:lnTo>
                      <a:pt x="8922" y="1272030"/>
                    </a:lnTo>
                    <a:lnTo>
                      <a:pt x="20441" y="1253332"/>
                    </a:lnTo>
                    <a:lnTo>
                      <a:pt x="33543" y="1229514"/>
                    </a:lnTo>
                    <a:lnTo>
                      <a:pt x="35994" y="1224676"/>
                    </a:lnTo>
                    <a:lnTo>
                      <a:pt x="38619" y="1217583"/>
                    </a:lnTo>
                    <a:lnTo>
                      <a:pt x="42567" y="1208428"/>
                    </a:lnTo>
                    <a:lnTo>
                      <a:pt x="45648" y="1202203"/>
                    </a:lnTo>
                    <a:lnTo>
                      <a:pt x="48706" y="1197409"/>
                    </a:lnTo>
                    <a:lnTo>
                      <a:pt x="52632" y="1192116"/>
                    </a:lnTo>
                    <a:lnTo>
                      <a:pt x="63782" y="1180228"/>
                    </a:lnTo>
                    <a:lnTo>
                      <a:pt x="72763" y="1171573"/>
                    </a:lnTo>
                    <a:lnTo>
                      <a:pt x="83978" y="1158861"/>
                    </a:lnTo>
                    <a:lnTo>
                      <a:pt x="87080" y="1154154"/>
                    </a:lnTo>
                    <a:lnTo>
                      <a:pt x="89553" y="1149360"/>
                    </a:lnTo>
                    <a:lnTo>
                      <a:pt x="90616" y="1144978"/>
                    </a:lnTo>
                    <a:lnTo>
                      <a:pt x="90594" y="1139772"/>
                    </a:lnTo>
                    <a:lnTo>
                      <a:pt x="89227" y="1133915"/>
                    </a:lnTo>
                    <a:lnTo>
                      <a:pt x="86255" y="1125260"/>
                    </a:lnTo>
                    <a:lnTo>
                      <a:pt x="78012" y="1106777"/>
                    </a:lnTo>
                    <a:lnTo>
                      <a:pt x="77622" y="1104196"/>
                    </a:lnTo>
                    <a:lnTo>
                      <a:pt x="77730" y="1099879"/>
                    </a:lnTo>
                    <a:lnTo>
                      <a:pt x="78707" y="1095585"/>
                    </a:lnTo>
                    <a:lnTo>
                      <a:pt x="80746" y="1092157"/>
                    </a:lnTo>
                    <a:lnTo>
                      <a:pt x="83652" y="1088665"/>
                    </a:lnTo>
                    <a:lnTo>
                      <a:pt x="85496" y="1086777"/>
                    </a:lnTo>
                    <a:lnTo>
                      <a:pt x="88512" y="1084543"/>
                    </a:lnTo>
                    <a:lnTo>
                      <a:pt x="91614" y="1082655"/>
                    </a:lnTo>
                    <a:lnTo>
                      <a:pt x="95388" y="1080920"/>
                    </a:lnTo>
                    <a:lnTo>
                      <a:pt x="99163" y="1079510"/>
                    </a:lnTo>
                    <a:lnTo>
                      <a:pt x="102807" y="1078512"/>
                    </a:lnTo>
                    <a:lnTo>
                      <a:pt x="106928" y="1077493"/>
                    </a:lnTo>
                    <a:lnTo>
                      <a:pt x="115020" y="1075995"/>
                    </a:lnTo>
                    <a:lnTo>
                      <a:pt x="123675" y="1075041"/>
                    </a:lnTo>
                    <a:lnTo>
                      <a:pt x="135802" y="1074630"/>
                    </a:lnTo>
                    <a:lnTo>
                      <a:pt x="158318" y="1076170"/>
                    </a:lnTo>
                    <a:lnTo>
                      <a:pt x="164457" y="1076213"/>
                    </a:lnTo>
                    <a:lnTo>
                      <a:pt x="172483" y="1075888"/>
                    </a:lnTo>
                    <a:lnTo>
                      <a:pt x="187711" y="1074825"/>
                    </a:lnTo>
                    <a:lnTo>
                      <a:pt x="196171" y="1073696"/>
                    </a:lnTo>
                    <a:lnTo>
                      <a:pt x="203048" y="1071765"/>
                    </a:lnTo>
                    <a:lnTo>
                      <a:pt x="209317" y="1069055"/>
                    </a:lnTo>
                    <a:lnTo>
                      <a:pt x="214307" y="1065779"/>
                    </a:lnTo>
                    <a:lnTo>
                      <a:pt x="224654" y="1057406"/>
                    </a:lnTo>
                    <a:lnTo>
                      <a:pt x="231032" y="1051874"/>
                    </a:lnTo>
                    <a:lnTo>
                      <a:pt x="240923" y="1041917"/>
                    </a:lnTo>
                    <a:lnTo>
                      <a:pt x="248407" y="1033652"/>
                    </a:lnTo>
                    <a:lnTo>
                      <a:pt x="251401" y="1030637"/>
                    </a:lnTo>
                    <a:lnTo>
                      <a:pt x="254459" y="1026710"/>
                    </a:lnTo>
                    <a:lnTo>
                      <a:pt x="257192" y="1022069"/>
                    </a:lnTo>
                    <a:lnTo>
                      <a:pt x="258126" y="1019943"/>
                    </a:lnTo>
                    <a:lnTo>
                      <a:pt x="259448" y="1015582"/>
                    </a:lnTo>
                    <a:lnTo>
                      <a:pt x="260338" y="1010246"/>
                    </a:lnTo>
                    <a:lnTo>
                      <a:pt x="266650" y="984041"/>
                    </a:lnTo>
                    <a:lnTo>
                      <a:pt x="267669" y="981850"/>
                    </a:lnTo>
                    <a:lnTo>
                      <a:pt x="269232" y="979660"/>
                    </a:lnTo>
                    <a:lnTo>
                      <a:pt x="271401" y="977555"/>
                    </a:lnTo>
                    <a:lnTo>
                      <a:pt x="273028" y="976536"/>
                    </a:lnTo>
                    <a:lnTo>
                      <a:pt x="278755" y="973174"/>
                    </a:lnTo>
                    <a:lnTo>
                      <a:pt x="283397" y="970961"/>
                    </a:lnTo>
                    <a:lnTo>
                      <a:pt x="311641" y="960397"/>
                    </a:lnTo>
                    <a:lnTo>
                      <a:pt x="315046" y="958965"/>
                    </a:lnTo>
                    <a:lnTo>
                      <a:pt x="329146" y="953065"/>
                    </a:lnTo>
                    <a:lnTo>
                      <a:pt x="343094" y="949463"/>
                    </a:lnTo>
                    <a:lnTo>
                      <a:pt x="353073" y="947295"/>
                    </a:lnTo>
                    <a:lnTo>
                      <a:pt x="366610" y="944041"/>
                    </a:lnTo>
                    <a:lnTo>
                      <a:pt x="371295" y="942847"/>
                    </a:lnTo>
                    <a:lnTo>
                      <a:pt x="384527" y="938097"/>
                    </a:lnTo>
                    <a:lnTo>
                      <a:pt x="396871" y="931589"/>
                    </a:lnTo>
                    <a:lnTo>
                      <a:pt x="405721" y="926318"/>
                    </a:lnTo>
                    <a:lnTo>
                      <a:pt x="415352" y="919810"/>
                    </a:lnTo>
                    <a:lnTo>
                      <a:pt x="422511" y="911958"/>
                    </a:lnTo>
                    <a:lnTo>
                      <a:pt x="429127" y="903259"/>
                    </a:lnTo>
                    <a:lnTo>
                      <a:pt x="433183" y="897619"/>
                    </a:lnTo>
                    <a:lnTo>
                      <a:pt x="435374" y="891957"/>
                    </a:lnTo>
                    <a:lnTo>
                      <a:pt x="435808" y="885775"/>
                    </a:lnTo>
                    <a:lnTo>
                      <a:pt x="434853" y="879658"/>
                    </a:lnTo>
                    <a:lnTo>
                      <a:pt x="433097" y="875102"/>
                    </a:lnTo>
                    <a:lnTo>
                      <a:pt x="417347" y="855731"/>
                    </a:lnTo>
                    <a:lnTo>
                      <a:pt x="411252" y="848269"/>
                    </a:lnTo>
                    <a:lnTo>
                      <a:pt x="402271" y="830372"/>
                    </a:lnTo>
                    <a:lnTo>
                      <a:pt x="398866" y="820698"/>
                    </a:lnTo>
                    <a:lnTo>
                      <a:pt x="396827" y="810740"/>
                    </a:lnTo>
                    <a:lnTo>
                      <a:pt x="396176" y="807465"/>
                    </a:lnTo>
                    <a:lnTo>
                      <a:pt x="386327" y="773169"/>
                    </a:lnTo>
                    <a:lnTo>
                      <a:pt x="376024" y="756293"/>
                    </a:lnTo>
                    <a:lnTo>
                      <a:pt x="350686" y="714773"/>
                    </a:lnTo>
                    <a:lnTo>
                      <a:pt x="332986" y="685771"/>
                    </a:lnTo>
                    <a:lnTo>
                      <a:pt x="292073" y="641887"/>
                    </a:lnTo>
                    <a:lnTo>
                      <a:pt x="252789" y="598610"/>
                    </a:lnTo>
                    <a:lnTo>
                      <a:pt x="242007" y="581603"/>
                    </a:lnTo>
                    <a:lnTo>
                      <a:pt x="216757" y="525571"/>
                    </a:lnTo>
                    <a:lnTo>
                      <a:pt x="211161" y="515571"/>
                    </a:lnTo>
                    <a:lnTo>
                      <a:pt x="222658" y="512621"/>
                    </a:lnTo>
                    <a:lnTo>
                      <a:pt x="240272" y="509367"/>
                    </a:lnTo>
                    <a:lnTo>
                      <a:pt x="244524" y="508239"/>
                    </a:lnTo>
                    <a:lnTo>
                      <a:pt x="251770" y="505766"/>
                    </a:lnTo>
                    <a:lnTo>
                      <a:pt x="254741" y="504465"/>
                    </a:lnTo>
                    <a:lnTo>
                      <a:pt x="260815" y="501167"/>
                    </a:lnTo>
                    <a:lnTo>
                      <a:pt x="264741" y="498391"/>
                    </a:lnTo>
                    <a:lnTo>
                      <a:pt x="270728" y="493727"/>
                    </a:lnTo>
                    <a:lnTo>
                      <a:pt x="273548" y="491970"/>
                    </a:lnTo>
                    <a:lnTo>
                      <a:pt x="276498" y="490452"/>
                    </a:lnTo>
                    <a:lnTo>
                      <a:pt x="279514" y="489128"/>
                    </a:lnTo>
                    <a:lnTo>
                      <a:pt x="283635" y="487653"/>
                    </a:lnTo>
                    <a:lnTo>
                      <a:pt x="291163" y="485701"/>
                    </a:lnTo>
                    <a:lnTo>
                      <a:pt x="296087" y="484616"/>
                    </a:lnTo>
                    <a:lnTo>
                      <a:pt x="301836" y="484161"/>
                    </a:lnTo>
                    <a:lnTo>
                      <a:pt x="306716" y="484356"/>
                    </a:lnTo>
                    <a:lnTo>
                      <a:pt x="313854" y="485527"/>
                    </a:lnTo>
                    <a:lnTo>
                      <a:pt x="320274" y="485961"/>
                    </a:lnTo>
                    <a:lnTo>
                      <a:pt x="326739" y="485765"/>
                    </a:lnTo>
                    <a:lnTo>
                      <a:pt x="332899" y="485006"/>
                    </a:lnTo>
                    <a:lnTo>
                      <a:pt x="336174" y="484356"/>
                    </a:lnTo>
                    <a:lnTo>
                      <a:pt x="339862" y="483380"/>
                    </a:lnTo>
                    <a:lnTo>
                      <a:pt x="345763" y="481233"/>
                    </a:lnTo>
                    <a:lnTo>
                      <a:pt x="350513" y="478825"/>
                    </a:lnTo>
                    <a:lnTo>
                      <a:pt x="353355" y="476959"/>
                    </a:lnTo>
                    <a:lnTo>
                      <a:pt x="355937" y="474897"/>
                    </a:lnTo>
                    <a:lnTo>
                      <a:pt x="357498" y="473965"/>
                    </a:lnTo>
                    <a:lnTo>
                      <a:pt x="359928" y="472880"/>
                    </a:lnTo>
                    <a:lnTo>
                      <a:pt x="363139" y="471926"/>
                    </a:lnTo>
                    <a:lnTo>
                      <a:pt x="365871" y="471448"/>
                    </a:lnTo>
                    <a:lnTo>
                      <a:pt x="389170" y="469041"/>
                    </a:lnTo>
                    <a:lnTo>
                      <a:pt x="415135" y="466048"/>
                    </a:lnTo>
                    <a:lnTo>
                      <a:pt x="437782" y="459735"/>
                    </a:lnTo>
                    <a:lnTo>
                      <a:pt x="452750" y="455591"/>
                    </a:lnTo>
                    <a:lnTo>
                      <a:pt x="457306" y="454572"/>
                    </a:lnTo>
                    <a:lnTo>
                      <a:pt x="463379" y="453553"/>
                    </a:lnTo>
                    <a:lnTo>
                      <a:pt x="466850" y="453162"/>
                    </a:lnTo>
                    <a:lnTo>
                      <a:pt x="490061" y="452273"/>
                    </a:lnTo>
                    <a:lnTo>
                      <a:pt x="496048" y="452056"/>
                    </a:lnTo>
                    <a:lnTo>
                      <a:pt x="503271" y="451079"/>
                    </a:lnTo>
                    <a:lnTo>
                      <a:pt x="509909" y="449452"/>
                    </a:lnTo>
                    <a:lnTo>
                      <a:pt x="516048" y="447197"/>
                    </a:lnTo>
                    <a:lnTo>
                      <a:pt x="519671" y="445418"/>
                    </a:lnTo>
                    <a:lnTo>
                      <a:pt x="523532" y="443032"/>
                    </a:lnTo>
                    <a:lnTo>
                      <a:pt x="531190" y="436372"/>
                    </a:lnTo>
                    <a:lnTo>
                      <a:pt x="538587" y="430341"/>
                    </a:lnTo>
                    <a:lnTo>
                      <a:pt x="541884" y="428584"/>
                    </a:lnTo>
                    <a:lnTo>
                      <a:pt x="545962" y="427001"/>
                    </a:lnTo>
                    <a:lnTo>
                      <a:pt x="549347" y="426047"/>
                    </a:lnTo>
                    <a:lnTo>
                      <a:pt x="552860" y="425352"/>
                    </a:lnTo>
                    <a:lnTo>
                      <a:pt x="567763" y="424116"/>
                    </a:lnTo>
                    <a:lnTo>
                      <a:pt x="577894" y="422880"/>
                    </a:lnTo>
                    <a:lnTo>
                      <a:pt x="582731" y="422120"/>
                    </a:lnTo>
                    <a:lnTo>
                      <a:pt x="586679" y="421057"/>
                    </a:lnTo>
                    <a:lnTo>
                      <a:pt x="589455" y="419994"/>
                    </a:lnTo>
                    <a:lnTo>
                      <a:pt x="592103" y="418671"/>
                    </a:lnTo>
                    <a:lnTo>
                      <a:pt x="594684" y="416936"/>
                    </a:lnTo>
                    <a:lnTo>
                      <a:pt x="648177" y="384636"/>
                    </a:lnTo>
                    <a:lnTo>
                      <a:pt x="666030" y="375590"/>
                    </a:lnTo>
                    <a:lnTo>
                      <a:pt x="687462" y="362618"/>
                    </a:lnTo>
                    <a:lnTo>
                      <a:pt x="690065" y="361273"/>
                    </a:lnTo>
                    <a:lnTo>
                      <a:pt x="693341" y="359950"/>
                    </a:lnTo>
                    <a:lnTo>
                      <a:pt x="695879" y="359169"/>
                    </a:lnTo>
                    <a:lnTo>
                      <a:pt x="699306" y="358345"/>
                    </a:lnTo>
                    <a:lnTo>
                      <a:pt x="703667" y="357715"/>
                    </a:lnTo>
                    <a:lnTo>
                      <a:pt x="707636" y="357455"/>
                    </a:lnTo>
                    <a:lnTo>
                      <a:pt x="795838" y="355980"/>
                    </a:lnTo>
                    <a:lnTo>
                      <a:pt x="804579" y="341532"/>
                    </a:lnTo>
                    <a:lnTo>
                      <a:pt x="808940" y="334287"/>
                    </a:lnTo>
                    <a:lnTo>
                      <a:pt x="807595" y="333593"/>
                    </a:lnTo>
                    <a:lnTo>
                      <a:pt x="807227" y="333094"/>
                    </a:lnTo>
                    <a:lnTo>
                      <a:pt x="807313" y="332248"/>
                    </a:lnTo>
                    <a:lnTo>
                      <a:pt x="806836" y="332162"/>
                    </a:lnTo>
                    <a:lnTo>
                      <a:pt x="817465" y="314396"/>
                    </a:lnTo>
                    <a:lnTo>
                      <a:pt x="818876" y="311684"/>
                    </a:lnTo>
                    <a:lnTo>
                      <a:pt x="821175" y="306304"/>
                    </a:lnTo>
                    <a:lnTo>
                      <a:pt x="822867" y="301206"/>
                    </a:lnTo>
                    <a:lnTo>
                      <a:pt x="824363" y="294004"/>
                    </a:lnTo>
                    <a:lnTo>
                      <a:pt x="825426" y="283635"/>
                    </a:lnTo>
                    <a:lnTo>
                      <a:pt x="824753" y="280512"/>
                    </a:lnTo>
                    <a:lnTo>
                      <a:pt x="824407" y="273635"/>
                    </a:lnTo>
                    <a:lnTo>
                      <a:pt x="825925" y="272725"/>
                    </a:lnTo>
                    <a:lnTo>
                      <a:pt x="825253" y="269709"/>
                    </a:lnTo>
                    <a:lnTo>
                      <a:pt x="824645" y="267106"/>
                    </a:lnTo>
                    <a:lnTo>
                      <a:pt x="824342" y="267128"/>
                    </a:lnTo>
                    <a:lnTo>
                      <a:pt x="824233" y="266737"/>
                    </a:lnTo>
                    <a:lnTo>
                      <a:pt x="823257" y="266759"/>
                    </a:lnTo>
                    <a:lnTo>
                      <a:pt x="822541" y="266542"/>
                    </a:lnTo>
                    <a:lnTo>
                      <a:pt x="821804" y="265956"/>
                    </a:lnTo>
                    <a:lnTo>
                      <a:pt x="821478" y="261986"/>
                    </a:lnTo>
                    <a:lnTo>
                      <a:pt x="818441" y="253830"/>
                    </a:lnTo>
                    <a:lnTo>
                      <a:pt x="815795" y="248927"/>
                    </a:lnTo>
                    <a:lnTo>
                      <a:pt x="811868" y="244719"/>
                    </a:lnTo>
                    <a:lnTo>
                      <a:pt x="811760" y="244004"/>
                    </a:lnTo>
                    <a:lnTo>
                      <a:pt x="812021" y="243613"/>
                    </a:lnTo>
                    <a:lnTo>
                      <a:pt x="813408" y="242854"/>
                    </a:lnTo>
                    <a:lnTo>
                      <a:pt x="810415" y="238993"/>
                    </a:lnTo>
                    <a:lnTo>
                      <a:pt x="808723" y="239101"/>
                    </a:lnTo>
                    <a:lnTo>
                      <a:pt x="807378" y="238667"/>
                    </a:lnTo>
                    <a:lnTo>
                      <a:pt x="804255" y="234784"/>
                    </a:lnTo>
                    <a:lnTo>
                      <a:pt x="799374" y="230597"/>
                    </a:lnTo>
                    <a:lnTo>
                      <a:pt x="793430" y="226107"/>
                    </a:lnTo>
                    <a:lnTo>
                      <a:pt x="786987" y="221899"/>
                    </a:lnTo>
                    <a:lnTo>
                      <a:pt x="780501" y="218211"/>
                    </a:lnTo>
                    <a:lnTo>
                      <a:pt x="773364" y="214827"/>
                    </a:lnTo>
                    <a:lnTo>
                      <a:pt x="765577" y="211595"/>
                    </a:lnTo>
                    <a:lnTo>
                      <a:pt x="758288" y="208992"/>
                    </a:lnTo>
                    <a:lnTo>
                      <a:pt x="748461" y="206193"/>
                    </a:lnTo>
                    <a:lnTo>
                      <a:pt x="729980" y="201725"/>
                    </a:lnTo>
                    <a:lnTo>
                      <a:pt x="716031" y="197972"/>
                    </a:lnTo>
                    <a:lnTo>
                      <a:pt x="711475" y="196648"/>
                    </a:lnTo>
                    <a:lnTo>
                      <a:pt x="651497" y="177364"/>
                    </a:lnTo>
                    <a:lnTo>
                      <a:pt x="636854" y="172657"/>
                    </a:lnTo>
                    <a:lnTo>
                      <a:pt x="629370" y="170597"/>
                    </a:lnTo>
                    <a:lnTo>
                      <a:pt x="620779" y="168535"/>
                    </a:lnTo>
                    <a:lnTo>
                      <a:pt x="610389" y="166540"/>
                    </a:lnTo>
                    <a:lnTo>
                      <a:pt x="578002" y="161594"/>
                    </a:lnTo>
                    <a:lnTo>
                      <a:pt x="578458" y="160444"/>
                    </a:lnTo>
                    <a:lnTo>
                      <a:pt x="575117" y="159967"/>
                    </a:lnTo>
                    <a:lnTo>
                      <a:pt x="572535" y="159598"/>
                    </a:lnTo>
                    <a:lnTo>
                      <a:pt x="572275" y="159924"/>
                    </a:lnTo>
                    <a:lnTo>
                      <a:pt x="571863" y="159880"/>
                    </a:lnTo>
                    <a:lnTo>
                      <a:pt x="571581" y="160617"/>
                    </a:lnTo>
                    <a:lnTo>
                      <a:pt x="555377" y="158209"/>
                    </a:lnTo>
                    <a:lnTo>
                      <a:pt x="425439" y="137103"/>
                    </a:lnTo>
                    <a:lnTo>
                      <a:pt x="416892" y="135888"/>
                    </a:lnTo>
                    <a:lnTo>
                      <a:pt x="405915" y="134782"/>
                    </a:lnTo>
                    <a:lnTo>
                      <a:pt x="399213" y="134348"/>
                    </a:lnTo>
                    <a:lnTo>
                      <a:pt x="386783" y="134109"/>
                    </a:lnTo>
                    <a:lnTo>
                      <a:pt x="379733" y="134283"/>
                    </a:lnTo>
                    <a:lnTo>
                      <a:pt x="373768" y="134608"/>
                    </a:lnTo>
                    <a:lnTo>
                      <a:pt x="372944" y="134370"/>
                    </a:lnTo>
                    <a:lnTo>
                      <a:pt x="372748" y="133936"/>
                    </a:lnTo>
                    <a:lnTo>
                      <a:pt x="370536" y="134109"/>
                    </a:lnTo>
                    <a:lnTo>
                      <a:pt x="368909" y="127580"/>
                    </a:lnTo>
                    <a:lnTo>
                      <a:pt x="371772" y="127298"/>
                    </a:lnTo>
                    <a:lnTo>
                      <a:pt x="372835" y="125715"/>
                    </a:lnTo>
                    <a:lnTo>
                      <a:pt x="370622" y="117124"/>
                    </a:lnTo>
                    <a:lnTo>
                      <a:pt x="352704" y="115910"/>
                    </a:lnTo>
                    <a:lnTo>
                      <a:pt x="340448" y="66516"/>
                    </a:lnTo>
                    <a:lnTo>
                      <a:pt x="349364" y="66234"/>
                    </a:lnTo>
                    <a:lnTo>
                      <a:pt x="490321" y="52763"/>
                    </a:lnTo>
                    <a:lnTo>
                      <a:pt x="541429" y="47036"/>
                    </a:lnTo>
                    <a:lnTo>
                      <a:pt x="597786" y="40680"/>
                    </a:lnTo>
                    <a:lnTo>
                      <a:pt x="785013" y="18185"/>
                    </a:lnTo>
                    <a:lnTo>
                      <a:pt x="920982" y="12393"/>
                    </a:lnTo>
                    <a:lnTo>
                      <a:pt x="974692" y="10116"/>
                    </a:lnTo>
                    <a:lnTo>
                      <a:pt x="1047492" y="10180"/>
                    </a:lnTo>
                    <a:lnTo>
                      <a:pt x="1186281" y="10354"/>
                    </a:lnTo>
                    <a:lnTo>
                      <a:pt x="1247952" y="8857"/>
                    </a:lnTo>
                    <a:lnTo>
                      <a:pt x="1287519" y="7925"/>
                    </a:lnTo>
                    <a:lnTo>
                      <a:pt x="1340839" y="7144"/>
                    </a:lnTo>
                    <a:lnTo>
                      <a:pt x="1377738" y="10983"/>
                    </a:lnTo>
                    <a:lnTo>
                      <a:pt x="1404767" y="19161"/>
                    </a:lnTo>
                    <a:lnTo>
                      <a:pt x="1425440" y="28576"/>
                    </a:lnTo>
                    <a:lnTo>
                      <a:pt x="1446438" y="38099"/>
                    </a:lnTo>
                    <a:lnTo>
                      <a:pt x="1492903" y="69683"/>
                    </a:lnTo>
                    <a:lnTo>
                      <a:pt x="1555725" y="103046"/>
                    </a:lnTo>
                    <a:lnTo>
                      <a:pt x="1636225" y="145758"/>
                    </a:lnTo>
                    <a:lnTo>
                      <a:pt x="1717833" y="189165"/>
                    </a:lnTo>
                    <a:lnTo>
                      <a:pt x="1788983" y="226975"/>
                    </a:lnTo>
                    <a:lnTo>
                      <a:pt x="1840503" y="252637"/>
                    </a:lnTo>
                    <a:lnTo>
                      <a:pt x="1892066" y="273180"/>
                    </a:lnTo>
                    <a:lnTo>
                      <a:pt x="1937099" y="287453"/>
                    </a:lnTo>
                    <a:lnTo>
                      <a:pt x="1987925" y="300534"/>
                    </a:lnTo>
                    <a:lnTo>
                      <a:pt x="2042200" y="310491"/>
                    </a:lnTo>
                    <a:lnTo>
                      <a:pt x="2093480" y="316717"/>
                    </a:lnTo>
                    <a:lnTo>
                      <a:pt x="2146974" y="319624"/>
                    </a:lnTo>
                    <a:lnTo>
                      <a:pt x="2202962" y="319949"/>
                    </a:lnTo>
                    <a:lnTo>
                      <a:pt x="2252703" y="317150"/>
                    </a:lnTo>
                    <a:lnTo>
                      <a:pt x="2307303" y="312074"/>
                    </a:lnTo>
                    <a:lnTo>
                      <a:pt x="2593145" y="285327"/>
                    </a:lnTo>
                    <a:lnTo>
                      <a:pt x="3097342" y="164392"/>
                    </a:lnTo>
                    <a:lnTo>
                      <a:pt x="3103264" y="253201"/>
                    </a:lnTo>
                    <a:lnTo>
                      <a:pt x="3113243" y="416567"/>
                    </a:lnTo>
                    <a:lnTo>
                      <a:pt x="3115434" y="452468"/>
                    </a:lnTo>
                    <a:lnTo>
                      <a:pt x="3120814" y="525940"/>
                    </a:lnTo>
                    <a:lnTo>
                      <a:pt x="3121833" y="539585"/>
                    </a:lnTo>
                    <a:lnTo>
                      <a:pt x="3127191" y="616138"/>
                    </a:lnTo>
                    <a:lnTo>
                      <a:pt x="2727638" y="724014"/>
                    </a:lnTo>
                    <a:lnTo>
                      <a:pt x="2718506" y="726465"/>
                    </a:lnTo>
                    <a:lnTo>
                      <a:pt x="2624881" y="751781"/>
                    </a:lnTo>
                    <a:lnTo>
                      <a:pt x="2602993" y="776705"/>
                    </a:lnTo>
                    <a:lnTo>
                      <a:pt x="2558632" y="827314"/>
                    </a:lnTo>
                    <a:lnTo>
                      <a:pt x="2548567" y="838789"/>
                    </a:lnTo>
                    <a:lnTo>
                      <a:pt x="2548111" y="845969"/>
                    </a:lnTo>
                    <a:lnTo>
                      <a:pt x="2546832" y="848962"/>
                    </a:lnTo>
                    <a:lnTo>
                      <a:pt x="2546397" y="848854"/>
                    </a:lnTo>
                    <a:lnTo>
                      <a:pt x="2545009" y="851587"/>
                    </a:lnTo>
                    <a:lnTo>
                      <a:pt x="2545834" y="851739"/>
                    </a:lnTo>
                    <a:lnTo>
                      <a:pt x="2544901" y="853540"/>
                    </a:lnTo>
                    <a:lnTo>
                      <a:pt x="2542992" y="856295"/>
                    </a:lnTo>
                    <a:lnTo>
                      <a:pt x="2540736" y="858833"/>
                    </a:lnTo>
                    <a:lnTo>
                      <a:pt x="2536006" y="863019"/>
                    </a:lnTo>
                    <a:lnTo>
                      <a:pt x="2530410" y="867249"/>
                    </a:lnTo>
                    <a:lnTo>
                      <a:pt x="2523815" y="871544"/>
                    </a:lnTo>
                    <a:lnTo>
                      <a:pt x="2519867" y="873823"/>
                    </a:lnTo>
                    <a:lnTo>
                      <a:pt x="2511147" y="878377"/>
                    </a:lnTo>
                    <a:lnTo>
                      <a:pt x="2503121" y="882152"/>
                    </a:lnTo>
                    <a:lnTo>
                      <a:pt x="2491428" y="887077"/>
                    </a:lnTo>
                    <a:lnTo>
                      <a:pt x="2486093" y="889028"/>
                    </a:lnTo>
                    <a:lnTo>
                      <a:pt x="2481645" y="890265"/>
                    </a:lnTo>
                    <a:lnTo>
                      <a:pt x="2473034" y="891892"/>
                    </a:lnTo>
                    <a:lnTo>
                      <a:pt x="2468695" y="892391"/>
                    </a:lnTo>
                    <a:lnTo>
                      <a:pt x="2464312" y="892521"/>
                    </a:lnTo>
                    <a:lnTo>
                      <a:pt x="2458174" y="892044"/>
                    </a:lnTo>
                    <a:lnTo>
                      <a:pt x="2453923" y="891285"/>
                    </a:lnTo>
                    <a:lnTo>
                      <a:pt x="2442382" y="888356"/>
                    </a:lnTo>
                    <a:lnTo>
                      <a:pt x="2426937" y="885319"/>
                    </a:lnTo>
                    <a:lnTo>
                      <a:pt x="2418998" y="883562"/>
                    </a:lnTo>
                    <a:lnTo>
                      <a:pt x="2403857" y="879896"/>
                    </a:lnTo>
                    <a:lnTo>
                      <a:pt x="2398975" y="878963"/>
                    </a:lnTo>
                    <a:lnTo>
                      <a:pt x="2392186" y="877900"/>
                    </a:lnTo>
                    <a:lnTo>
                      <a:pt x="2382402" y="876729"/>
                    </a:lnTo>
                    <a:lnTo>
                      <a:pt x="2376285" y="876360"/>
                    </a:lnTo>
                    <a:lnTo>
                      <a:pt x="2370298" y="876382"/>
                    </a:lnTo>
                    <a:lnTo>
                      <a:pt x="2334267" y="878920"/>
                    </a:lnTo>
                    <a:lnTo>
                      <a:pt x="2325980" y="879700"/>
                    </a:lnTo>
                    <a:lnTo>
                      <a:pt x="2312857" y="881436"/>
                    </a:lnTo>
                    <a:lnTo>
                      <a:pt x="2296110" y="884387"/>
                    </a:lnTo>
                    <a:lnTo>
                      <a:pt x="2291446" y="885514"/>
                    </a:lnTo>
                    <a:lnTo>
                      <a:pt x="2287498" y="886686"/>
                    </a:lnTo>
                    <a:lnTo>
                      <a:pt x="2283724" y="887987"/>
                    </a:lnTo>
                    <a:lnTo>
                      <a:pt x="2277866" y="890439"/>
                    </a:lnTo>
                    <a:lnTo>
                      <a:pt x="2274786" y="892022"/>
                    </a:lnTo>
                    <a:lnTo>
                      <a:pt x="2271228" y="894170"/>
                    </a:lnTo>
                    <a:lnTo>
                      <a:pt x="2265241" y="898986"/>
                    </a:lnTo>
                    <a:lnTo>
                      <a:pt x="2259645" y="895970"/>
                    </a:lnTo>
                    <a:lnTo>
                      <a:pt x="2242335" y="887900"/>
                    </a:lnTo>
                    <a:lnTo>
                      <a:pt x="2237648" y="885428"/>
                    </a:lnTo>
                    <a:lnTo>
                      <a:pt x="2152571" y="839874"/>
                    </a:lnTo>
                    <a:lnTo>
                      <a:pt x="2150228" y="838724"/>
                    </a:lnTo>
                    <a:lnTo>
                      <a:pt x="2143937" y="836381"/>
                    </a:lnTo>
                    <a:lnTo>
                      <a:pt x="2098101" y="811825"/>
                    </a:lnTo>
                    <a:lnTo>
                      <a:pt x="1905406" y="709329"/>
                    </a:lnTo>
                    <a:lnTo>
                      <a:pt x="1749178" y="625986"/>
                    </a:lnTo>
                    <a:lnTo>
                      <a:pt x="1726617" y="614163"/>
                    </a:lnTo>
                    <a:lnTo>
                      <a:pt x="1713277" y="608067"/>
                    </a:lnTo>
                    <a:lnTo>
                      <a:pt x="1704275" y="604445"/>
                    </a:lnTo>
                    <a:lnTo>
                      <a:pt x="1698266" y="602168"/>
                    </a:lnTo>
                    <a:lnTo>
                      <a:pt x="1689827" y="599282"/>
                    </a:lnTo>
                    <a:lnTo>
                      <a:pt x="1683016" y="597026"/>
                    </a:lnTo>
                    <a:lnTo>
                      <a:pt x="1676487" y="595095"/>
                    </a:lnTo>
                    <a:lnTo>
                      <a:pt x="1661801" y="591191"/>
                    </a:lnTo>
                    <a:lnTo>
                      <a:pt x="1653124" y="589217"/>
                    </a:lnTo>
                    <a:lnTo>
                      <a:pt x="1637766" y="586159"/>
                    </a:lnTo>
                    <a:lnTo>
                      <a:pt x="1638438" y="584987"/>
                    </a:lnTo>
                    <a:lnTo>
                      <a:pt x="1633904" y="584142"/>
                    </a:lnTo>
                    <a:lnTo>
                      <a:pt x="1633275" y="585378"/>
                    </a:lnTo>
                    <a:lnTo>
                      <a:pt x="1620411" y="583035"/>
                    </a:lnTo>
                    <a:lnTo>
                      <a:pt x="1615488" y="593166"/>
                    </a:lnTo>
                    <a:lnTo>
                      <a:pt x="1614685" y="593035"/>
                    </a:lnTo>
                    <a:lnTo>
                      <a:pt x="1614338" y="593686"/>
                    </a:lnTo>
                    <a:lnTo>
                      <a:pt x="1618394" y="594402"/>
                    </a:lnTo>
                    <a:lnTo>
                      <a:pt x="1618850" y="596116"/>
                    </a:lnTo>
                    <a:lnTo>
                      <a:pt x="1612341" y="599782"/>
                    </a:lnTo>
                    <a:lnTo>
                      <a:pt x="1601799" y="605009"/>
                    </a:lnTo>
                    <a:lnTo>
                      <a:pt x="1592537" y="608502"/>
                    </a:lnTo>
                    <a:lnTo>
                      <a:pt x="1584098" y="610996"/>
                    </a:lnTo>
                    <a:lnTo>
                      <a:pt x="1560779" y="620085"/>
                    </a:lnTo>
                    <a:lnTo>
                      <a:pt x="1553794" y="622559"/>
                    </a:lnTo>
                    <a:lnTo>
                      <a:pt x="1550171" y="623469"/>
                    </a:lnTo>
                    <a:lnTo>
                      <a:pt x="1547937" y="624490"/>
                    </a:lnTo>
                    <a:lnTo>
                      <a:pt x="1547655" y="625074"/>
                    </a:lnTo>
                    <a:lnTo>
                      <a:pt x="1543685" y="620259"/>
                    </a:lnTo>
                    <a:lnTo>
                      <a:pt x="1538588" y="613491"/>
                    </a:lnTo>
                    <a:lnTo>
                      <a:pt x="1519802" y="644338"/>
                    </a:lnTo>
                    <a:lnTo>
                      <a:pt x="1467306" y="707419"/>
                    </a:lnTo>
                    <a:lnTo>
                      <a:pt x="1441926" y="740283"/>
                    </a:lnTo>
                    <a:lnTo>
                      <a:pt x="1421578" y="760154"/>
                    </a:lnTo>
                    <a:lnTo>
                      <a:pt x="1410776" y="770739"/>
                    </a:lnTo>
                    <a:lnTo>
                      <a:pt x="1409604" y="775750"/>
                    </a:lnTo>
                    <a:lnTo>
                      <a:pt x="1405721" y="781998"/>
                    </a:lnTo>
                    <a:lnTo>
                      <a:pt x="1370492" y="816575"/>
                    </a:lnTo>
                    <a:lnTo>
                      <a:pt x="1347260" y="837943"/>
                    </a:lnTo>
                    <a:lnTo>
                      <a:pt x="1337629" y="848203"/>
                    </a:lnTo>
                    <a:lnTo>
                      <a:pt x="1331316" y="854494"/>
                    </a:lnTo>
                    <a:lnTo>
                      <a:pt x="1304244" y="881697"/>
                    </a:lnTo>
                    <a:lnTo>
                      <a:pt x="1278603" y="909289"/>
                    </a:lnTo>
                    <a:lnTo>
                      <a:pt x="1261597" y="924278"/>
                    </a:lnTo>
                    <a:lnTo>
                      <a:pt x="1254590" y="928856"/>
                    </a:lnTo>
                    <a:lnTo>
                      <a:pt x="1246976" y="933867"/>
                    </a:lnTo>
                    <a:lnTo>
                      <a:pt x="1236347" y="939485"/>
                    </a:lnTo>
                    <a:lnTo>
                      <a:pt x="1207778" y="952479"/>
                    </a:lnTo>
                    <a:lnTo>
                      <a:pt x="1188991" y="959898"/>
                    </a:lnTo>
                    <a:lnTo>
                      <a:pt x="1192441" y="964193"/>
                    </a:lnTo>
                    <a:lnTo>
                      <a:pt x="1186237" y="966168"/>
                    </a:lnTo>
                    <a:lnTo>
                      <a:pt x="1185131" y="966840"/>
                    </a:lnTo>
                    <a:lnTo>
                      <a:pt x="1185564" y="967490"/>
                    </a:lnTo>
                    <a:lnTo>
                      <a:pt x="1166475" y="972848"/>
                    </a:lnTo>
                    <a:lnTo>
                      <a:pt x="1165932" y="972848"/>
                    </a:lnTo>
                    <a:lnTo>
                      <a:pt x="1159403" y="975083"/>
                    </a:lnTo>
                    <a:lnTo>
                      <a:pt x="1150076" y="977512"/>
                    </a:lnTo>
                    <a:lnTo>
                      <a:pt x="1130835" y="982132"/>
                    </a:lnTo>
                    <a:lnTo>
                      <a:pt x="1127689" y="982458"/>
                    </a:lnTo>
                    <a:lnTo>
                      <a:pt x="1125238" y="983087"/>
                    </a:lnTo>
                    <a:lnTo>
                      <a:pt x="1087862" y="994150"/>
                    </a:lnTo>
                    <a:lnTo>
                      <a:pt x="1069727" y="999769"/>
                    </a:lnTo>
                    <a:lnTo>
                      <a:pt x="1064976" y="1001331"/>
                    </a:lnTo>
                    <a:lnTo>
                      <a:pt x="1063804" y="1001851"/>
                    </a:lnTo>
                    <a:lnTo>
                      <a:pt x="1059769" y="1003001"/>
                    </a:lnTo>
                    <a:lnTo>
                      <a:pt x="1060832" y="1003630"/>
                    </a:lnTo>
                    <a:lnTo>
                      <a:pt x="1054152" y="1004541"/>
                    </a:lnTo>
                    <a:lnTo>
                      <a:pt x="1046211" y="1006276"/>
                    </a:lnTo>
                    <a:lnTo>
                      <a:pt x="1043630" y="1006623"/>
                    </a:lnTo>
                    <a:lnTo>
                      <a:pt x="1034737" y="1007752"/>
                    </a:lnTo>
                    <a:lnTo>
                      <a:pt x="1015886" y="1010202"/>
                    </a:lnTo>
                    <a:lnTo>
                      <a:pt x="1015539" y="1029184"/>
                    </a:lnTo>
                    <a:lnTo>
                      <a:pt x="986471" y="1027644"/>
                    </a:lnTo>
                    <a:lnTo>
                      <a:pt x="977642" y="1027362"/>
                    </a:lnTo>
                    <a:lnTo>
                      <a:pt x="971481" y="1027557"/>
                    </a:lnTo>
                    <a:lnTo>
                      <a:pt x="968292" y="1027882"/>
                    </a:lnTo>
                    <a:lnTo>
                      <a:pt x="965429" y="1028425"/>
                    </a:lnTo>
                    <a:lnTo>
                      <a:pt x="957381" y="1030507"/>
                    </a:lnTo>
                    <a:lnTo>
                      <a:pt x="952934" y="1032134"/>
                    </a:lnTo>
                    <a:lnTo>
                      <a:pt x="945993" y="1034065"/>
                    </a:lnTo>
                    <a:lnTo>
                      <a:pt x="942261" y="1034477"/>
                    </a:lnTo>
                    <a:lnTo>
                      <a:pt x="938357" y="1035561"/>
                    </a:lnTo>
                    <a:lnTo>
                      <a:pt x="933238" y="1038728"/>
                    </a:lnTo>
                    <a:lnTo>
                      <a:pt x="928747" y="1040659"/>
                    </a:lnTo>
                    <a:lnTo>
                      <a:pt x="920786" y="1043544"/>
                    </a:lnTo>
                    <a:lnTo>
                      <a:pt x="902890" y="1049596"/>
                    </a:lnTo>
                    <a:lnTo>
                      <a:pt x="883627" y="1029574"/>
                    </a:lnTo>
                    <a:lnTo>
                      <a:pt x="853171" y="1029965"/>
                    </a:lnTo>
                    <a:lnTo>
                      <a:pt x="728939" y="1006992"/>
                    </a:lnTo>
                    <a:lnTo>
                      <a:pt x="691541" y="1019812"/>
                    </a:lnTo>
                    <a:lnTo>
                      <a:pt x="695315" y="1023891"/>
                    </a:lnTo>
                    <a:lnTo>
                      <a:pt x="669935" y="1032655"/>
                    </a:lnTo>
                    <a:lnTo>
                      <a:pt x="663861" y="1032416"/>
                    </a:lnTo>
                    <a:lnTo>
                      <a:pt x="651865" y="1032416"/>
                    </a:lnTo>
                    <a:lnTo>
                      <a:pt x="648828" y="1032394"/>
                    </a:lnTo>
                    <a:lnTo>
                      <a:pt x="643730" y="1031982"/>
                    </a:lnTo>
                    <a:lnTo>
                      <a:pt x="626376" y="1031135"/>
                    </a:lnTo>
                    <a:lnTo>
                      <a:pt x="626441" y="1034932"/>
                    </a:lnTo>
                    <a:lnTo>
                      <a:pt x="626073" y="1041700"/>
                    </a:lnTo>
                    <a:lnTo>
                      <a:pt x="625530" y="1044824"/>
                    </a:lnTo>
                    <a:lnTo>
                      <a:pt x="624467" y="1048750"/>
                    </a:lnTo>
                    <a:lnTo>
                      <a:pt x="623447" y="1051418"/>
                    </a:lnTo>
                    <a:lnTo>
                      <a:pt x="620888" y="1056864"/>
                    </a:lnTo>
                    <a:lnTo>
                      <a:pt x="618611" y="1060486"/>
                    </a:lnTo>
                    <a:lnTo>
                      <a:pt x="616094" y="1063740"/>
                    </a:lnTo>
                    <a:lnTo>
                      <a:pt x="611582" y="1068664"/>
                    </a:lnTo>
                    <a:lnTo>
                      <a:pt x="605291" y="1074152"/>
                    </a:lnTo>
                    <a:lnTo>
                      <a:pt x="601364" y="1076994"/>
                    </a:lnTo>
                    <a:lnTo>
                      <a:pt x="597612" y="1079424"/>
                    </a:lnTo>
                    <a:lnTo>
                      <a:pt x="600020" y="1082287"/>
                    </a:lnTo>
                    <a:lnTo>
                      <a:pt x="581039" y="1089293"/>
                    </a:lnTo>
                    <a:lnTo>
                      <a:pt x="552665" y="1098035"/>
                    </a:lnTo>
                    <a:lnTo>
                      <a:pt x="535789" y="1102201"/>
                    </a:lnTo>
                    <a:lnTo>
                      <a:pt x="489995" y="1115910"/>
                    </a:lnTo>
                    <a:lnTo>
                      <a:pt x="477480" y="1119598"/>
                    </a:lnTo>
                    <a:lnTo>
                      <a:pt x="426892" y="1132635"/>
                    </a:lnTo>
                    <a:lnTo>
                      <a:pt x="418345" y="1134501"/>
                    </a:lnTo>
                    <a:lnTo>
                      <a:pt x="410493" y="1135846"/>
                    </a:lnTo>
                    <a:lnTo>
                      <a:pt x="401165" y="1137082"/>
                    </a:lnTo>
                    <a:lnTo>
                      <a:pt x="391360" y="1138101"/>
                    </a:lnTo>
                    <a:lnTo>
                      <a:pt x="398627" y="1183916"/>
                    </a:lnTo>
                    <a:lnTo>
                      <a:pt x="411968" y="1267367"/>
                    </a:lnTo>
                    <a:lnTo>
                      <a:pt x="373789" y="1273766"/>
                    </a:lnTo>
                    <a:lnTo>
                      <a:pt x="362205" y="1274851"/>
                    </a:lnTo>
                    <a:lnTo>
                      <a:pt x="355741" y="1275827"/>
                    </a:lnTo>
                    <a:lnTo>
                      <a:pt x="351641" y="1277215"/>
                    </a:lnTo>
                    <a:lnTo>
                      <a:pt x="348387" y="1279037"/>
                    </a:lnTo>
                    <a:lnTo>
                      <a:pt x="335025" y="1288755"/>
                    </a:lnTo>
                    <a:lnTo>
                      <a:pt x="344678" y="1294352"/>
                    </a:lnTo>
                    <a:lnTo>
                      <a:pt x="354375" y="1300773"/>
                    </a:lnTo>
                    <a:lnTo>
                      <a:pt x="357086" y="1303225"/>
                    </a:lnTo>
                    <a:lnTo>
                      <a:pt x="356479" y="1304830"/>
                    </a:lnTo>
                    <a:lnTo>
                      <a:pt x="348539" y="1317065"/>
                    </a:lnTo>
                    <a:lnTo>
                      <a:pt x="344266" y="1323073"/>
                    </a:lnTo>
                    <a:lnTo>
                      <a:pt x="343615" y="1324591"/>
                    </a:lnTo>
                    <a:lnTo>
                      <a:pt x="344548" y="1325155"/>
                    </a:lnTo>
                    <a:lnTo>
                      <a:pt x="354483" y="1328518"/>
                    </a:lnTo>
                    <a:lnTo>
                      <a:pt x="381728" y="1338908"/>
                    </a:lnTo>
                    <a:lnTo>
                      <a:pt x="382987" y="1339667"/>
                    </a:lnTo>
                    <a:lnTo>
                      <a:pt x="382835" y="1340622"/>
                    </a:lnTo>
                    <a:lnTo>
                      <a:pt x="383291" y="1341490"/>
                    </a:lnTo>
                    <a:lnTo>
                      <a:pt x="386240" y="1343074"/>
                    </a:lnTo>
                    <a:lnTo>
                      <a:pt x="420645" y="1357260"/>
                    </a:lnTo>
                    <a:lnTo>
                      <a:pt x="404484" y="1375807"/>
                    </a:lnTo>
                    <a:lnTo>
                      <a:pt x="400080" y="1381578"/>
                    </a:lnTo>
                    <a:lnTo>
                      <a:pt x="379321" y="1404117"/>
                    </a:lnTo>
                    <a:lnTo>
                      <a:pt x="351989" y="1403704"/>
                    </a:lnTo>
                    <a:lnTo>
                      <a:pt x="344048" y="1403443"/>
                    </a:lnTo>
                    <a:lnTo>
                      <a:pt x="339862" y="1403617"/>
                    </a:lnTo>
                    <a:lnTo>
                      <a:pt x="308994" y="1404008"/>
                    </a:lnTo>
                    <a:lnTo>
                      <a:pt x="307172" y="1391643"/>
                    </a:lnTo>
                    <a:lnTo>
                      <a:pt x="280924" y="1376848"/>
                    </a:lnTo>
                    <a:lnTo>
                      <a:pt x="230575" y="1362966"/>
                    </a:lnTo>
                    <a:lnTo>
                      <a:pt x="212853" y="1357564"/>
                    </a:lnTo>
                    <a:lnTo>
                      <a:pt x="199621" y="1352140"/>
                    </a:lnTo>
                    <a:lnTo>
                      <a:pt x="175304" y="1341251"/>
                    </a:lnTo>
                    <a:lnTo>
                      <a:pt x="165781" y="1337390"/>
                    </a:lnTo>
                    <a:lnTo>
                      <a:pt x="156258" y="1334656"/>
                    </a:lnTo>
                    <a:lnTo>
                      <a:pt x="145585" y="1332965"/>
                    </a:lnTo>
                    <a:lnTo>
                      <a:pt x="130877" y="1332141"/>
                    </a:lnTo>
                    <a:lnTo>
                      <a:pt x="115128" y="1332466"/>
                    </a:lnTo>
                    <a:lnTo>
                      <a:pt x="96690" y="1332487"/>
                    </a:lnTo>
                    <a:lnTo>
                      <a:pt x="73565" y="1330448"/>
                    </a:lnTo>
                    <a:lnTo>
                      <a:pt x="48945" y="1324982"/>
                    </a:lnTo>
                    <a:lnTo>
                      <a:pt x="32935" y="1315763"/>
                    </a:lnTo>
                    <a:lnTo>
                      <a:pt x="30420" y="1313615"/>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95" name="Freeform: Shape 94">
                <a:extLst>
                  <a:ext uri="{FF2B5EF4-FFF2-40B4-BE49-F238E27FC236}">
                    <a16:creationId xmlns:a16="http://schemas.microsoft.com/office/drawing/2014/main" id="{033D5D3A-CEC5-4646-80D5-0D278D03B056}"/>
                  </a:ext>
                </a:extLst>
              </p:cNvPr>
              <p:cNvSpPr/>
              <p:nvPr/>
            </p:nvSpPr>
            <p:spPr>
              <a:xfrm>
                <a:off x="5612072" y="3731847"/>
                <a:ext cx="1379742" cy="580610"/>
              </a:xfrm>
              <a:custGeom>
                <a:avLst/>
                <a:gdLst>
                  <a:gd name="connsiteX0" fmla="*/ 3954412 w 4857750"/>
                  <a:gd name="connsiteY0" fmla="*/ 1206238 h 1362075"/>
                  <a:gd name="connsiteX1" fmla="*/ 3450215 w 4857750"/>
                  <a:gd name="connsiteY1" fmla="*/ 1327173 h 1362075"/>
                  <a:gd name="connsiteX2" fmla="*/ 3164373 w 4857750"/>
                  <a:gd name="connsiteY2" fmla="*/ 1353920 h 1362075"/>
                  <a:gd name="connsiteX3" fmla="*/ 3109773 w 4857750"/>
                  <a:gd name="connsiteY3" fmla="*/ 1358996 h 1362075"/>
                  <a:gd name="connsiteX4" fmla="*/ 3060031 w 4857750"/>
                  <a:gd name="connsiteY4" fmla="*/ 1361794 h 1362075"/>
                  <a:gd name="connsiteX5" fmla="*/ 3004044 w 4857750"/>
                  <a:gd name="connsiteY5" fmla="*/ 1361469 h 1362075"/>
                  <a:gd name="connsiteX6" fmla="*/ 2950550 w 4857750"/>
                  <a:gd name="connsiteY6" fmla="*/ 1358562 h 1362075"/>
                  <a:gd name="connsiteX7" fmla="*/ 2899269 w 4857750"/>
                  <a:gd name="connsiteY7" fmla="*/ 1352337 h 1362075"/>
                  <a:gd name="connsiteX8" fmla="*/ 2844994 w 4857750"/>
                  <a:gd name="connsiteY8" fmla="*/ 1342379 h 1362075"/>
                  <a:gd name="connsiteX9" fmla="*/ 2794169 w 4857750"/>
                  <a:gd name="connsiteY9" fmla="*/ 1329299 h 1362075"/>
                  <a:gd name="connsiteX10" fmla="*/ 2749135 w 4857750"/>
                  <a:gd name="connsiteY10" fmla="*/ 1315025 h 1362075"/>
                  <a:gd name="connsiteX11" fmla="*/ 2697573 w 4857750"/>
                  <a:gd name="connsiteY11" fmla="*/ 1294483 h 1362075"/>
                  <a:gd name="connsiteX12" fmla="*/ 2646053 w 4857750"/>
                  <a:gd name="connsiteY12" fmla="*/ 1268820 h 1362075"/>
                  <a:gd name="connsiteX13" fmla="*/ 2574902 w 4857750"/>
                  <a:gd name="connsiteY13" fmla="*/ 1231010 h 1362075"/>
                  <a:gd name="connsiteX14" fmla="*/ 2493294 w 4857750"/>
                  <a:gd name="connsiteY14" fmla="*/ 1187604 h 1362075"/>
                  <a:gd name="connsiteX15" fmla="*/ 2412794 w 4857750"/>
                  <a:gd name="connsiteY15" fmla="*/ 1144892 h 1362075"/>
                  <a:gd name="connsiteX16" fmla="*/ 2349972 w 4857750"/>
                  <a:gd name="connsiteY16" fmla="*/ 1111528 h 1362075"/>
                  <a:gd name="connsiteX17" fmla="*/ 2303507 w 4857750"/>
                  <a:gd name="connsiteY17" fmla="*/ 1079945 h 1362075"/>
                  <a:gd name="connsiteX18" fmla="*/ 2282509 w 4857750"/>
                  <a:gd name="connsiteY18" fmla="*/ 1070421 h 1362075"/>
                  <a:gd name="connsiteX19" fmla="*/ 2261836 w 4857750"/>
                  <a:gd name="connsiteY19" fmla="*/ 1061007 h 1362075"/>
                  <a:gd name="connsiteX20" fmla="*/ 2234807 w 4857750"/>
                  <a:gd name="connsiteY20" fmla="*/ 1052829 h 1362075"/>
                  <a:gd name="connsiteX21" fmla="*/ 2197908 w 4857750"/>
                  <a:gd name="connsiteY21" fmla="*/ 1048989 h 1362075"/>
                  <a:gd name="connsiteX22" fmla="*/ 2144588 w 4857750"/>
                  <a:gd name="connsiteY22" fmla="*/ 1049770 h 1362075"/>
                  <a:gd name="connsiteX23" fmla="*/ 2105021 w 4857750"/>
                  <a:gd name="connsiteY23" fmla="*/ 1050703 h 1362075"/>
                  <a:gd name="connsiteX24" fmla="*/ 2043350 w 4857750"/>
                  <a:gd name="connsiteY24" fmla="*/ 1052199 h 1362075"/>
                  <a:gd name="connsiteX25" fmla="*/ 1904561 w 4857750"/>
                  <a:gd name="connsiteY25" fmla="*/ 1052026 h 1362075"/>
                  <a:gd name="connsiteX26" fmla="*/ 1831762 w 4857750"/>
                  <a:gd name="connsiteY26" fmla="*/ 1051961 h 1362075"/>
                  <a:gd name="connsiteX27" fmla="*/ 1778051 w 4857750"/>
                  <a:gd name="connsiteY27" fmla="*/ 1054239 h 1362075"/>
                  <a:gd name="connsiteX28" fmla="*/ 1642082 w 4857750"/>
                  <a:gd name="connsiteY28" fmla="*/ 1060031 h 1362075"/>
                  <a:gd name="connsiteX29" fmla="*/ 1454855 w 4857750"/>
                  <a:gd name="connsiteY29" fmla="*/ 1082526 h 1362075"/>
                  <a:gd name="connsiteX30" fmla="*/ 1398498 w 4857750"/>
                  <a:gd name="connsiteY30" fmla="*/ 1088882 h 1362075"/>
                  <a:gd name="connsiteX31" fmla="*/ 1347390 w 4857750"/>
                  <a:gd name="connsiteY31" fmla="*/ 1094608 h 1362075"/>
                  <a:gd name="connsiteX32" fmla="*/ 1206433 w 4857750"/>
                  <a:gd name="connsiteY32" fmla="*/ 1108079 h 1362075"/>
                  <a:gd name="connsiteX33" fmla="*/ 1197517 w 4857750"/>
                  <a:gd name="connsiteY33" fmla="*/ 1108361 h 1362075"/>
                  <a:gd name="connsiteX34" fmla="*/ 1156107 w 4857750"/>
                  <a:gd name="connsiteY34" fmla="*/ 1109598 h 1362075"/>
                  <a:gd name="connsiteX35" fmla="*/ 1133069 w 4857750"/>
                  <a:gd name="connsiteY35" fmla="*/ 1108990 h 1362075"/>
                  <a:gd name="connsiteX36" fmla="*/ 1109403 w 4857750"/>
                  <a:gd name="connsiteY36" fmla="*/ 1106062 h 1362075"/>
                  <a:gd name="connsiteX37" fmla="*/ 1106755 w 4857750"/>
                  <a:gd name="connsiteY37" fmla="*/ 1105606 h 1362075"/>
                  <a:gd name="connsiteX38" fmla="*/ 1098014 w 4857750"/>
                  <a:gd name="connsiteY38" fmla="*/ 1104174 h 1362075"/>
                  <a:gd name="connsiteX39" fmla="*/ 1086495 w 4857750"/>
                  <a:gd name="connsiteY39" fmla="*/ 1102048 h 1362075"/>
                  <a:gd name="connsiteX40" fmla="*/ 1061289 w 4857750"/>
                  <a:gd name="connsiteY40" fmla="*/ 1096430 h 1362075"/>
                  <a:gd name="connsiteX41" fmla="*/ 1038533 w 4857750"/>
                  <a:gd name="connsiteY41" fmla="*/ 1089684 h 1362075"/>
                  <a:gd name="connsiteX42" fmla="*/ 1016818 w 4857750"/>
                  <a:gd name="connsiteY42" fmla="*/ 1082005 h 1362075"/>
                  <a:gd name="connsiteX43" fmla="*/ 1013196 w 4857750"/>
                  <a:gd name="connsiteY43" fmla="*/ 1080529 h 1362075"/>
                  <a:gd name="connsiteX44" fmla="*/ 993413 w 4857750"/>
                  <a:gd name="connsiteY44" fmla="*/ 1072590 h 1362075"/>
                  <a:gd name="connsiteX45" fmla="*/ 975711 w 4857750"/>
                  <a:gd name="connsiteY45" fmla="*/ 1063544 h 1362075"/>
                  <a:gd name="connsiteX46" fmla="*/ 969031 w 4857750"/>
                  <a:gd name="connsiteY46" fmla="*/ 1059749 h 1362075"/>
                  <a:gd name="connsiteX47" fmla="*/ 956427 w 4857750"/>
                  <a:gd name="connsiteY47" fmla="*/ 1052568 h 1362075"/>
                  <a:gd name="connsiteX48" fmla="*/ 941091 w 4857750"/>
                  <a:gd name="connsiteY48" fmla="*/ 1042047 h 1362075"/>
                  <a:gd name="connsiteX49" fmla="*/ 938748 w 4857750"/>
                  <a:gd name="connsiteY49" fmla="*/ 1040442 h 1362075"/>
                  <a:gd name="connsiteX50" fmla="*/ 922500 w 4857750"/>
                  <a:gd name="connsiteY50" fmla="*/ 1026754 h 1362075"/>
                  <a:gd name="connsiteX51" fmla="*/ 909397 w 4857750"/>
                  <a:gd name="connsiteY51" fmla="*/ 1013847 h 1362075"/>
                  <a:gd name="connsiteX52" fmla="*/ 897532 w 4857750"/>
                  <a:gd name="connsiteY52" fmla="*/ 1000485 h 1362075"/>
                  <a:gd name="connsiteX53" fmla="*/ 886317 w 4857750"/>
                  <a:gd name="connsiteY53" fmla="*/ 983955 h 1362075"/>
                  <a:gd name="connsiteX54" fmla="*/ 878313 w 4857750"/>
                  <a:gd name="connsiteY54" fmla="*/ 968489 h 1362075"/>
                  <a:gd name="connsiteX55" fmla="*/ 873605 w 4857750"/>
                  <a:gd name="connsiteY55" fmla="*/ 956319 h 1362075"/>
                  <a:gd name="connsiteX56" fmla="*/ 861089 w 4857750"/>
                  <a:gd name="connsiteY56" fmla="*/ 917945 h 1362075"/>
                  <a:gd name="connsiteX57" fmla="*/ 852217 w 4857750"/>
                  <a:gd name="connsiteY57" fmla="*/ 890851 h 1362075"/>
                  <a:gd name="connsiteX58" fmla="*/ 837270 w 4857750"/>
                  <a:gd name="connsiteY58" fmla="*/ 845036 h 1362075"/>
                  <a:gd name="connsiteX59" fmla="*/ 830199 w 4857750"/>
                  <a:gd name="connsiteY59" fmla="*/ 828290 h 1362075"/>
                  <a:gd name="connsiteX60" fmla="*/ 820546 w 4857750"/>
                  <a:gd name="connsiteY60" fmla="*/ 812238 h 1362075"/>
                  <a:gd name="connsiteX61" fmla="*/ 808485 w 4857750"/>
                  <a:gd name="connsiteY61" fmla="*/ 798311 h 1362075"/>
                  <a:gd name="connsiteX62" fmla="*/ 794341 w 4857750"/>
                  <a:gd name="connsiteY62" fmla="*/ 785730 h 1362075"/>
                  <a:gd name="connsiteX63" fmla="*/ 784645 w 4857750"/>
                  <a:gd name="connsiteY63" fmla="*/ 778657 h 1362075"/>
                  <a:gd name="connsiteX64" fmla="*/ 745924 w 4857750"/>
                  <a:gd name="connsiteY64" fmla="*/ 750458 h 1362075"/>
                  <a:gd name="connsiteX65" fmla="*/ 661020 w 4857750"/>
                  <a:gd name="connsiteY65" fmla="*/ 686139 h 1362075"/>
                  <a:gd name="connsiteX66" fmla="*/ 592493 w 4857750"/>
                  <a:gd name="connsiteY66" fmla="*/ 635704 h 1362075"/>
                  <a:gd name="connsiteX67" fmla="*/ 393963 w 4857750"/>
                  <a:gd name="connsiteY67" fmla="*/ 492599 h 1362075"/>
                  <a:gd name="connsiteX68" fmla="*/ 338474 w 4857750"/>
                  <a:gd name="connsiteY68" fmla="*/ 452859 h 1362075"/>
                  <a:gd name="connsiteX69" fmla="*/ 254112 w 4857750"/>
                  <a:gd name="connsiteY69" fmla="*/ 403964 h 1362075"/>
                  <a:gd name="connsiteX70" fmla="*/ 184175 w 4857750"/>
                  <a:gd name="connsiteY70" fmla="*/ 372966 h 1362075"/>
                  <a:gd name="connsiteX71" fmla="*/ 178796 w 4857750"/>
                  <a:gd name="connsiteY71" fmla="*/ 371013 h 1362075"/>
                  <a:gd name="connsiteX72" fmla="*/ 119142 w 4857750"/>
                  <a:gd name="connsiteY72" fmla="*/ 349386 h 1362075"/>
                  <a:gd name="connsiteX73" fmla="*/ 7144 w 4857750"/>
                  <a:gd name="connsiteY73" fmla="*/ 318539 h 1362075"/>
                  <a:gd name="connsiteX74" fmla="*/ 15105 w 4857750"/>
                  <a:gd name="connsiteY74" fmla="*/ 311164 h 1362075"/>
                  <a:gd name="connsiteX75" fmla="*/ 88685 w 4857750"/>
                  <a:gd name="connsiteY75" fmla="*/ 243830 h 1362075"/>
                  <a:gd name="connsiteX76" fmla="*/ 92178 w 4857750"/>
                  <a:gd name="connsiteY76" fmla="*/ 239752 h 1362075"/>
                  <a:gd name="connsiteX77" fmla="*/ 94803 w 4857750"/>
                  <a:gd name="connsiteY77" fmla="*/ 234958 h 1362075"/>
                  <a:gd name="connsiteX78" fmla="*/ 96495 w 4857750"/>
                  <a:gd name="connsiteY78" fmla="*/ 230489 h 1362075"/>
                  <a:gd name="connsiteX79" fmla="*/ 97298 w 4857750"/>
                  <a:gd name="connsiteY79" fmla="*/ 227604 h 1362075"/>
                  <a:gd name="connsiteX80" fmla="*/ 97666 w 4857750"/>
                  <a:gd name="connsiteY80" fmla="*/ 224698 h 1362075"/>
                  <a:gd name="connsiteX81" fmla="*/ 97601 w 4857750"/>
                  <a:gd name="connsiteY81" fmla="*/ 221769 h 1362075"/>
                  <a:gd name="connsiteX82" fmla="*/ 97015 w 4857750"/>
                  <a:gd name="connsiteY82" fmla="*/ 217279 h 1362075"/>
                  <a:gd name="connsiteX83" fmla="*/ 95996 w 4857750"/>
                  <a:gd name="connsiteY83" fmla="*/ 214329 h 1362075"/>
                  <a:gd name="connsiteX84" fmla="*/ 94196 w 4857750"/>
                  <a:gd name="connsiteY84" fmla="*/ 211009 h 1362075"/>
                  <a:gd name="connsiteX85" fmla="*/ 88945 w 4857750"/>
                  <a:gd name="connsiteY85" fmla="*/ 203829 h 1362075"/>
                  <a:gd name="connsiteX86" fmla="*/ 61158 w 4857750"/>
                  <a:gd name="connsiteY86" fmla="*/ 167646 h 1362075"/>
                  <a:gd name="connsiteX87" fmla="*/ 56407 w 4857750"/>
                  <a:gd name="connsiteY87" fmla="*/ 160900 h 1362075"/>
                  <a:gd name="connsiteX88" fmla="*/ 54758 w 4857750"/>
                  <a:gd name="connsiteY88" fmla="*/ 157863 h 1362075"/>
                  <a:gd name="connsiteX89" fmla="*/ 53457 w 4857750"/>
                  <a:gd name="connsiteY89" fmla="*/ 154240 h 1362075"/>
                  <a:gd name="connsiteX90" fmla="*/ 52698 w 4857750"/>
                  <a:gd name="connsiteY90" fmla="*/ 148101 h 1362075"/>
                  <a:gd name="connsiteX91" fmla="*/ 52828 w 4857750"/>
                  <a:gd name="connsiteY91" fmla="*/ 146040 h 1362075"/>
                  <a:gd name="connsiteX92" fmla="*/ 53782 w 4857750"/>
                  <a:gd name="connsiteY92" fmla="*/ 141594 h 1362075"/>
                  <a:gd name="connsiteX93" fmla="*/ 55648 w 4857750"/>
                  <a:gd name="connsiteY93" fmla="*/ 136430 h 1362075"/>
                  <a:gd name="connsiteX94" fmla="*/ 57210 w 4857750"/>
                  <a:gd name="connsiteY94" fmla="*/ 133676 h 1362075"/>
                  <a:gd name="connsiteX95" fmla="*/ 59184 w 4857750"/>
                  <a:gd name="connsiteY95" fmla="*/ 130791 h 1362075"/>
                  <a:gd name="connsiteX96" fmla="*/ 62047 w 4857750"/>
                  <a:gd name="connsiteY96" fmla="*/ 127666 h 1362075"/>
                  <a:gd name="connsiteX97" fmla="*/ 65193 w 4857750"/>
                  <a:gd name="connsiteY97" fmla="*/ 124803 h 1362075"/>
                  <a:gd name="connsiteX98" fmla="*/ 119359 w 4857750"/>
                  <a:gd name="connsiteY98" fmla="*/ 77579 h 1362075"/>
                  <a:gd name="connsiteX99" fmla="*/ 153394 w 4857750"/>
                  <a:gd name="connsiteY99" fmla="*/ 48402 h 1362075"/>
                  <a:gd name="connsiteX100" fmla="*/ 155759 w 4857750"/>
                  <a:gd name="connsiteY100" fmla="*/ 45279 h 1362075"/>
                  <a:gd name="connsiteX101" fmla="*/ 158080 w 4857750"/>
                  <a:gd name="connsiteY101" fmla="*/ 41266 h 1362075"/>
                  <a:gd name="connsiteX102" fmla="*/ 158883 w 4857750"/>
                  <a:gd name="connsiteY102" fmla="*/ 39270 h 1362075"/>
                  <a:gd name="connsiteX103" fmla="*/ 159729 w 4857750"/>
                  <a:gd name="connsiteY103" fmla="*/ 35343 h 1362075"/>
                  <a:gd name="connsiteX104" fmla="*/ 159468 w 4857750"/>
                  <a:gd name="connsiteY104" fmla="*/ 32524 h 1362075"/>
                  <a:gd name="connsiteX105" fmla="*/ 158795 w 4857750"/>
                  <a:gd name="connsiteY105" fmla="*/ 30550 h 1362075"/>
                  <a:gd name="connsiteX106" fmla="*/ 161030 w 4857750"/>
                  <a:gd name="connsiteY106" fmla="*/ 30029 h 1362075"/>
                  <a:gd name="connsiteX107" fmla="*/ 158275 w 4857750"/>
                  <a:gd name="connsiteY107" fmla="*/ 23131 h 1362075"/>
                  <a:gd name="connsiteX108" fmla="*/ 162050 w 4857750"/>
                  <a:gd name="connsiteY108" fmla="*/ 22524 h 1362075"/>
                  <a:gd name="connsiteX109" fmla="*/ 191009 w 4857750"/>
                  <a:gd name="connsiteY109" fmla="*/ 16124 h 1362075"/>
                  <a:gd name="connsiteX110" fmla="*/ 191421 w 4857750"/>
                  <a:gd name="connsiteY110" fmla="*/ 13738 h 1362075"/>
                  <a:gd name="connsiteX111" fmla="*/ 205998 w 4857750"/>
                  <a:gd name="connsiteY111" fmla="*/ 10723 h 1362075"/>
                  <a:gd name="connsiteX112" fmla="*/ 208927 w 4857750"/>
                  <a:gd name="connsiteY112" fmla="*/ 9942 h 1362075"/>
                  <a:gd name="connsiteX113" fmla="*/ 211595 w 4857750"/>
                  <a:gd name="connsiteY113" fmla="*/ 10116 h 1362075"/>
                  <a:gd name="connsiteX114" fmla="*/ 214220 w 4857750"/>
                  <a:gd name="connsiteY114" fmla="*/ 10072 h 1362075"/>
                  <a:gd name="connsiteX115" fmla="*/ 217019 w 4857750"/>
                  <a:gd name="connsiteY115" fmla="*/ 9616 h 1362075"/>
                  <a:gd name="connsiteX116" fmla="*/ 221053 w 4857750"/>
                  <a:gd name="connsiteY116" fmla="*/ 8445 h 1362075"/>
                  <a:gd name="connsiteX117" fmla="*/ 229556 w 4857750"/>
                  <a:gd name="connsiteY117" fmla="*/ 7144 h 1362075"/>
                  <a:gd name="connsiteX118" fmla="*/ 234308 w 4857750"/>
                  <a:gd name="connsiteY118" fmla="*/ 7599 h 1362075"/>
                  <a:gd name="connsiteX119" fmla="*/ 245305 w 4857750"/>
                  <a:gd name="connsiteY119" fmla="*/ 7273 h 1362075"/>
                  <a:gd name="connsiteX120" fmla="*/ 251834 w 4857750"/>
                  <a:gd name="connsiteY120" fmla="*/ 7881 h 1362075"/>
                  <a:gd name="connsiteX121" fmla="*/ 272139 w 4857750"/>
                  <a:gd name="connsiteY121" fmla="*/ 10506 h 1362075"/>
                  <a:gd name="connsiteX122" fmla="*/ 281618 w 4857750"/>
                  <a:gd name="connsiteY122" fmla="*/ 12719 h 1362075"/>
                  <a:gd name="connsiteX123" fmla="*/ 289840 w 4857750"/>
                  <a:gd name="connsiteY123" fmla="*/ 14996 h 1362075"/>
                  <a:gd name="connsiteX124" fmla="*/ 293527 w 4857750"/>
                  <a:gd name="connsiteY124" fmla="*/ 16233 h 1362075"/>
                  <a:gd name="connsiteX125" fmla="*/ 294568 w 4857750"/>
                  <a:gd name="connsiteY125" fmla="*/ 16754 h 1362075"/>
                  <a:gd name="connsiteX126" fmla="*/ 310512 w 4857750"/>
                  <a:gd name="connsiteY126" fmla="*/ 27361 h 1362075"/>
                  <a:gd name="connsiteX127" fmla="*/ 313376 w 4857750"/>
                  <a:gd name="connsiteY127" fmla="*/ 25647 h 1362075"/>
                  <a:gd name="connsiteX128" fmla="*/ 314027 w 4857750"/>
                  <a:gd name="connsiteY128" fmla="*/ 24932 h 1362075"/>
                  <a:gd name="connsiteX129" fmla="*/ 314808 w 4857750"/>
                  <a:gd name="connsiteY129" fmla="*/ 23348 h 1362075"/>
                  <a:gd name="connsiteX130" fmla="*/ 315654 w 4857750"/>
                  <a:gd name="connsiteY130" fmla="*/ 22546 h 1362075"/>
                  <a:gd name="connsiteX131" fmla="*/ 316521 w 4857750"/>
                  <a:gd name="connsiteY131" fmla="*/ 22068 h 1362075"/>
                  <a:gd name="connsiteX132" fmla="*/ 319167 w 4857750"/>
                  <a:gd name="connsiteY132" fmla="*/ 21439 h 1362075"/>
                  <a:gd name="connsiteX133" fmla="*/ 321380 w 4857750"/>
                  <a:gd name="connsiteY133" fmla="*/ 20376 h 1362075"/>
                  <a:gd name="connsiteX134" fmla="*/ 322986 w 4857750"/>
                  <a:gd name="connsiteY134" fmla="*/ 18880 h 1362075"/>
                  <a:gd name="connsiteX135" fmla="*/ 330036 w 4857750"/>
                  <a:gd name="connsiteY135" fmla="*/ 14064 h 1362075"/>
                  <a:gd name="connsiteX136" fmla="*/ 333160 w 4857750"/>
                  <a:gd name="connsiteY136" fmla="*/ 13283 h 1362075"/>
                  <a:gd name="connsiteX137" fmla="*/ 337867 w 4857750"/>
                  <a:gd name="connsiteY137" fmla="*/ 17773 h 1362075"/>
                  <a:gd name="connsiteX138" fmla="*/ 347932 w 4857750"/>
                  <a:gd name="connsiteY138" fmla="*/ 19486 h 1362075"/>
                  <a:gd name="connsiteX139" fmla="*/ 354418 w 4857750"/>
                  <a:gd name="connsiteY139" fmla="*/ 20918 h 1362075"/>
                  <a:gd name="connsiteX140" fmla="*/ 362662 w 4857750"/>
                  <a:gd name="connsiteY140" fmla="*/ 23652 h 1362075"/>
                  <a:gd name="connsiteX141" fmla="*/ 365352 w 4857750"/>
                  <a:gd name="connsiteY141" fmla="*/ 24801 h 1362075"/>
                  <a:gd name="connsiteX142" fmla="*/ 370167 w 4857750"/>
                  <a:gd name="connsiteY142" fmla="*/ 27382 h 1362075"/>
                  <a:gd name="connsiteX143" fmla="*/ 374440 w 4857750"/>
                  <a:gd name="connsiteY143" fmla="*/ 30354 h 1362075"/>
                  <a:gd name="connsiteX144" fmla="*/ 375048 w 4857750"/>
                  <a:gd name="connsiteY144" fmla="*/ 30376 h 1362075"/>
                  <a:gd name="connsiteX145" fmla="*/ 376458 w 4857750"/>
                  <a:gd name="connsiteY145" fmla="*/ 31786 h 1362075"/>
                  <a:gd name="connsiteX146" fmla="*/ 383182 w 4857750"/>
                  <a:gd name="connsiteY146" fmla="*/ 31483 h 1362075"/>
                  <a:gd name="connsiteX147" fmla="*/ 387543 w 4857750"/>
                  <a:gd name="connsiteY147" fmla="*/ 31765 h 1362075"/>
                  <a:gd name="connsiteX148" fmla="*/ 389452 w 4857750"/>
                  <a:gd name="connsiteY148" fmla="*/ 33001 h 1362075"/>
                  <a:gd name="connsiteX149" fmla="*/ 390753 w 4857750"/>
                  <a:gd name="connsiteY149" fmla="*/ 35170 h 1362075"/>
                  <a:gd name="connsiteX150" fmla="*/ 393963 w 4857750"/>
                  <a:gd name="connsiteY150" fmla="*/ 42307 h 1362075"/>
                  <a:gd name="connsiteX151" fmla="*/ 406306 w 4857750"/>
                  <a:gd name="connsiteY151" fmla="*/ 66017 h 1362075"/>
                  <a:gd name="connsiteX152" fmla="*/ 408649 w 4857750"/>
                  <a:gd name="connsiteY152" fmla="*/ 65865 h 1362075"/>
                  <a:gd name="connsiteX153" fmla="*/ 430841 w 4857750"/>
                  <a:gd name="connsiteY153" fmla="*/ 85649 h 1362075"/>
                  <a:gd name="connsiteX154" fmla="*/ 435916 w 4857750"/>
                  <a:gd name="connsiteY154" fmla="*/ 89618 h 1362075"/>
                  <a:gd name="connsiteX155" fmla="*/ 441058 w 4857750"/>
                  <a:gd name="connsiteY155" fmla="*/ 93306 h 1362075"/>
                  <a:gd name="connsiteX156" fmla="*/ 446525 w 4857750"/>
                  <a:gd name="connsiteY156" fmla="*/ 96777 h 1362075"/>
                  <a:gd name="connsiteX157" fmla="*/ 452295 w 4857750"/>
                  <a:gd name="connsiteY157" fmla="*/ 99988 h 1362075"/>
                  <a:gd name="connsiteX158" fmla="*/ 460538 w 4857750"/>
                  <a:gd name="connsiteY158" fmla="*/ 103523 h 1362075"/>
                  <a:gd name="connsiteX159" fmla="*/ 459670 w 4857750"/>
                  <a:gd name="connsiteY159" fmla="*/ 103675 h 1362075"/>
                  <a:gd name="connsiteX160" fmla="*/ 468195 w 4857750"/>
                  <a:gd name="connsiteY160" fmla="*/ 106777 h 1362075"/>
                  <a:gd name="connsiteX161" fmla="*/ 472209 w 4857750"/>
                  <a:gd name="connsiteY161" fmla="*/ 108057 h 1362075"/>
                  <a:gd name="connsiteX162" fmla="*/ 479020 w 4857750"/>
                  <a:gd name="connsiteY162" fmla="*/ 110075 h 1362075"/>
                  <a:gd name="connsiteX163" fmla="*/ 483401 w 4857750"/>
                  <a:gd name="connsiteY163" fmla="*/ 111181 h 1362075"/>
                  <a:gd name="connsiteX164" fmla="*/ 490712 w 4857750"/>
                  <a:gd name="connsiteY164" fmla="*/ 112612 h 1362075"/>
                  <a:gd name="connsiteX165" fmla="*/ 498630 w 4857750"/>
                  <a:gd name="connsiteY165" fmla="*/ 113849 h 1362075"/>
                  <a:gd name="connsiteX166" fmla="*/ 504898 w 4857750"/>
                  <a:gd name="connsiteY166" fmla="*/ 114673 h 1362075"/>
                  <a:gd name="connsiteX167" fmla="*/ 509215 w 4857750"/>
                  <a:gd name="connsiteY167" fmla="*/ 115042 h 1362075"/>
                  <a:gd name="connsiteX168" fmla="*/ 517893 w 4857750"/>
                  <a:gd name="connsiteY168" fmla="*/ 115389 h 1362075"/>
                  <a:gd name="connsiteX169" fmla="*/ 523598 w 4857750"/>
                  <a:gd name="connsiteY169" fmla="*/ 115346 h 1362075"/>
                  <a:gd name="connsiteX170" fmla="*/ 530236 w 4857750"/>
                  <a:gd name="connsiteY170" fmla="*/ 114977 h 1362075"/>
                  <a:gd name="connsiteX171" fmla="*/ 540952 w 4857750"/>
                  <a:gd name="connsiteY171" fmla="*/ 113957 h 1362075"/>
                  <a:gd name="connsiteX172" fmla="*/ 548219 w 4857750"/>
                  <a:gd name="connsiteY172" fmla="*/ 112981 h 1362075"/>
                  <a:gd name="connsiteX173" fmla="*/ 569499 w 4857750"/>
                  <a:gd name="connsiteY173" fmla="*/ 108360 h 1362075"/>
                  <a:gd name="connsiteX174" fmla="*/ 573620 w 4857750"/>
                  <a:gd name="connsiteY174" fmla="*/ 108165 h 1362075"/>
                  <a:gd name="connsiteX175" fmla="*/ 575877 w 4857750"/>
                  <a:gd name="connsiteY175" fmla="*/ 108339 h 1362075"/>
                  <a:gd name="connsiteX176" fmla="*/ 581994 w 4857750"/>
                  <a:gd name="connsiteY176" fmla="*/ 109358 h 1362075"/>
                  <a:gd name="connsiteX177" fmla="*/ 585226 w 4857750"/>
                  <a:gd name="connsiteY177" fmla="*/ 110226 h 1362075"/>
                  <a:gd name="connsiteX178" fmla="*/ 587309 w 4857750"/>
                  <a:gd name="connsiteY178" fmla="*/ 111050 h 1362075"/>
                  <a:gd name="connsiteX179" fmla="*/ 589824 w 4857750"/>
                  <a:gd name="connsiteY179" fmla="*/ 112439 h 1362075"/>
                  <a:gd name="connsiteX180" fmla="*/ 593013 w 4857750"/>
                  <a:gd name="connsiteY180" fmla="*/ 114478 h 1362075"/>
                  <a:gd name="connsiteX181" fmla="*/ 598372 w 4857750"/>
                  <a:gd name="connsiteY181" fmla="*/ 119163 h 1362075"/>
                  <a:gd name="connsiteX182" fmla="*/ 598719 w 4857750"/>
                  <a:gd name="connsiteY182" fmla="*/ 119272 h 1362075"/>
                  <a:gd name="connsiteX183" fmla="*/ 604988 w 4857750"/>
                  <a:gd name="connsiteY183" fmla="*/ 119077 h 1362075"/>
                  <a:gd name="connsiteX184" fmla="*/ 617417 w 4857750"/>
                  <a:gd name="connsiteY184" fmla="*/ 118144 h 1362075"/>
                  <a:gd name="connsiteX185" fmla="*/ 629956 w 4857750"/>
                  <a:gd name="connsiteY185" fmla="*/ 117450 h 1362075"/>
                  <a:gd name="connsiteX186" fmla="*/ 648763 w 4857750"/>
                  <a:gd name="connsiteY186" fmla="*/ 117037 h 1362075"/>
                  <a:gd name="connsiteX187" fmla="*/ 660629 w 4857750"/>
                  <a:gd name="connsiteY187" fmla="*/ 117016 h 1362075"/>
                  <a:gd name="connsiteX188" fmla="*/ 675901 w 4857750"/>
                  <a:gd name="connsiteY188" fmla="*/ 117537 h 1362075"/>
                  <a:gd name="connsiteX189" fmla="*/ 683059 w 4857750"/>
                  <a:gd name="connsiteY189" fmla="*/ 118079 h 1362075"/>
                  <a:gd name="connsiteX190" fmla="*/ 698352 w 4857750"/>
                  <a:gd name="connsiteY190" fmla="*/ 117970 h 1362075"/>
                  <a:gd name="connsiteX191" fmla="*/ 698201 w 4857750"/>
                  <a:gd name="connsiteY191" fmla="*/ 117775 h 1362075"/>
                  <a:gd name="connsiteX192" fmla="*/ 700716 w 4857750"/>
                  <a:gd name="connsiteY192" fmla="*/ 117623 h 1362075"/>
                  <a:gd name="connsiteX193" fmla="*/ 710890 w 4857750"/>
                  <a:gd name="connsiteY193" fmla="*/ 116907 h 1362075"/>
                  <a:gd name="connsiteX194" fmla="*/ 727528 w 4857750"/>
                  <a:gd name="connsiteY194" fmla="*/ 116538 h 1362075"/>
                  <a:gd name="connsiteX195" fmla="*/ 744210 w 4857750"/>
                  <a:gd name="connsiteY195" fmla="*/ 116582 h 1362075"/>
                  <a:gd name="connsiteX196" fmla="*/ 769829 w 4857750"/>
                  <a:gd name="connsiteY196" fmla="*/ 117927 h 1362075"/>
                  <a:gd name="connsiteX197" fmla="*/ 780262 w 4857750"/>
                  <a:gd name="connsiteY197" fmla="*/ 118621 h 1362075"/>
                  <a:gd name="connsiteX198" fmla="*/ 796510 w 4857750"/>
                  <a:gd name="connsiteY198" fmla="*/ 120183 h 1362075"/>
                  <a:gd name="connsiteX199" fmla="*/ 804277 w 4857750"/>
                  <a:gd name="connsiteY199" fmla="*/ 120573 h 1362075"/>
                  <a:gd name="connsiteX200" fmla="*/ 846165 w 4857750"/>
                  <a:gd name="connsiteY200" fmla="*/ 125194 h 1362075"/>
                  <a:gd name="connsiteX201" fmla="*/ 878898 w 4857750"/>
                  <a:gd name="connsiteY201" fmla="*/ 129576 h 1362075"/>
                  <a:gd name="connsiteX202" fmla="*/ 886144 w 4857750"/>
                  <a:gd name="connsiteY202" fmla="*/ 131008 h 1362075"/>
                  <a:gd name="connsiteX203" fmla="*/ 892565 w 4857750"/>
                  <a:gd name="connsiteY203" fmla="*/ 131767 h 1362075"/>
                  <a:gd name="connsiteX204" fmla="*/ 896751 w 4857750"/>
                  <a:gd name="connsiteY204" fmla="*/ 132548 h 1362075"/>
                  <a:gd name="connsiteX205" fmla="*/ 899767 w 4857750"/>
                  <a:gd name="connsiteY205" fmla="*/ 132939 h 1362075"/>
                  <a:gd name="connsiteX206" fmla="*/ 905797 w 4857750"/>
                  <a:gd name="connsiteY206" fmla="*/ 134370 h 1362075"/>
                  <a:gd name="connsiteX207" fmla="*/ 910895 w 4857750"/>
                  <a:gd name="connsiteY207" fmla="*/ 135194 h 1362075"/>
                  <a:gd name="connsiteX208" fmla="*/ 931959 w 4857750"/>
                  <a:gd name="connsiteY208" fmla="*/ 139511 h 1362075"/>
                  <a:gd name="connsiteX209" fmla="*/ 933281 w 4857750"/>
                  <a:gd name="connsiteY209" fmla="*/ 139337 h 1362075"/>
                  <a:gd name="connsiteX210" fmla="*/ 932761 w 4857750"/>
                  <a:gd name="connsiteY210" fmla="*/ 140704 h 1362075"/>
                  <a:gd name="connsiteX211" fmla="*/ 940527 w 4857750"/>
                  <a:gd name="connsiteY211" fmla="*/ 142005 h 1362075"/>
                  <a:gd name="connsiteX212" fmla="*/ 940548 w 4857750"/>
                  <a:gd name="connsiteY212" fmla="*/ 141377 h 1362075"/>
                  <a:gd name="connsiteX213" fmla="*/ 953846 w 4857750"/>
                  <a:gd name="connsiteY213" fmla="*/ 144240 h 1362075"/>
                  <a:gd name="connsiteX214" fmla="*/ 969096 w 4857750"/>
                  <a:gd name="connsiteY214" fmla="*/ 148210 h 1362075"/>
                  <a:gd name="connsiteX215" fmla="*/ 979182 w 4857750"/>
                  <a:gd name="connsiteY215" fmla="*/ 151095 h 1362075"/>
                  <a:gd name="connsiteX216" fmla="*/ 984258 w 4857750"/>
                  <a:gd name="connsiteY216" fmla="*/ 152787 h 1362075"/>
                  <a:gd name="connsiteX217" fmla="*/ 1008771 w 4857750"/>
                  <a:gd name="connsiteY217" fmla="*/ 160184 h 1362075"/>
                  <a:gd name="connsiteX218" fmla="*/ 1027990 w 4857750"/>
                  <a:gd name="connsiteY218" fmla="*/ 166691 h 1362075"/>
                  <a:gd name="connsiteX219" fmla="*/ 1047102 w 4857750"/>
                  <a:gd name="connsiteY219" fmla="*/ 173786 h 1362075"/>
                  <a:gd name="connsiteX220" fmla="*/ 1057384 w 4857750"/>
                  <a:gd name="connsiteY220" fmla="*/ 177994 h 1362075"/>
                  <a:gd name="connsiteX221" fmla="*/ 1074976 w 4857750"/>
                  <a:gd name="connsiteY221" fmla="*/ 185434 h 1362075"/>
                  <a:gd name="connsiteX222" fmla="*/ 1084608 w 4857750"/>
                  <a:gd name="connsiteY222" fmla="*/ 189794 h 1362075"/>
                  <a:gd name="connsiteX223" fmla="*/ 1090856 w 4857750"/>
                  <a:gd name="connsiteY223" fmla="*/ 192289 h 1362075"/>
                  <a:gd name="connsiteX224" fmla="*/ 1105064 w 4857750"/>
                  <a:gd name="connsiteY224" fmla="*/ 199513 h 1362075"/>
                  <a:gd name="connsiteX225" fmla="*/ 1131225 w 4857750"/>
                  <a:gd name="connsiteY225" fmla="*/ 211726 h 1362075"/>
                  <a:gd name="connsiteX226" fmla="*/ 1143177 w 4857750"/>
                  <a:gd name="connsiteY226" fmla="*/ 214393 h 1362075"/>
                  <a:gd name="connsiteX227" fmla="*/ 1140574 w 4857750"/>
                  <a:gd name="connsiteY227" fmla="*/ 219838 h 1362075"/>
                  <a:gd name="connsiteX228" fmla="*/ 1153373 w 4857750"/>
                  <a:gd name="connsiteY228" fmla="*/ 222528 h 1362075"/>
                  <a:gd name="connsiteX229" fmla="*/ 1156063 w 4857750"/>
                  <a:gd name="connsiteY229" fmla="*/ 223266 h 1362075"/>
                  <a:gd name="connsiteX230" fmla="*/ 1176476 w 4857750"/>
                  <a:gd name="connsiteY230" fmla="*/ 232962 h 1362075"/>
                  <a:gd name="connsiteX231" fmla="*/ 1205522 w 4857750"/>
                  <a:gd name="connsiteY231" fmla="*/ 245739 h 1362075"/>
                  <a:gd name="connsiteX232" fmla="*/ 1246867 w 4857750"/>
                  <a:gd name="connsiteY232" fmla="*/ 261965 h 1362075"/>
                  <a:gd name="connsiteX233" fmla="*/ 1255545 w 4857750"/>
                  <a:gd name="connsiteY233" fmla="*/ 265132 h 1362075"/>
                  <a:gd name="connsiteX234" fmla="*/ 1262724 w 4857750"/>
                  <a:gd name="connsiteY234" fmla="*/ 267995 h 1362075"/>
                  <a:gd name="connsiteX235" fmla="*/ 1272508 w 4857750"/>
                  <a:gd name="connsiteY235" fmla="*/ 271423 h 1362075"/>
                  <a:gd name="connsiteX236" fmla="*/ 1282964 w 4857750"/>
                  <a:gd name="connsiteY236" fmla="*/ 271358 h 1362075"/>
                  <a:gd name="connsiteX237" fmla="*/ 1284157 w 4857750"/>
                  <a:gd name="connsiteY237" fmla="*/ 271531 h 1362075"/>
                  <a:gd name="connsiteX238" fmla="*/ 1284894 w 4857750"/>
                  <a:gd name="connsiteY238" fmla="*/ 271293 h 1362075"/>
                  <a:gd name="connsiteX239" fmla="*/ 1285545 w 4857750"/>
                  <a:gd name="connsiteY239" fmla="*/ 271314 h 1362075"/>
                  <a:gd name="connsiteX240" fmla="*/ 1286782 w 4857750"/>
                  <a:gd name="connsiteY240" fmla="*/ 267518 h 1362075"/>
                  <a:gd name="connsiteX241" fmla="*/ 1293463 w 4857750"/>
                  <a:gd name="connsiteY241" fmla="*/ 268299 h 1362075"/>
                  <a:gd name="connsiteX242" fmla="*/ 1304027 w 4857750"/>
                  <a:gd name="connsiteY242" fmla="*/ 269145 h 1362075"/>
                  <a:gd name="connsiteX243" fmla="*/ 1308214 w 4857750"/>
                  <a:gd name="connsiteY243" fmla="*/ 269926 h 1362075"/>
                  <a:gd name="connsiteX244" fmla="*/ 1317693 w 4857750"/>
                  <a:gd name="connsiteY244" fmla="*/ 274026 h 1362075"/>
                  <a:gd name="connsiteX245" fmla="*/ 1321511 w 4857750"/>
                  <a:gd name="connsiteY245" fmla="*/ 275414 h 1362075"/>
                  <a:gd name="connsiteX246" fmla="*/ 1331078 w 4857750"/>
                  <a:gd name="connsiteY246" fmla="*/ 279753 h 1362075"/>
                  <a:gd name="connsiteX247" fmla="*/ 1345134 w 4857750"/>
                  <a:gd name="connsiteY247" fmla="*/ 285610 h 1362075"/>
                  <a:gd name="connsiteX248" fmla="*/ 1360427 w 4857750"/>
                  <a:gd name="connsiteY248" fmla="*/ 292356 h 1362075"/>
                  <a:gd name="connsiteX249" fmla="*/ 1362575 w 4857750"/>
                  <a:gd name="connsiteY249" fmla="*/ 293137 h 1362075"/>
                  <a:gd name="connsiteX250" fmla="*/ 1368649 w 4857750"/>
                  <a:gd name="connsiteY250" fmla="*/ 296044 h 1362075"/>
                  <a:gd name="connsiteX251" fmla="*/ 1379322 w 4857750"/>
                  <a:gd name="connsiteY251" fmla="*/ 300513 h 1362075"/>
                  <a:gd name="connsiteX252" fmla="*/ 1394507 w 4857750"/>
                  <a:gd name="connsiteY252" fmla="*/ 307258 h 1362075"/>
                  <a:gd name="connsiteX253" fmla="*/ 1399105 w 4857750"/>
                  <a:gd name="connsiteY253" fmla="*/ 308734 h 1362075"/>
                  <a:gd name="connsiteX254" fmla="*/ 1404333 w 4857750"/>
                  <a:gd name="connsiteY254" fmla="*/ 310795 h 1362075"/>
                  <a:gd name="connsiteX255" fmla="*/ 1407435 w 4857750"/>
                  <a:gd name="connsiteY255" fmla="*/ 312227 h 1362075"/>
                  <a:gd name="connsiteX256" fmla="*/ 1410906 w 4857750"/>
                  <a:gd name="connsiteY256" fmla="*/ 312205 h 1362075"/>
                  <a:gd name="connsiteX257" fmla="*/ 1411470 w 4857750"/>
                  <a:gd name="connsiteY257" fmla="*/ 312378 h 1362075"/>
                  <a:gd name="connsiteX258" fmla="*/ 1412880 w 4857750"/>
                  <a:gd name="connsiteY258" fmla="*/ 313290 h 1362075"/>
                  <a:gd name="connsiteX259" fmla="*/ 1413596 w 4857750"/>
                  <a:gd name="connsiteY259" fmla="*/ 314331 h 1362075"/>
                  <a:gd name="connsiteX260" fmla="*/ 1416459 w 4857750"/>
                  <a:gd name="connsiteY260" fmla="*/ 314742 h 1362075"/>
                  <a:gd name="connsiteX261" fmla="*/ 1418997 w 4857750"/>
                  <a:gd name="connsiteY261" fmla="*/ 317150 h 1362075"/>
                  <a:gd name="connsiteX262" fmla="*/ 1421037 w 4857750"/>
                  <a:gd name="connsiteY262" fmla="*/ 318430 h 1362075"/>
                  <a:gd name="connsiteX263" fmla="*/ 1425570 w 4857750"/>
                  <a:gd name="connsiteY263" fmla="*/ 320274 h 1362075"/>
                  <a:gd name="connsiteX264" fmla="*/ 1429063 w 4857750"/>
                  <a:gd name="connsiteY264" fmla="*/ 321966 h 1362075"/>
                  <a:gd name="connsiteX265" fmla="*/ 1433206 w 4857750"/>
                  <a:gd name="connsiteY265" fmla="*/ 323506 h 1362075"/>
                  <a:gd name="connsiteX266" fmla="*/ 1443619 w 4857750"/>
                  <a:gd name="connsiteY266" fmla="*/ 328322 h 1362075"/>
                  <a:gd name="connsiteX267" fmla="*/ 1446265 w 4857750"/>
                  <a:gd name="connsiteY267" fmla="*/ 329732 h 1362075"/>
                  <a:gd name="connsiteX268" fmla="*/ 1461254 w 4857750"/>
                  <a:gd name="connsiteY268" fmla="*/ 335741 h 1362075"/>
                  <a:gd name="connsiteX269" fmla="*/ 1476677 w 4857750"/>
                  <a:gd name="connsiteY269" fmla="*/ 341967 h 1362075"/>
                  <a:gd name="connsiteX270" fmla="*/ 1511840 w 4857750"/>
                  <a:gd name="connsiteY270" fmla="*/ 358756 h 1362075"/>
                  <a:gd name="connsiteX271" fmla="*/ 1514053 w 4857750"/>
                  <a:gd name="connsiteY271" fmla="*/ 360188 h 1362075"/>
                  <a:gd name="connsiteX272" fmla="*/ 1520366 w 4857750"/>
                  <a:gd name="connsiteY272" fmla="*/ 363117 h 1362075"/>
                  <a:gd name="connsiteX273" fmla="*/ 1520908 w 4857750"/>
                  <a:gd name="connsiteY273" fmla="*/ 363833 h 1362075"/>
                  <a:gd name="connsiteX274" fmla="*/ 1521841 w 4857750"/>
                  <a:gd name="connsiteY274" fmla="*/ 364331 h 1362075"/>
                  <a:gd name="connsiteX275" fmla="*/ 1526960 w 4857750"/>
                  <a:gd name="connsiteY275" fmla="*/ 366240 h 1362075"/>
                  <a:gd name="connsiteX276" fmla="*/ 1550844 w 4857750"/>
                  <a:gd name="connsiteY276" fmla="*/ 377239 h 1362075"/>
                  <a:gd name="connsiteX277" fmla="*/ 1560193 w 4857750"/>
                  <a:gd name="connsiteY277" fmla="*/ 381122 h 1362075"/>
                  <a:gd name="connsiteX278" fmla="*/ 1566527 w 4857750"/>
                  <a:gd name="connsiteY278" fmla="*/ 384310 h 1362075"/>
                  <a:gd name="connsiteX279" fmla="*/ 1572428 w 4857750"/>
                  <a:gd name="connsiteY279" fmla="*/ 386523 h 1362075"/>
                  <a:gd name="connsiteX280" fmla="*/ 1577482 w 4857750"/>
                  <a:gd name="connsiteY280" fmla="*/ 389017 h 1362075"/>
                  <a:gd name="connsiteX281" fmla="*/ 1583491 w 4857750"/>
                  <a:gd name="connsiteY281" fmla="*/ 391404 h 1362075"/>
                  <a:gd name="connsiteX282" fmla="*/ 1591994 w 4857750"/>
                  <a:gd name="connsiteY282" fmla="*/ 395460 h 1362075"/>
                  <a:gd name="connsiteX283" fmla="*/ 1595075 w 4857750"/>
                  <a:gd name="connsiteY283" fmla="*/ 397153 h 1362075"/>
                  <a:gd name="connsiteX284" fmla="*/ 1601214 w 4857750"/>
                  <a:gd name="connsiteY284" fmla="*/ 399734 h 1362075"/>
                  <a:gd name="connsiteX285" fmla="*/ 1607114 w 4857750"/>
                  <a:gd name="connsiteY285" fmla="*/ 402554 h 1362075"/>
                  <a:gd name="connsiteX286" fmla="*/ 1609565 w 4857750"/>
                  <a:gd name="connsiteY286" fmla="*/ 403356 h 1362075"/>
                  <a:gd name="connsiteX287" fmla="*/ 1611062 w 4857750"/>
                  <a:gd name="connsiteY287" fmla="*/ 404181 h 1362075"/>
                  <a:gd name="connsiteX288" fmla="*/ 1615617 w 4857750"/>
                  <a:gd name="connsiteY288" fmla="*/ 405873 h 1362075"/>
                  <a:gd name="connsiteX289" fmla="*/ 1617093 w 4857750"/>
                  <a:gd name="connsiteY289" fmla="*/ 406718 h 1362075"/>
                  <a:gd name="connsiteX290" fmla="*/ 1620585 w 4857750"/>
                  <a:gd name="connsiteY290" fmla="*/ 408063 h 1362075"/>
                  <a:gd name="connsiteX291" fmla="*/ 1624186 w 4857750"/>
                  <a:gd name="connsiteY291" fmla="*/ 409777 h 1362075"/>
                  <a:gd name="connsiteX292" fmla="*/ 1625943 w 4857750"/>
                  <a:gd name="connsiteY292" fmla="*/ 410385 h 1362075"/>
                  <a:gd name="connsiteX293" fmla="*/ 1626962 w 4857750"/>
                  <a:gd name="connsiteY293" fmla="*/ 410558 h 1362075"/>
                  <a:gd name="connsiteX294" fmla="*/ 1627419 w 4857750"/>
                  <a:gd name="connsiteY294" fmla="*/ 413552 h 1362075"/>
                  <a:gd name="connsiteX295" fmla="*/ 1634143 w 4857750"/>
                  <a:gd name="connsiteY295" fmla="*/ 420818 h 1362075"/>
                  <a:gd name="connsiteX296" fmla="*/ 1635900 w 4857750"/>
                  <a:gd name="connsiteY296" fmla="*/ 420298 h 1362075"/>
                  <a:gd name="connsiteX297" fmla="*/ 1642928 w 4857750"/>
                  <a:gd name="connsiteY297" fmla="*/ 418975 h 1362075"/>
                  <a:gd name="connsiteX298" fmla="*/ 1653384 w 4857750"/>
                  <a:gd name="connsiteY298" fmla="*/ 418042 h 1362075"/>
                  <a:gd name="connsiteX299" fmla="*/ 1681909 w 4857750"/>
                  <a:gd name="connsiteY299" fmla="*/ 416068 h 1362075"/>
                  <a:gd name="connsiteX300" fmla="*/ 1711216 w 4857750"/>
                  <a:gd name="connsiteY300" fmla="*/ 413596 h 1362075"/>
                  <a:gd name="connsiteX301" fmla="*/ 1716575 w 4857750"/>
                  <a:gd name="connsiteY301" fmla="*/ 413139 h 1362075"/>
                  <a:gd name="connsiteX302" fmla="*/ 1730175 w 4857750"/>
                  <a:gd name="connsiteY302" fmla="*/ 411448 h 1362075"/>
                  <a:gd name="connsiteX303" fmla="*/ 1744254 w 4857750"/>
                  <a:gd name="connsiteY303" fmla="*/ 408281 h 1362075"/>
                  <a:gd name="connsiteX304" fmla="*/ 1758571 w 4857750"/>
                  <a:gd name="connsiteY304" fmla="*/ 404592 h 1362075"/>
                  <a:gd name="connsiteX305" fmla="*/ 1824451 w 4857750"/>
                  <a:gd name="connsiteY305" fmla="*/ 386631 h 1362075"/>
                  <a:gd name="connsiteX306" fmla="*/ 1872847 w 4857750"/>
                  <a:gd name="connsiteY306" fmla="*/ 376415 h 1362075"/>
                  <a:gd name="connsiteX307" fmla="*/ 1892956 w 4857750"/>
                  <a:gd name="connsiteY307" fmla="*/ 371967 h 1362075"/>
                  <a:gd name="connsiteX308" fmla="*/ 1903564 w 4857750"/>
                  <a:gd name="connsiteY308" fmla="*/ 368843 h 1362075"/>
                  <a:gd name="connsiteX309" fmla="*/ 1912978 w 4857750"/>
                  <a:gd name="connsiteY309" fmla="*/ 365698 h 1362075"/>
                  <a:gd name="connsiteX310" fmla="*/ 1921763 w 4857750"/>
                  <a:gd name="connsiteY310" fmla="*/ 362509 h 1362075"/>
                  <a:gd name="connsiteX311" fmla="*/ 1923802 w 4857750"/>
                  <a:gd name="connsiteY311" fmla="*/ 361512 h 1362075"/>
                  <a:gd name="connsiteX312" fmla="*/ 1924908 w 4857750"/>
                  <a:gd name="connsiteY312" fmla="*/ 360817 h 1362075"/>
                  <a:gd name="connsiteX313" fmla="*/ 1931764 w 4857750"/>
                  <a:gd name="connsiteY313" fmla="*/ 355221 h 1362075"/>
                  <a:gd name="connsiteX314" fmla="*/ 1934323 w 4857750"/>
                  <a:gd name="connsiteY314" fmla="*/ 352661 h 1362075"/>
                  <a:gd name="connsiteX315" fmla="*/ 1939225 w 4857750"/>
                  <a:gd name="connsiteY315" fmla="*/ 346847 h 1362075"/>
                  <a:gd name="connsiteX316" fmla="*/ 1943455 w 4857750"/>
                  <a:gd name="connsiteY316" fmla="*/ 340404 h 1362075"/>
                  <a:gd name="connsiteX317" fmla="*/ 1946102 w 4857750"/>
                  <a:gd name="connsiteY317" fmla="*/ 334829 h 1362075"/>
                  <a:gd name="connsiteX318" fmla="*/ 1956298 w 4857750"/>
                  <a:gd name="connsiteY318" fmla="*/ 308452 h 1362075"/>
                  <a:gd name="connsiteX319" fmla="*/ 1992068 w 4857750"/>
                  <a:gd name="connsiteY319" fmla="*/ 230663 h 1362075"/>
                  <a:gd name="connsiteX320" fmla="*/ 1997318 w 4857750"/>
                  <a:gd name="connsiteY320" fmla="*/ 218515 h 1362075"/>
                  <a:gd name="connsiteX321" fmla="*/ 2002525 w 4857750"/>
                  <a:gd name="connsiteY321" fmla="*/ 207691 h 1362075"/>
                  <a:gd name="connsiteX322" fmla="*/ 2004476 w 4857750"/>
                  <a:gd name="connsiteY322" fmla="*/ 204892 h 1362075"/>
                  <a:gd name="connsiteX323" fmla="*/ 2020486 w 4857750"/>
                  <a:gd name="connsiteY323" fmla="*/ 207864 h 1362075"/>
                  <a:gd name="connsiteX324" fmla="*/ 2022850 w 4857750"/>
                  <a:gd name="connsiteY324" fmla="*/ 206237 h 1362075"/>
                  <a:gd name="connsiteX325" fmla="*/ 2035345 w 4857750"/>
                  <a:gd name="connsiteY325" fmla="*/ 201139 h 1362075"/>
                  <a:gd name="connsiteX326" fmla="*/ 2046148 w 4857750"/>
                  <a:gd name="connsiteY326" fmla="*/ 197018 h 1362075"/>
                  <a:gd name="connsiteX327" fmla="*/ 2046625 w 4857750"/>
                  <a:gd name="connsiteY327" fmla="*/ 197083 h 1362075"/>
                  <a:gd name="connsiteX328" fmla="*/ 2047493 w 4857750"/>
                  <a:gd name="connsiteY328" fmla="*/ 197582 h 1362075"/>
                  <a:gd name="connsiteX329" fmla="*/ 2048252 w 4857750"/>
                  <a:gd name="connsiteY329" fmla="*/ 198428 h 1362075"/>
                  <a:gd name="connsiteX330" fmla="*/ 2084608 w 4857750"/>
                  <a:gd name="connsiteY330" fmla="*/ 196931 h 1362075"/>
                  <a:gd name="connsiteX331" fmla="*/ 2085368 w 4857750"/>
                  <a:gd name="connsiteY331" fmla="*/ 196562 h 1362075"/>
                  <a:gd name="connsiteX332" fmla="*/ 2085411 w 4857750"/>
                  <a:gd name="connsiteY332" fmla="*/ 195521 h 1362075"/>
                  <a:gd name="connsiteX333" fmla="*/ 2088036 w 4857750"/>
                  <a:gd name="connsiteY333" fmla="*/ 186237 h 1362075"/>
                  <a:gd name="connsiteX334" fmla="*/ 2087862 w 4857750"/>
                  <a:gd name="connsiteY334" fmla="*/ 181334 h 1362075"/>
                  <a:gd name="connsiteX335" fmla="*/ 2086929 w 4857750"/>
                  <a:gd name="connsiteY335" fmla="*/ 177516 h 1362075"/>
                  <a:gd name="connsiteX336" fmla="*/ 2084912 w 4857750"/>
                  <a:gd name="connsiteY336" fmla="*/ 173546 h 1362075"/>
                  <a:gd name="connsiteX337" fmla="*/ 2085411 w 4857750"/>
                  <a:gd name="connsiteY337" fmla="*/ 173351 h 1362075"/>
                  <a:gd name="connsiteX338" fmla="*/ 2081354 w 4857750"/>
                  <a:gd name="connsiteY338" fmla="*/ 168795 h 1362075"/>
                  <a:gd name="connsiteX339" fmla="*/ 2085932 w 4857750"/>
                  <a:gd name="connsiteY339" fmla="*/ 167343 h 1362075"/>
                  <a:gd name="connsiteX340" fmla="*/ 2086994 w 4857750"/>
                  <a:gd name="connsiteY340" fmla="*/ 167343 h 1362075"/>
                  <a:gd name="connsiteX341" fmla="*/ 2093958 w 4857750"/>
                  <a:gd name="connsiteY341" fmla="*/ 165433 h 1362075"/>
                  <a:gd name="connsiteX342" fmla="*/ 2112549 w 4857750"/>
                  <a:gd name="connsiteY342" fmla="*/ 158969 h 1362075"/>
                  <a:gd name="connsiteX343" fmla="*/ 2113741 w 4857750"/>
                  <a:gd name="connsiteY343" fmla="*/ 160249 h 1362075"/>
                  <a:gd name="connsiteX344" fmla="*/ 2108622 w 4857750"/>
                  <a:gd name="connsiteY344" fmla="*/ 162201 h 1362075"/>
                  <a:gd name="connsiteX345" fmla="*/ 2106562 w 4857750"/>
                  <a:gd name="connsiteY345" fmla="*/ 163156 h 1362075"/>
                  <a:gd name="connsiteX346" fmla="*/ 2109056 w 4857750"/>
                  <a:gd name="connsiteY346" fmla="*/ 168167 h 1362075"/>
                  <a:gd name="connsiteX347" fmla="*/ 2111204 w 4857750"/>
                  <a:gd name="connsiteY347" fmla="*/ 170748 h 1362075"/>
                  <a:gd name="connsiteX348" fmla="*/ 2114197 w 4857750"/>
                  <a:gd name="connsiteY348" fmla="*/ 175130 h 1362075"/>
                  <a:gd name="connsiteX349" fmla="*/ 2118904 w 4857750"/>
                  <a:gd name="connsiteY349" fmla="*/ 179490 h 1362075"/>
                  <a:gd name="connsiteX350" fmla="*/ 2122614 w 4857750"/>
                  <a:gd name="connsiteY350" fmla="*/ 183438 h 1362075"/>
                  <a:gd name="connsiteX351" fmla="*/ 2130597 w 4857750"/>
                  <a:gd name="connsiteY351" fmla="*/ 190749 h 1362075"/>
                  <a:gd name="connsiteX352" fmla="*/ 2131833 w 4857750"/>
                  <a:gd name="connsiteY352" fmla="*/ 191095 h 1362075"/>
                  <a:gd name="connsiteX353" fmla="*/ 2135087 w 4857750"/>
                  <a:gd name="connsiteY353" fmla="*/ 191161 h 1362075"/>
                  <a:gd name="connsiteX354" fmla="*/ 2141421 w 4857750"/>
                  <a:gd name="connsiteY354" fmla="*/ 190662 h 1362075"/>
                  <a:gd name="connsiteX355" fmla="*/ 2145174 w 4857750"/>
                  <a:gd name="connsiteY355" fmla="*/ 189881 h 1362075"/>
                  <a:gd name="connsiteX356" fmla="*/ 2151096 w 4857750"/>
                  <a:gd name="connsiteY356" fmla="*/ 188103 h 1362075"/>
                  <a:gd name="connsiteX357" fmla="*/ 2154827 w 4857750"/>
                  <a:gd name="connsiteY357" fmla="*/ 187386 h 1362075"/>
                  <a:gd name="connsiteX358" fmla="*/ 2159817 w 4857750"/>
                  <a:gd name="connsiteY358" fmla="*/ 186822 h 1362075"/>
                  <a:gd name="connsiteX359" fmla="*/ 2165239 w 4857750"/>
                  <a:gd name="connsiteY359" fmla="*/ 186345 h 1362075"/>
                  <a:gd name="connsiteX360" fmla="*/ 2167625 w 4857750"/>
                  <a:gd name="connsiteY360" fmla="*/ 186388 h 1362075"/>
                  <a:gd name="connsiteX361" fmla="*/ 2170532 w 4857750"/>
                  <a:gd name="connsiteY361" fmla="*/ 186692 h 1362075"/>
                  <a:gd name="connsiteX362" fmla="*/ 2179969 w 4857750"/>
                  <a:gd name="connsiteY362" fmla="*/ 185846 h 1362075"/>
                  <a:gd name="connsiteX363" fmla="*/ 2181509 w 4857750"/>
                  <a:gd name="connsiteY363" fmla="*/ 196388 h 1362075"/>
                  <a:gd name="connsiteX364" fmla="*/ 2187930 w 4857750"/>
                  <a:gd name="connsiteY364" fmla="*/ 194415 h 1362075"/>
                  <a:gd name="connsiteX365" fmla="*/ 2188949 w 4857750"/>
                  <a:gd name="connsiteY365" fmla="*/ 194262 h 1362075"/>
                  <a:gd name="connsiteX366" fmla="*/ 2208646 w 4857750"/>
                  <a:gd name="connsiteY366" fmla="*/ 193352 h 1362075"/>
                  <a:gd name="connsiteX367" fmla="*/ 2241576 w 4857750"/>
                  <a:gd name="connsiteY367" fmla="*/ 192158 h 1362075"/>
                  <a:gd name="connsiteX368" fmla="*/ 2246587 w 4857750"/>
                  <a:gd name="connsiteY368" fmla="*/ 191703 h 1362075"/>
                  <a:gd name="connsiteX369" fmla="*/ 2275589 w 4857750"/>
                  <a:gd name="connsiteY369" fmla="*/ 190835 h 1362075"/>
                  <a:gd name="connsiteX370" fmla="*/ 2314158 w 4857750"/>
                  <a:gd name="connsiteY370" fmla="*/ 188709 h 1362075"/>
                  <a:gd name="connsiteX371" fmla="*/ 2347565 w 4857750"/>
                  <a:gd name="connsiteY371" fmla="*/ 187646 h 1362075"/>
                  <a:gd name="connsiteX372" fmla="*/ 2354159 w 4857750"/>
                  <a:gd name="connsiteY372" fmla="*/ 187213 h 1362075"/>
                  <a:gd name="connsiteX373" fmla="*/ 2374680 w 4857750"/>
                  <a:gd name="connsiteY373" fmla="*/ 186692 h 1362075"/>
                  <a:gd name="connsiteX374" fmla="*/ 2381600 w 4857750"/>
                  <a:gd name="connsiteY374" fmla="*/ 186106 h 1362075"/>
                  <a:gd name="connsiteX375" fmla="*/ 2393313 w 4857750"/>
                  <a:gd name="connsiteY375" fmla="*/ 185802 h 1362075"/>
                  <a:gd name="connsiteX376" fmla="*/ 2394356 w 4857750"/>
                  <a:gd name="connsiteY376" fmla="*/ 185412 h 1362075"/>
                  <a:gd name="connsiteX377" fmla="*/ 2397825 w 4857750"/>
                  <a:gd name="connsiteY377" fmla="*/ 185369 h 1362075"/>
                  <a:gd name="connsiteX378" fmla="*/ 2413965 w 4857750"/>
                  <a:gd name="connsiteY378" fmla="*/ 184523 h 1362075"/>
                  <a:gd name="connsiteX379" fmla="*/ 2419823 w 4857750"/>
                  <a:gd name="connsiteY379" fmla="*/ 184024 h 1362075"/>
                  <a:gd name="connsiteX380" fmla="*/ 2437805 w 4857750"/>
                  <a:gd name="connsiteY380" fmla="*/ 183612 h 1362075"/>
                  <a:gd name="connsiteX381" fmla="*/ 2439649 w 4857750"/>
                  <a:gd name="connsiteY381" fmla="*/ 183698 h 1362075"/>
                  <a:gd name="connsiteX382" fmla="*/ 2443944 w 4857750"/>
                  <a:gd name="connsiteY382" fmla="*/ 183308 h 1362075"/>
                  <a:gd name="connsiteX383" fmla="*/ 2460973 w 4857750"/>
                  <a:gd name="connsiteY383" fmla="*/ 182440 h 1362075"/>
                  <a:gd name="connsiteX384" fmla="*/ 2474747 w 4857750"/>
                  <a:gd name="connsiteY384" fmla="*/ 181898 h 1362075"/>
                  <a:gd name="connsiteX385" fmla="*/ 2488587 w 4857750"/>
                  <a:gd name="connsiteY385" fmla="*/ 181681 h 1362075"/>
                  <a:gd name="connsiteX386" fmla="*/ 2490561 w 4857750"/>
                  <a:gd name="connsiteY386" fmla="*/ 181399 h 1362075"/>
                  <a:gd name="connsiteX387" fmla="*/ 2491104 w 4857750"/>
                  <a:gd name="connsiteY387" fmla="*/ 181183 h 1362075"/>
                  <a:gd name="connsiteX388" fmla="*/ 2494509 w 4857750"/>
                  <a:gd name="connsiteY388" fmla="*/ 180944 h 1362075"/>
                  <a:gd name="connsiteX389" fmla="*/ 2508631 w 4857750"/>
                  <a:gd name="connsiteY389" fmla="*/ 180879 h 1362075"/>
                  <a:gd name="connsiteX390" fmla="*/ 2512861 w 4857750"/>
                  <a:gd name="connsiteY390" fmla="*/ 180315 h 1362075"/>
                  <a:gd name="connsiteX391" fmla="*/ 2518349 w 4857750"/>
                  <a:gd name="connsiteY391" fmla="*/ 179902 h 1362075"/>
                  <a:gd name="connsiteX392" fmla="*/ 2536073 w 4857750"/>
                  <a:gd name="connsiteY392" fmla="*/ 179534 h 1362075"/>
                  <a:gd name="connsiteX393" fmla="*/ 2543512 w 4857750"/>
                  <a:gd name="connsiteY393" fmla="*/ 178839 h 1362075"/>
                  <a:gd name="connsiteX394" fmla="*/ 2558328 w 4857750"/>
                  <a:gd name="connsiteY394" fmla="*/ 178102 h 1362075"/>
                  <a:gd name="connsiteX395" fmla="*/ 2559955 w 4857750"/>
                  <a:gd name="connsiteY395" fmla="*/ 177777 h 1362075"/>
                  <a:gd name="connsiteX396" fmla="*/ 2561842 w 4857750"/>
                  <a:gd name="connsiteY396" fmla="*/ 176778 h 1362075"/>
                  <a:gd name="connsiteX397" fmla="*/ 2569153 w 4857750"/>
                  <a:gd name="connsiteY397" fmla="*/ 173893 h 1362075"/>
                  <a:gd name="connsiteX398" fmla="*/ 2580238 w 4857750"/>
                  <a:gd name="connsiteY398" fmla="*/ 169165 h 1362075"/>
                  <a:gd name="connsiteX399" fmla="*/ 2583318 w 4857750"/>
                  <a:gd name="connsiteY399" fmla="*/ 167690 h 1362075"/>
                  <a:gd name="connsiteX400" fmla="*/ 2605010 w 4857750"/>
                  <a:gd name="connsiteY400" fmla="*/ 158231 h 1362075"/>
                  <a:gd name="connsiteX401" fmla="*/ 2612473 w 4857750"/>
                  <a:gd name="connsiteY401" fmla="*/ 155151 h 1362075"/>
                  <a:gd name="connsiteX402" fmla="*/ 2614902 w 4857750"/>
                  <a:gd name="connsiteY402" fmla="*/ 154349 h 1362075"/>
                  <a:gd name="connsiteX403" fmla="*/ 2616291 w 4857750"/>
                  <a:gd name="connsiteY403" fmla="*/ 153611 h 1362075"/>
                  <a:gd name="connsiteX404" fmla="*/ 2618525 w 4857750"/>
                  <a:gd name="connsiteY404" fmla="*/ 152917 h 1362075"/>
                  <a:gd name="connsiteX405" fmla="*/ 2624556 w 4857750"/>
                  <a:gd name="connsiteY405" fmla="*/ 150075 h 1362075"/>
                  <a:gd name="connsiteX406" fmla="*/ 2629155 w 4857750"/>
                  <a:gd name="connsiteY406" fmla="*/ 148253 h 1362075"/>
                  <a:gd name="connsiteX407" fmla="*/ 2632300 w 4857750"/>
                  <a:gd name="connsiteY407" fmla="*/ 146431 h 1362075"/>
                  <a:gd name="connsiteX408" fmla="*/ 2643298 w 4857750"/>
                  <a:gd name="connsiteY408" fmla="*/ 141983 h 1362075"/>
                  <a:gd name="connsiteX409" fmla="*/ 2645771 w 4857750"/>
                  <a:gd name="connsiteY409" fmla="*/ 140509 h 1362075"/>
                  <a:gd name="connsiteX410" fmla="*/ 2653645 w 4857750"/>
                  <a:gd name="connsiteY410" fmla="*/ 137559 h 1362075"/>
                  <a:gd name="connsiteX411" fmla="*/ 2663146 w 4857750"/>
                  <a:gd name="connsiteY411" fmla="*/ 133481 h 1362075"/>
                  <a:gd name="connsiteX412" fmla="*/ 2664556 w 4857750"/>
                  <a:gd name="connsiteY412" fmla="*/ 133134 h 1362075"/>
                  <a:gd name="connsiteX413" fmla="*/ 2666291 w 4857750"/>
                  <a:gd name="connsiteY413" fmla="*/ 132439 h 1362075"/>
                  <a:gd name="connsiteX414" fmla="*/ 2670608 w 4857750"/>
                  <a:gd name="connsiteY414" fmla="*/ 130617 h 1362075"/>
                  <a:gd name="connsiteX415" fmla="*/ 2673819 w 4857750"/>
                  <a:gd name="connsiteY415" fmla="*/ 128904 h 1362075"/>
                  <a:gd name="connsiteX416" fmla="*/ 2686531 w 4857750"/>
                  <a:gd name="connsiteY416" fmla="*/ 123915 h 1362075"/>
                  <a:gd name="connsiteX417" fmla="*/ 2690696 w 4857750"/>
                  <a:gd name="connsiteY417" fmla="*/ 121767 h 1362075"/>
                  <a:gd name="connsiteX418" fmla="*/ 2700913 w 4857750"/>
                  <a:gd name="connsiteY418" fmla="*/ 117319 h 1362075"/>
                  <a:gd name="connsiteX419" fmla="*/ 2711521 w 4857750"/>
                  <a:gd name="connsiteY419" fmla="*/ 113111 h 1362075"/>
                  <a:gd name="connsiteX420" fmla="*/ 2723604 w 4857750"/>
                  <a:gd name="connsiteY420" fmla="*/ 107406 h 1362075"/>
                  <a:gd name="connsiteX421" fmla="*/ 2736250 w 4857750"/>
                  <a:gd name="connsiteY421" fmla="*/ 102547 h 1362075"/>
                  <a:gd name="connsiteX422" fmla="*/ 2738376 w 4857750"/>
                  <a:gd name="connsiteY422" fmla="*/ 101245 h 1362075"/>
                  <a:gd name="connsiteX423" fmla="*/ 2756315 w 4857750"/>
                  <a:gd name="connsiteY423" fmla="*/ 93653 h 1362075"/>
                  <a:gd name="connsiteX424" fmla="*/ 2760415 w 4857750"/>
                  <a:gd name="connsiteY424" fmla="*/ 92092 h 1362075"/>
                  <a:gd name="connsiteX425" fmla="*/ 2805514 w 4857750"/>
                  <a:gd name="connsiteY425" fmla="*/ 131680 h 1362075"/>
                  <a:gd name="connsiteX426" fmla="*/ 2845667 w 4857750"/>
                  <a:gd name="connsiteY426" fmla="*/ 167299 h 1362075"/>
                  <a:gd name="connsiteX427" fmla="*/ 2857272 w 4857750"/>
                  <a:gd name="connsiteY427" fmla="*/ 177148 h 1362075"/>
                  <a:gd name="connsiteX428" fmla="*/ 2865797 w 4857750"/>
                  <a:gd name="connsiteY428" fmla="*/ 171269 h 1362075"/>
                  <a:gd name="connsiteX429" fmla="*/ 2869919 w 4857750"/>
                  <a:gd name="connsiteY429" fmla="*/ 168709 h 1362075"/>
                  <a:gd name="connsiteX430" fmla="*/ 2871741 w 4857750"/>
                  <a:gd name="connsiteY430" fmla="*/ 167907 h 1362075"/>
                  <a:gd name="connsiteX431" fmla="*/ 2894865 w 4857750"/>
                  <a:gd name="connsiteY431" fmla="*/ 168189 h 1362075"/>
                  <a:gd name="connsiteX432" fmla="*/ 2898596 w 4857750"/>
                  <a:gd name="connsiteY432" fmla="*/ 167820 h 1362075"/>
                  <a:gd name="connsiteX433" fmla="*/ 2900614 w 4857750"/>
                  <a:gd name="connsiteY433" fmla="*/ 167060 h 1362075"/>
                  <a:gd name="connsiteX434" fmla="*/ 2902436 w 4857750"/>
                  <a:gd name="connsiteY434" fmla="*/ 165628 h 1362075"/>
                  <a:gd name="connsiteX435" fmla="*/ 2910788 w 4857750"/>
                  <a:gd name="connsiteY435" fmla="*/ 158166 h 1362075"/>
                  <a:gd name="connsiteX436" fmla="*/ 2918423 w 4857750"/>
                  <a:gd name="connsiteY436" fmla="*/ 150639 h 1362075"/>
                  <a:gd name="connsiteX437" fmla="*/ 2924432 w 4857750"/>
                  <a:gd name="connsiteY437" fmla="*/ 145412 h 1362075"/>
                  <a:gd name="connsiteX438" fmla="*/ 2928011 w 4857750"/>
                  <a:gd name="connsiteY438" fmla="*/ 141983 h 1362075"/>
                  <a:gd name="connsiteX439" fmla="*/ 2928923 w 4857750"/>
                  <a:gd name="connsiteY439" fmla="*/ 140769 h 1362075"/>
                  <a:gd name="connsiteX440" fmla="*/ 2929139 w 4857750"/>
                  <a:gd name="connsiteY440" fmla="*/ 139489 h 1362075"/>
                  <a:gd name="connsiteX441" fmla="*/ 2928814 w 4857750"/>
                  <a:gd name="connsiteY441" fmla="*/ 134934 h 1362075"/>
                  <a:gd name="connsiteX442" fmla="*/ 2927773 w 4857750"/>
                  <a:gd name="connsiteY442" fmla="*/ 126625 h 1362075"/>
                  <a:gd name="connsiteX443" fmla="*/ 2927924 w 4857750"/>
                  <a:gd name="connsiteY443" fmla="*/ 124304 h 1362075"/>
                  <a:gd name="connsiteX444" fmla="*/ 2929790 w 4857750"/>
                  <a:gd name="connsiteY444" fmla="*/ 119033 h 1362075"/>
                  <a:gd name="connsiteX445" fmla="*/ 2930158 w 4857750"/>
                  <a:gd name="connsiteY445" fmla="*/ 119033 h 1362075"/>
                  <a:gd name="connsiteX446" fmla="*/ 2929942 w 4857750"/>
                  <a:gd name="connsiteY446" fmla="*/ 119510 h 1362075"/>
                  <a:gd name="connsiteX447" fmla="*/ 2931026 w 4857750"/>
                  <a:gd name="connsiteY447" fmla="*/ 119880 h 1362075"/>
                  <a:gd name="connsiteX448" fmla="*/ 2930767 w 4857750"/>
                  <a:gd name="connsiteY448" fmla="*/ 121008 h 1362075"/>
                  <a:gd name="connsiteX449" fmla="*/ 2949899 w 4857750"/>
                  <a:gd name="connsiteY449" fmla="*/ 121636 h 1362075"/>
                  <a:gd name="connsiteX450" fmla="*/ 2950115 w 4857750"/>
                  <a:gd name="connsiteY450" fmla="*/ 121072 h 1362075"/>
                  <a:gd name="connsiteX451" fmla="*/ 2950724 w 4857750"/>
                  <a:gd name="connsiteY451" fmla="*/ 120660 h 1362075"/>
                  <a:gd name="connsiteX452" fmla="*/ 2953305 w 4857750"/>
                  <a:gd name="connsiteY452" fmla="*/ 120422 h 1362075"/>
                  <a:gd name="connsiteX453" fmla="*/ 2957578 w 4857750"/>
                  <a:gd name="connsiteY453" fmla="*/ 120508 h 1362075"/>
                  <a:gd name="connsiteX454" fmla="*/ 2967123 w 4857750"/>
                  <a:gd name="connsiteY454" fmla="*/ 121029 h 1362075"/>
                  <a:gd name="connsiteX455" fmla="*/ 2975605 w 4857750"/>
                  <a:gd name="connsiteY455" fmla="*/ 120747 h 1362075"/>
                  <a:gd name="connsiteX456" fmla="*/ 2984042 w 4857750"/>
                  <a:gd name="connsiteY456" fmla="*/ 121029 h 1362075"/>
                  <a:gd name="connsiteX457" fmla="*/ 2995193 w 4857750"/>
                  <a:gd name="connsiteY457" fmla="*/ 121680 h 1362075"/>
                  <a:gd name="connsiteX458" fmla="*/ 3002634 w 4857750"/>
                  <a:gd name="connsiteY458" fmla="*/ 120964 h 1362075"/>
                  <a:gd name="connsiteX459" fmla="*/ 3008382 w 4857750"/>
                  <a:gd name="connsiteY459" fmla="*/ 120768 h 1362075"/>
                  <a:gd name="connsiteX460" fmla="*/ 3012547 w 4857750"/>
                  <a:gd name="connsiteY460" fmla="*/ 120444 h 1362075"/>
                  <a:gd name="connsiteX461" fmla="*/ 3016474 w 4857750"/>
                  <a:gd name="connsiteY461" fmla="*/ 120508 h 1362075"/>
                  <a:gd name="connsiteX462" fmla="*/ 3016950 w 4857750"/>
                  <a:gd name="connsiteY462" fmla="*/ 120726 h 1362075"/>
                  <a:gd name="connsiteX463" fmla="*/ 3018296 w 4857750"/>
                  <a:gd name="connsiteY463" fmla="*/ 120790 h 1362075"/>
                  <a:gd name="connsiteX464" fmla="*/ 3032200 w 4857750"/>
                  <a:gd name="connsiteY464" fmla="*/ 120812 h 1362075"/>
                  <a:gd name="connsiteX465" fmla="*/ 3033979 w 4857750"/>
                  <a:gd name="connsiteY465" fmla="*/ 120704 h 1362075"/>
                  <a:gd name="connsiteX466" fmla="*/ 3034044 w 4857750"/>
                  <a:gd name="connsiteY466" fmla="*/ 120205 h 1362075"/>
                  <a:gd name="connsiteX467" fmla="*/ 3036690 w 4857750"/>
                  <a:gd name="connsiteY467" fmla="*/ 120335 h 1362075"/>
                  <a:gd name="connsiteX468" fmla="*/ 3038101 w 4857750"/>
                  <a:gd name="connsiteY468" fmla="*/ 119663 h 1362075"/>
                  <a:gd name="connsiteX469" fmla="*/ 3040877 w 4857750"/>
                  <a:gd name="connsiteY469" fmla="*/ 119749 h 1362075"/>
                  <a:gd name="connsiteX470" fmla="*/ 3041137 w 4857750"/>
                  <a:gd name="connsiteY470" fmla="*/ 120096 h 1362075"/>
                  <a:gd name="connsiteX471" fmla="*/ 3071247 w 4857750"/>
                  <a:gd name="connsiteY471" fmla="*/ 120942 h 1362075"/>
                  <a:gd name="connsiteX472" fmla="*/ 3116758 w 4857750"/>
                  <a:gd name="connsiteY472" fmla="*/ 121332 h 1362075"/>
                  <a:gd name="connsiteX473" fmla="*/ 3119729 w 4857750"/>
                  <a:gd name="connsiteY473" fmla="*/ 121311 h 1362075"/>
                  <a:gd name="connsiteX474" fmla="*/ 3125044 w 4857750"/>
                  <a:gd name="connsiteY474" fmla="*/ 120921 h 1362075"/>
                  <a:gd name="connsiteX475" fmla="*/ 3129707 w 4857750"/>
                  <a:gd name="connsiteY475" fmla="*/ 120986 h 1362075"/>
                  <a:gd name="connsiteX476" fmla="*/ 3136303 w 4857750"/>
                  <a:gd name="connsiteY476" fmla="*/ 121354 h 1362075"/>
                  <a:gd name="connsiteX477" fmla="*/ 3139838 w 4857750"/>
                  <a:gd name="connsiteY477" fmla="*/ 121116 h 1362075"/>
                  <a:gd name="connsiteX478" fmla="*/ 3140446 w 4857750"/>
                  <a:gd name="connsiteY478" fmla="*/ 120704 h 1362075"/>
                  <a:gd name="connsiteX479" fmla="*/ 3143374 w 4857750"/>
                  <a:gd name="connsiteY479" fmla="*/ 121507 h 1362075"/>
                  <a:gd name="connsiteX480" fmla="*/ 3152615 w 4857750"/>
                  <a:gd name="connsiteY480" fmla="*/ 123957 h 1362075"/>
                  <a:gd name="connsiteX481" fmla="*/ 3162702 w 4857750"/>
                  <a:gd name="connsiteY481" fmla="*/ 127493 h 1362075"/>
                  <a:gd name="connsiteX482" fmla="*/ 3169362 w 4857750"/>
                  <a:gd name="connsiteY482" fmla="*/ 130031 h 1362075"/>
                  <a:gd name="connsiteX483" fmla="*/ 3212508 w 4857750"/>
                  <a:gd name="connsiteY483" fmla="*/ 145520 h 1362075"/>
                  <a:gd name="connsiteX484" fmla="*/ 3231294 w 4857750"/>
                  <a:gd name="connsiteY484" fmla="*/ 152483 h 1362075"/>
                  <a:gd name="connsiteX485" fmla="*/ 3266566 w 4857750"/>
                  <a:gd name="connsiteY485" fmla="*/ 164935 h 1362075"/>
                  <a:gd name="connsiteX486" fmla="*/ 3272964 w 4857750"/>
                  <a:gd name="connsiteY486" fmla="*/ 167516 h 1362075"/>
                  <a:gd name="connsiteX487" fmla="*/ 3291165 w 4857750"/>
                  <a:gd name="connsiteY487" fmla="*/ 173915 h 1362075"/>
                  <a:gd name="connsiteX488" fmla="*/ 3295546 w 4857750"/>
                  <a:gd name="connsiteY488" fmla="*/ 175217 h 1362075"/>
                  <a:gd name="connsiteX489" fmla="*/ 3309712 w 4857750"/>
                  <a:gd name="connsiteY489" fmla="*/ 180402 h 1362075"/>
                  <a:gd name="connsiteX490" fmla="*/ 3318367 w 4857750"/>
                  <a:gd name="connsiteY490" fmla="*/ 183287 h 1362075"/>
                  <a:gd name="connsiteX491" fmla="*/ 3330905 w 4857750"/>
                  <a:gd name="connsiteY491" fmla="*/ 187907 h 1362075"/>
                  <a:gd name="connsiteX492" fmla="*/ 3344203 w 4857750"/>
                  <a:gd name="connsiteY492" fmla="*/ 192462 h 1362075"/>
                  <a:gd name="connsiteX493" fmla="*/ 3358411 w 4857750"/>
                  <a:gd name="connsiteY493" fmla="*/ 197886 h 1362075"/>
                  <a:gd name="connsiteX494" fmla="*/ 3359171 w 4857750"/>
                  <a:gd name="connsiteY494" fmla="*/ 197950 h 1362075"/>
                  <a:gd name="connsiteX495" fmla="*/ 3367674 w 4857750"/>
                  <a:gd name="connsiteY495" fmla="*/ 200900 h 1362075"/>
                  <a:gd name="connsiteX496" fmla="*/ 3379583 w 4857750"/>
                  <a:gd name="connsiteY496" fmla="*/ 205283 h 1362075"/>
                  <a:gd name="connsiteX497" fmla="*/ 3400234 w 4857750"/>
                  <a:gd name="connsiteY497" fmla="*/ 212571 h 1362075"/>
                  <a:gd name="connsiteX498" fmla="*/ 3406482 w 4857750"/>
                  <a:gd name="connsiteY498" fmla="*/ 214979 h 1362075"/>
                  <a:gd name="connsiteX499" fmla="*/ 3433814 w 4857750"/>
                  <a:gd name="connsiteY499" fmla="*/ 224567 h 1362075"/>
                  <a:gd name="connsiteX500" fmla="*/ 3440647 w 4857750"/>
                  <a:gd name="connsiteY500" fmla="*/ 227474 h 1362075"/>
                  <a:gd name="connsiteX501" fmla="*/ 3457654 w 4857750"/>
                  <a:gd name="connsiteY501" fmla="*/ 233461 h 1362075"/>
                  <a:gd name="connsiteX502" fmla="*/ 3459931 w 4857750"/>
                  <a:gd name="connsiteY502" fmla="*/ 234199 h 1362075"/>
                  <a:gd name="connsiteX503" fmla="*/ 3461277 w 4857750"/>
                  <a:gd name="connsiteY503" fmla="*/ 234415 h 1362075"/>
                  <a:gd name="connsiteX504" fmla="*/ 3462514 w 4857750"/>
                  <a:gd name="connsiteY504" fmla="*/ 234980 h 1362075"/>
                  <a:gd name="connsiteX505" fmla="*/ 3467351 w 4857750"/>
                  <a:gd name="connsiteY505" fmla="*/ 236432 h 1362075"/>
                  <a:gd name="connsiteX506" fmla="*/ 3490085 w 4857750"/>
                  <a:gd name="connsiteY506" fmla="*/ 244654 h 1362075"/>
                  <a:gd name="connsiteX507" fmla="*/ 3518024 w 4857750"/>
                  <a:gd name="connsiteY507" fmla="*/ 254264 h 1362075"/>
                  <a:gd name="connsiteX508" fmla="*/ 3523382 w 4857750"/>
                  <a:gd name="connsiteY508" fmla="*/ 256260 h 1362075"/>
                  <a:gd name="connsiteX509" fmla="*/ 3523491 w 4857750"/>
                  <a:gd name="connsiteY509" fmla="*/ 256129 h 1362075"/>
                  <a:gd name="connsiteX510" fmla="*/ 3531973 w 4857750"/>
                  <a:gd name="connsiteY510" fmla="*/ 259189 h 1362075"/>
                  <a:gd name="connsiteX511" fmla="*/ 3536485 w 4857750"/>
                  <a:gd name="connsiteY511" fmla="*/ 257691 h 1362075"/>
                  <a:gd name="connsiteX512" fmla="*/ 3537266 w 4857750"/>
                  <a:gd name="connsiteY512" fmla="*/ 257540 h 1362075"/>
                  <a:gd name="connsiteX513" fmla="*/ 3538632 w 4857750"/>
                  <a:gd name="connsiteY513" fmla="*/ 257778 h 1362075"/>
                  <a:gd name="connsiteX514" fmla="*/ 3540889 w 4857750"/>
                  <a:gd name="connsiteY514" fmla="*/ 255978 h 1362075"/>
                  <a:gd name="connsiteX515" fmla="*/ 3549847 w 4857750"/>
                  <a:gd name="connsiteY515" fmla="*/ 252269 h 1362075"/>
                  <a:gd name="connsiteX516" fmla="*/ 3555964 w 4857750"/>
                  <a:gd name="connsiteY516" fmla="*/ 249405 h 1362075"/>
                  <a:gd name="connsiteX517" fmla="*/ 3569283 w 4857750"/>
                  <a:gd name="connsiteY517" fmla="*/ 243873 h 1362075"/>
                  <a:gd name="connsiteX518" fmla="*/ 3574945 w 4857750"/>
                  <a:gd name="connsiteY518" fmla="*/ 242203 h 1362075"/>
                  <a:gd name="connsiteX519" fmla="*/ 3577701 w 4857750"/>
                  <a:gd name="connsiteY519" fmla="*/ 240988 h 1362075"/>
                  <a:gd name="connsiteX520" fmla="*/ 3579414 w 4857750"/>
                  <a:gd name="connsiteY520" fmla="*/ 239665 h 1362075"/>
                  <a:gd name="connsiteX521" fmla="*/ 3581085 w 4857750"/>
                  <a:gd name="connsiteY521" fmla="*/ 237517 h 1362075"/>
                  <a:gd name="connsiteX522" fmla="*/ 3595922 w 4857750"/>
                  <a:gd name="connsiteY522" fmla="*/ 215608 h 1362075"/>
                  <a:gd name="connsiteX523" fmla="*/ 3598698 w 4857750"/>
                  <a:gd name="connsiteY523" fmla="*/ 214307 h 1362075"/>
                  <a:gd name="connsiteX524" fmla="*/ 3601432 w 4857750"/>
                  <a:gd name="connsiteY524" fmla="*/ 213373 h 1362075"/>
                  <a:gd name="connsiteX525" fmla="*/ 3605857 w 4857750"/>
                  <a:gd name="connsiteY525" fmla="*/ 212289 h 1362075"/>
                  <a:gd name="connsiteX526" fmla="*/ 3612842 w 4857750"/>
                  <a:gd name="connsiteY526" fmla="*/ 215716 h 1362075"/>
                  <a:gd name="connsiteX527" fmla="*/ 3622387 w 4857750"/>
                  <a:gd name="connsiteY527" fmla="*/ 222137 h 1362075"/>
                  <a:gd name="connsiteX528" fmla="*/ 3640391 w 4857750"/>
                  <a:gd name="connsiteY528" fmla="*/ 230858 h 1362075"/>
                  <a:gd name="connsiteX529" fmla="*/ 3648093 w 4857750"/>
                  <a:gd name="connsiteY529" fmla="*/ 233005 h 1362075"/>
                  <a:gd name="connsiteX530" fmla="*/ 3663885 w 4857750"/>
                  <a:gd name="connsiteY530" fmla="*/ 236172 h 1362075"/>
                  <a:gd name="connsiteX531" fmla="*/ 3675382 w 4857750"/>
                  <a:gd name="connsiteY531" fmla="*/ 236867 h 1362075"/>
                  <a:gd name="connsiteX532" fmla="*/ 3678093 w 4857750"/>
                  <a:gd name="connsiteY532" fmla="*/ 236997 h 1362075"/>
                  <a:gd name="connsiteX533" fmla="*/ 3692910 w 4857750"/>
                  <a:gd name="connsiteY533" fmla="*/ 235500 h 1362075"/>
                  <a:gd name="connsiteX534" fmla="*/ 3702475 w 4857750"/>
                  <a:gd name="connsiteY534" fmla="*/ 236259 h 1362075"/>
                  <a:gd name="connsiteX535" fmla="*/ 3711890 w 4857750"/>
                  <a:gd name="connsiteY535" fmla="*/ 237409 h 1362075"/>
                  <a:gd name="connsiteX536" fmla="*/ 3720936 w 4857750"/>
                  <a:gd name="connsiteY536" fmla="*/ 239383 h 1362075"/>
                  <a:gd name="connsiteX537" fmla="*/ 3728377 w 4857750"/>
                  <a:gd name="connsiteY537" fmla="*/ 241705 h 1362075"/>
                  <a:gd name="connsiteX538" fmla="*/ 3752195 w 4857750"/>
                  <a:gd name="connsiteY538" fmla="*/ 251444 h 1362075"/>
                  <a:gd name="connsiteX539" fmla="*/ 3759461 w 4857750"/>
                  <a:gd name="connsiteY539" fmla="*/ 256628 h 1362075"/>
                  <a:gd name="connsiteX540" fmla="*/ 3765687 w 4857750"/>
                  <a:gd name="connsiteY540" fmla="*/ 263548 h 1362075"/>
                  <a:gd name="connsiteX541" fmla="*/ 3777206 w 4857750"/>
                  <a:gd name="connsiteY541" fmla="*/ 280794 h 1362075"/>
                  <a:gd name="connsiteX542" fmla="*/ 3781913 w 4857750"/>
                  <a:gd name="connsiteY542" fmla="*/ 288538 h 1362075"/>
                  <a:gd name="connsiteX543" fmla="*/ 3786620 w 4857750"/>
                  <a:gd name="connsiteY543" fmla="*/ 299450 h 1362075"/>
                  <a:gd name="connsiteX544" fmla="*/ 3788899 w 4857750"/>
                  <a:gd name="connsiteY544" fmla="*/ 307562 h 1362075"/>
                  <a:gd name="connsiteX545" fmla="*/ 3789636 w 4857750"/>
                  <a:gd name="connsiteY545" fmla="*/ 312335 h 1362075"/>
                  <a:gd name="connsiteX546" fmla="*/ 3790177 w 4857750"/>
                  <a:gd name="connsiteY546" fmla="*/ 321098 h 1362075"/>
                  <a:gd name="connsiteX547" fmla="*/ 3788790 w 4857750"/>
                  <a:gd name="connsiteY547" fmla="*/ 333289 h 1362075"/>
                  <a:gd name="connsiteX548" fmla="*/ 3841828 w 4857750"/>
                  <a:gd name="connsiteY548" fmla="*/ 319537 h 1362075"/>
                  <a:gd name="connsiteX549" fmla="*/ 3863043 w 4857750"/>
                  <a:gd name="connsiteY549" fmla="*/ 310686 h 1362075"/>
                  <a:gd name="connsiteX550" fmla="*/ 3875971 w 4857750"/>
                  <a:gd name="connsiteY550" fmla="*/ 300100 h 1362075"/>
                  <a:gd name="connsiteX551" fmla="*/ 3883368 w 4857750"/>
                  <a:gd name="connsiteY551" fmla="*/ 286217 h 1362075"/>
                  <a:gd name="connsiteX552" fmla="*/ 3891264 w 4857750"/>
                  <a:gd name="connsiteY552" fmla="*/ 280881 h 1362075"/>
                  <a:gd name="connsiteX553" fmla="*/ 3897296 w 4857750"/>
                  <a:gd name="connsiteY553" fmla="*/ 277757 h 1362075"/>
                  <a:gd name="connsiteX554" fmla="*/ 3901460 w 4857750"/>
                  <a:gd name="connsiteY554" fmla="*/ 276716 h 1362075"/>
                  <a:gd name="connsiteX555" fmla="*/ 3906493 w 4857750"/>
                  <a:gd name="connsiteY555" fmla="*/ 276238 h 1362075"/>
                  <a:gd name="connsiteX556" fmla="*/ 3915127 w 4857750"/>
                  <a:gd name="connsiteY556" fmla="*/ 276347 h 1362075"/>
                  <a:gd name="connsiteX557" fmla="*/ 3924672 w 4857750"/>
                  <a:gd name="connsiteY557" fmla="*/ 277736 h 1362075"/>
                  <a:gd name="connsiteX558" fmla="*/ 3936949 w 4857750"/>
                  <a:gd name="connsiteY558" fmla="*/ 280251 h 1362075"/>
                  <a:gd name="connsiteX559" fmla="*/ 3947687 w 4857750"/>
                  <a:gd name="connsiteY559" fmla="*/ 283440 h 1362075"/>
                  <a:gd name="connsiteX560" fmla="*/ 3991484 w 4857750"/>
                  <a:gd name="connsiteY560" fmla="*/ 295588 h 1362075"/>
                  <a:gd name="connsiteX561" fmla="*/ 4020140 w 4857750"/>
                  <a:gd name="connsiteY561" fmla="*/ 298560 h 1362075"/>
                  <a:gd name="connsiteX562" fmla="*/ 4060922 w 4857750"/>
                  <a:gd name="connsiteY562" fmla="*/ 304200 h 1362075"/>
                  <a:gd name="connsiteX563" fmla="*/ 4091421 w 4857750"/>
                  <a:gd name="connsiteY563" fmla="*/ 312313 h 1362075"/>
                  <a:gd name="connsiteX564" fmla="*/ 4203809 w 4857750"/>
                  <a:gd name="connsiteY564" fmla="*/ 344439 h 1362075"/>
                  <a:gd name="connsiteX565" fmla="*/ 4241729 w 4857750"/>
                  <a:gd name="connsiteY565" fmla="*/ 341207 h 1362075"/>
                  <a:gd name="connsiteX566" fmla="*/ 4276349 w 4857750"/>
                  <a:gd name="connsiteY566" fmla="*/ 335524 h 1362075"/>
                  <a:gd name="connsiteX567" fmla="*/ 4332034 w 4857750"/>
                  <a:gd name="connsiteY567" fmla="*/ 326153 h 1362075"/>
                  <a:gd name="connsiteX568" fmla="*/ 4389910 w 4857750"/>
                  <a:gd name="connsiteY568" fmla="*/ 313896 h 1362075"/>
                  <a:gd name="connsiteX569" fmla="*/ 4483903 w 4857750"/>
                  <a:gd name="connsiteY569" fmla="*/ 321575 h 1362075"/>
                  <a:gd name="connsiteX570" fmla="*/ 4494033 w 4857750"/>
                  <a:gd name="connsiteY570" fmla="*/ 321793 h 1362075"/>
                  <a:gd name="connsiteX571" fmla="*/ 4507743 w 4857750"/>
                  <a:gd name="connsiteY571" fmla="*/ 319949 h 1362075"/>
                  <a:gd name="connsiteX572" fmla="*/ 4518459 w 4857750"/>
                  <a:gd name="connsiteY572" fmla="*/ 316175 h 1362075"/>
                  <a:gd name="connsiteX573" fmla="*/ 4533622 w 4857750"/>
                  <a:gd name="connsiteY573" fmla="*/ 309167 h 1362075"/>
                  <a:gd name="connsiteX574" fmla="*/ 4543275 w 4857750"/>
                  <a:gd name="connsiteY574" fmla="*/ 305025 h 1362075"/>
                  <a:gd name="connsiteX575" fmla="*/ 4555987 w 4857750"/>
                  <a:gd name="connsiteY575" fmla="*/ 298669 h 1362075"/>
                  <a:gd name="connsiteX576" fmla="*/ 4610716 w 4857750"/>
                  <a:gd name="connsiteY576" fmla="*/ 313181 h 1362075"/>
                  <a:gd name="connsiteX577" fmla="*/ 4617984 w 4857750"/>
                  <a:gd name="connsiteY577" fmla="*/ 313463 h 1362075"/>
                  <a:gd name="connsiteX578" fmla="*/ 4653712 w 4857750"/>
                  <a:gd name="connsiteY578" fmla="*/ 329407 h 1362075"/>
                  <a:gd name="connsiteX579" fmla="*/ 4747943 w 4857750"/>
                  <a:gd name="connsiteY579" fmla="*/ 372445 h 1362075"/>
                  <a:gd name="connsiteX580" fmla="*/ 4854237 w 4857750"/>
                  <a:gd name="connsiteY580" fmla="*/ 918747 h 1362075"/>
                  <a:gd name="connsiteX581" fmla="*/ 4592560 w 4857750"/>
                  <a:gd name="connsiteY581" fmla="*/ 1005105 h 1362075"/>
                  <a:gd name="connsiteX582" fmla="*/ 4272185 w 4857750"/>
                  <a:gd name="connsiteY582" fmla="*/ 1106040 h 1362075"/>
                  <a:gd name="connsiteX583" fmla="*/ 4010617 w 4857750"/>
                  <a:gd name="connsiteY583" fmla="*/ 1188254 h 1362075"/>
                  <a:gd name="connsiteX584" fmla="*/ 3954412 w 4857750"/>
                  <a:gd name="connsiteY584" fmla="*/ 1206238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Lst>
                <a:rect l="l" t="t" r="r" b="b"/>
                <a:pathLst>
                  <a:path w="4857750" h="1362075">
                    <a:moveTo>
                      <a:pt x="3954412" y="1206238"/>
                    </a:moveTo>
                    <a:lnTo>
                      <a:pt x="3450215" y="1327173"/>
                    </a:lnTo>
                    <a:lnTo>
                      <a:pt x="3164373" y="1353920"/>
                    </a:lnTo>
                    <a:lnTo>
                      <a:pt x="3109773" y="1358996"/>
                    </a:lnTo>
                    <a:lnTo>
                      <a:pt x="3060031" y="1361794"/>
                    </a:lnTo>
                    <a:lnTo>
                      <a:pt x="3004044" y="1361469"/>
                    </a:lnTo>
                    <a:lnTo>
                      <a:pt x="2950550" y="1358562"/>
                    </a:lnTo>
                    <a:lnTo>
                      <a:pt x="2899269" y="1352337"/>
                    </a:lnTo>
                    <a:lnTo>
                      <a:pt x="2844994" y="1342379"/>
                    </a:lnTo>
                    <a:lnTo>
                      <a:pt x="2794169" y="1329299"/>
                    </a:lnTo>
                    <a:lnTo>
                      <a:pt x="2749135" y="1315025"/>
                    </a:lnTo>
                    <a:lnTo>
                      <a:pt x="2697573" y="1294483"/>
                    </a:lnTo>
                    <a:lnTo>
                      <a:pt x="2646053" y="1268820"/>
                    </a:lnTo>
                    <a:lnTo>
                      <a:pt x="2574902" y="1231010"/>
                    </a:lnTo>
                    <a:lnTo>
                      <a:pt x="2493294" y="1187604"/>
                    </a:lnTo>
                    <a:lnTo>
                      <a:pt x="2412794" y="1144892"/>
                    </a:lnTo>
                    <a:lnTo>
                      <a:pt x="2349972" y="1111528"/>
                    </a:lnTo>
                    <a:lnTo>
                      <a:pt x="2303507" y="1079945"/>
                    </a:lnTo>
                    <a:lnTo>
                      <a:pt x="2282509" y="1070421"/>
                    </a:lnTo>
                    <a:lnTo>
                      <a:pt x="2261836" y="1061007"/>
                    </a:lnTo>
                    <a:lnTo>
                      <a:pt x="2234807" y="1052829"/>
                    </a:lnTo>
                    <a:lnTo>
                      <a:pt x="2197908" y="1048989"/>
                    </a:lnTo>
                    <a:lnTo>
                      <a:pt x="2144588" y="1049770"/>
                    </a:lnTo>
                    <a:lnTo>
                      <a:pt x="2105021" y="1050703"/>
                    </a:lnTo>
                    <a:lnTo>
                      <a:pt x="2043350" y="1052199"/>
                    </a:lnTo>
                    <a:lnTo>
                      <a:pt x="1904561" y="1052026"/>
                    </a:lnTo>
                    <a:lnTo>
                      <a:pt x="1831762" y="1051961"/>
                    </a:lnTo>
                    <a:lnTo>
                      <a:pt x="1778051" y="1054239"/>
                    </a:lnTo>
                    <a:lnTo>
                      <a:pt x="1642082" y="1060031"/>
                    </a:lnTo>
                    <a:lnTo>
                      <a:pt x="1454855" y="1082526"/>
                    </a:lnTo>
                    <a:lnTo>
                      <a:pt x="1398498" y="1088882"/>
                    </a:lnTo>
                    <a:lnTo>
                      <a:pt x="1347390" y="1094608"/>
                    </a:lnTo>
                    <a:lnTo>
                      <a:pt x="1206433" y="1108079"/>
                    </a:lnTo>
                    <a:lnTo>
                      <a:pt x="1197517" y="1108361"/>
                    </a:lnTo>
                    <a:lnTo>
                      <a:pt x="1156107" y="1109598"/>
                    </a:lnTo>
                    <a:lnTo>
                      <a:pt x="1133069" y="1108990"/>
                    </a:lnTo>
                    <a:lnTo>
                      <a:pt x="1109403" y="1106062"/>
                    </a:lnTo>
                    <a:lnTo>
                      <a:pt x="1106755" y="1105606"/>
                    </a:lnTo>
                    <a:lnTo>
                      <a:pt x="1098014" y="1104174"/>
                    </a:lnTo>
                    <a:lnTo>
                      <a:pt x="1086495" y="1102048"/>
                    </a:lnTo>
                    <a:lnTo>
                      <a:pt x="1061289" y="1096430"/>
                    </a:lnTo>
                    <a:lnTo>
                      <a:pt x="1038533" y="1089684"/>
                    </a:lnTo>
                    <a:lnTo>
                      <a:pt x="1016818" y="1082005"/>
                    </a:lnTo>
                    <a:lnTo>
                      <a:pt x="1013196" y="1080529"/>
                    </a:lnTo>
                    <a:lnTo>
                      <a:pt x="993413" y="1072590"/>
                    </a:lnTo>
                    <a:lnTo>
                      <a:pt x="975711" y="1063544"/>
                    </a:lnTo>
                    <a:lnTo>
                      <a:pt x="969031" y="1059749"/>
                    </a:lnTo>
                    <a:lnTo>
                      <a:pt x="956427" y="1052568"/>
                    </a:lnTo>
                    <a:lnTo>
                      <a:pt x="941091" y="1042047"/>
                    </a:lnTo>
                    <a:lnTo>
                      <a:pt x="938748" y="1040442"/>
                    </a:lnTo>
                    <a:lnTo>
                      <a:pt x="922500" y="1026754"/>
                    </a:lnTo>
                    <a:lnTo>
                      <a:pt x="909397" y="1013847"/>
                    </a:lnTo>
                    <a:lnTo>
                      <a:pt x="897532" y="1000485"/>
                    </a:lnTo>
                    <a:lnTo>
                      <a:pt x="886317" y="983955"/>
                    </a:lnTo>
                    <a:lnTo>
                      <a:pt x="878313" y="968489"/>
                    </a:lnTo>
                    <a:lnTo>
                      <a:pt x="873605" y="956319"/>
                    </a:lnTo>
                    <a:lnTo>
                      <a:pt x="861089" y="917945"/>
                    </a:lnTo>
                    <a:lnTo>
                      <a:pt x="852217" y="890851"/>
                    </a:lnTo>
                    <a:lnTo>
                      <a:pt x="837270" y="845036"/>
                    </a:lnTo>
                    <a:lnTo>
                      <a:pt x="830199" y="828290"/>
                    </a:lnTo>
                    <a:lnTo>
                      <a:pt x="820546" y="812238"/>
                    </a:lnTo>
                    <a:lnTo>
                      <a:pt x="808485" y="798311"/>
                    </a:lnTo>
                    <a:lnTo>
                      <a:pt x="794341" y="785730"/>
                    </a:lnTo>
                    <a:lnTo>
                      <a:pt x="784645" y="778657"/>
                    </a:lnTo>
                    <a:lnTo>
                      <a:pt x="745924" y="750458"/>
                    </a:lnTo>
                    <a:lnTo>
                      <a:pt x="661020" y="686139"/>
                    </a:lnTo>
                    <a:lnTo>
                      <a:pt x="592493" y="635704"/>
                    </a:lnTo>
                    <a:lnTo>
                      <a:pt x="393963" y="492599"/>
                    </a:lnTo>
                    <a:lnTo>
                      <a:pt x="338474" y="452859"/>
                    </a:lnTo>
                    <a:lnTo>
                      <a:pt x="254112" y="403964"/>
                    </a:lnTo>
                    <a:lnTo>
                      <a:pt x="184175" y="372966"/>
                    </a:lnTo>
                    <a:lnTo>
                      <a:pt x="178796" y="371013"/>
                    </a:lnTo>
                    <a:lnTo>
                      <a:pt x="119142" y="349386"/>
                    </a:lnTo>
                    <a:lnTo>
                      <a:pt x="7144" y="318539"/>
                    </a:lnTo>
                    <a:lnTo>
                      <a:pt x="15105" y="311164"/>
                    </a:lnTo>
                    <a:lnTo>
                      <a:pt x="88685" y="243830"/>
                    </a:lnTo>
                    <a:lnTo>
                      <a:pt x="92178" y="239752"/>
                    </a:lnTo>
                    <a:lnTo>
                      <a:pt x="94803" y="234958"/>
                    </a:lnTo>
                    <a:lnTo>
                      <a:pt x="96495" y="230489"/>
                    </a:lnTo>
                    <a:lnTo>
                      <a:pt x="97298" y="227604"/>
                    </a:lnTo>
                    <a:lnTo>
                      <a:pt x="97666" y="224698"/>
                    </a:lnTo>
                    <a:lnTo>
                      <a:pt x="97601" y="221769"/>
                    </a:lnTo>
                    <a:lnTo>
                      <a:pt x="97015" y="217279"/>
                    </a:lnTo>
                    <a:lnTo>
                      <a:pt x="95996" y="214329"/>
                    </a:lnTo>
                    <a:lnTo>
                      <a:pt x="94196" y="211009"/>
                    </a:lnTo>
                    <a:lnTo>
                      <a:pt x="88945" y="203829"/>
                    </a:lnTo>
                    <a:lnTo>
                      <a:pt x="61158" y="167646"/>
                    </a:lnTo>
                    <a:lnTo>
                      <a:pt x="56407" y="160900"/>
                    </a:lnTo>
                    <a:lnTo>
                      <a:pt x="54758" y="157863"/>
                    </a:lnTo>
                    <a:lnTo>
                      <a:pt x="53457" y="154240"/>
                    </a:lnTo>
                    <a:lnTo>
                      <a:pt x="52698" y="148101"/>
                    </a:lnTo>
                    <a:lnTo>
                      <a:pt x="52828" y="146040"/>
                    </a:lnTo>
                    <a:lnTo>
                      <a:pt x="53782" y="141594"/>
                    </a:lnTo>
                    <a:lnTo>
                      <a:pt x="55648" y="136430"/>
                    </a:lnTo>
                    <a:lnTo>
                      <a:pt x="57210" y="133676"/>
                    </a:lnTo>
                    <a:lnTo>
                      <a:pt x="59184" y="130791"/>
                    </a:lnTo>
                    <a:lnTo>
                      <a:pt x="62047" y="127666"/>
                    </a:lnTo>
                    <a:lnTo>
                      <a:pt x="65193" y="124803"/>
                    </a:lnTo>
                    <a:lnTo>
                      <a:pt x="119359" y="77579"/>
                    </a:lnTo>
                    <a:lnTo>
                      <a:pt x="153394" y="48402"/>
                    </a:lnTo>
                    <a:lnTo>
                      <a:pt x="155759" y="45279"/>
                    </a:lnTo>
                    <a:lnTo>
                      <a:pt x="158080" y="41266"/>
                    </a:lnTo>
                    <a:lnTo>
                      <a:pt x="158883" y="39270"/>
                    </a:lnTo>
                    <a:lnTo>
                      <a:pt x="159729" y="35343"/>
                    </a:lnTo>
                    <a:lnTo>
                      <a:pt x="159468" y="32524"/>
                    </a:lnTo>
                    <a:lnTo>
                      <a:pt x="158795" y="30550"/>
                    </a:lnTo>
                    <a:lnTo>
                      <a:pt x="161030" y="30029"/>
                    </a:lnTo>
                    <a:lnTo>
                      <a:pt x="158275" y="23131"/>
                    </a:lnTo>
                    <a:lnTo>
                      <a:pt x="162050" y="22524"/>
                    </a:lnTo>
                    <a:lnTo>
                      <a:pt x="191009" y="16124"/>
                    </a:lnTo>
                    <a:lnTo>
                      <a:pt x="191421" y="13738"/>
                    </a:lnTo>
                    <a:lnTo>
                      <a:pt x="205998" y="10723"/>
                    </a:lnTo>
                    <a:lnTo>
                      <a:pt x="208927" y="9942"/>
                    </a:lnTo>
                    <a:lnTo>
                      <a:pt x="211595" y="10116"/>
                    </a:lnTo>
                    <a:lnTo>
                      <a:pt x="214220" y="10072"/>
                    </a:lnTo>
                    <a:lnTo>
                      <a:pt x="217019" y="9616"/>
                    </a:lnTo>
                    <a:lnTo>
                      <a:pt x="221053" y="8445"/>
                    </a:lnTo>
                    <a:lnTo>
                      <a:pt x="229556" y="7144"/>
                    </a:lnTo>
                    <a:lnTo>
                      <a:pt x="234308" y="7599"/>
                    </a:lnTo>
                    <a:lnTo>
                      <a:pt x="245305" y="7273"/>
                    </a:lnTo>
                    <a:lnTo>
                      <a:pt x="251834" y="7881"/>
                    </a:lnTo>
                    <a:lnTo>
                      <a:pt x="272139" y="10506"/>
                    </a:lnTo>
                    <a:lnTo>
                      <a:pt x="281618" y="12719"/>
                    </a:lnTo>
                    <a:lnTo>
                      <a:pt x="289840" y="14996"/>
                    </a:lnTo>
                    <a:lnTo>
                      <a:pt x="293527" y="16233"/>
                    </a:lnTo>
                    <a:lnTo>
                      <a:pt x="294568" y="16754"/>
                    </a:lnTo>
                    <a:lnTo>
                      <a:pt x="310512" y="27361"/>
                    </a:lnTo>
                    <a:lnTo>
                      <a:pt x="313376" y="25647"/>
                    </a:lnTo>
                    <a:lnTo>
                      <a:pt x="314027" y="24932"/>
                    </a:lnTo>
                    <a:lnTo>
                      <a:pt x="314808" y="23348"/>
                    </a:lnTo>
                    <a:lnTo>
                      <a:pt x="315654" y="22546"/>
                    </a:lnTo>
                    <a:lnTo>
                      <a:pt x="316521" y="22068"/>
                    </a:lnTo>
                    <a:lnTo>
                      <a:pt x="319167" y="21439"/>
                    </a:lnTo>
                    <a:lnTo>
                      <a:pt x="321380" y="20376"/>
                    </a:lnTo>
                    <a:lnTo>
                      <a:pt x="322986" y="18880"/>
                    </a:lnTo>
                    <a:lnTo>
                      <a:pt x="330036" y="14064"/>
                    </a:lnTo>
                    <a:lnTo>
                      <a:pt x="333160" y="13283"/>
                    </a:lnTo>
                    <a:lnTo>
                      <a:pt x="337867" y="17773"/>
                    </a:lnTo>
                    <a:lnTo>
                      <a:pt x="347932" y="19486"/>
                    </a:lnTo>
                    <a:lnTo>
                      <a:pt x="354418" y="20918"/>
                    </a:lnTo>
                    <a:lnTo>
                      <a:pt x="362662" y="23652"/>
                    </a:lnTo>
                    <a:lnTo>
                      <a:pt x="365352" y="24801"/>
                    </a:lnTo>
                    <a:lnTo>
                      <a:pt x="370167" y="27382"/>
                    </a:lnTo>
                    <a:lnTo>
                      <a:pt x="374440" y="30354"/>
                    </a:lnTo>
                    <a:lnTo>
                      <a:pt x="375048" y="30376"/>
                    </a:lnTo>
                    <a:lnTo>
                      <a:pt x="376458" y="31786"/>
                    </a:lnTo>
                    <a:lnTo>
                      <a:pt x="383182" y="31483"/>
                    </a:lnTo>
                    <a:lnTo>
                      <a:pt x="387543" y="31765"/>
                    </a:lnTo>
                    <a:lnTo>
                      <a:pt x="389452" y="33001"/>
                    </a:lnTo>
                    <a:lnTo>
                      <a:pt x="390753" y="35170"/>
                    </a:lnTo>
                    <a:lnTo>
                      <a:pt x="393963" y="42307"/>
                    </a:lnTo>
                    <a:lnTo>
                      <a:pt x="406306" y="66017"/>
                    </a:lnTo>
                    <a:lnTo>
                      <a:pt x="408649" y="65865"/>
                    </a:lnTo>
                    <a:lnTo>
                      <a:pt x="430841" y="85649"/>
                    </a:lnTo>
                    <a:lnTo>
                      <a:pt x="435916" y="89618"/>
                    </a:lnTo>
                    <a:lnTo>
                      <a:pt x="441058" y="93306"/>
                    </a:lnTo>
                    <a:lnTo>
                      <a:pt x="446525" y="96777"/>
                    </a:lnTo>
                    <a:lnTo>
                      <a:pt x="452295" y="99988"/>
                    </a:lnTo>
                    <a:lnTo>
                      <a:pt x="460538" y="103523"/>
                    </a:lnTo>
                    <a:lnTo>
                      <a:pt x="459670" y="103675"/>
                    </a:lnTo>
                    <a:lnTo>
                      <a:pt x="468195" y="106777"/>
                    </a:lnTo>
                    <a:lnTo>
                      <a:pt x="472209" y="108057"/>
                    </a:lnTo>
                    <a:lnTo>
                      <a:pt x="479020" y="110075"/>
                    </a:lnTo>
                    <a:lnTo>
                      <a:pt x="483401" y="111181"/>
                    </a:lnTo>
                    <a:lnTo>
                      <a:pt x="490712" y="112612"/>
                    </a:lnTo>
                    <a:lnTo>
                      <a:pt x="498630" y="113849"/>
                    </a:lnTo>
                    <a:lnTo>
                      <a:pt x="504898" y="114673"/>
                    </a:lnTo>
                    <a:lnTo>
                      <a:pt x="509215" y="115042"/>
                    </a:lnTo>
                    <a:lnTo>
                      <a:pt x="517893" y="115389"/>
                    </a:lnTo>
                    <a:lnTo>
                      <a:pt x="523598" y="115346"/>
                    </a:lnTo>
                    <a:lnTo>
                      <a:pt x="530236" y="114977"/>
                    </a:lnTo>
                    <a:lnTo>
                      <a:pt x="540952" y="113957"/>
                    </a:lnTo>
                    <a:lnTo>
                      <a:pt x="548219" y="112981"/>
                    </a:lnTo>
                    <a:lnTo>
                      <a:pt x="569499" y="108360"/>
                    </a:lnTo>
                    <a:lnTo>
                      <a:pt x="573620" y="108165"/>
                    </a:lnTo>
                    <a:lnTo>
                      <a:pt x="575877" y="108339"/>
                    </a:lnTo>
                    <a:lnTo>
                      <a:pt x="581994" y="109358"/>
                    </a:lnTo>
                    <a:lnTo>
                      <a:pt x="585226" y="110226"/>
                    </a:lnTo>
                    <a:lnTo>
                      <a:pt x="587309" y="111050"/>
                    </a:lnTo>
                    <a:lnTo>
                      <a:pt x="589824" y="112439"/>
                    </a:lnTo>
                    <a:lnTo>
                      <a:pt x="593013" y="114478"/>
                    </a:lnTo>
                    <a:lnTo>
                      <a:pt x="598372" y="119163"/>
                    </a:lnTo>
                    <a:lnTo>
                      <a:pt x="598719" y="119272"/>
                    </a:lnTo>
                    <a:lnTo>
                      <a:pt x="604988" y="119077"/>
                    </a:lnTo>
                    <a:lnTo>
                      <a:pt x="617417" y="118144"/>
                    </a:lnTo>
                    <a:lnTo>
                      <a:pt x="629956" y="117450"/>
                    </a:lnTo>
                    <a:lnTo>
                      <a:pt x="648763" y="117037"/>
                    </a:lnTo>
                    <a:lnTo>
                      <a:pt x="660629" y="117016"/>
                    </a:lnTo>
                    <a:lnTo>
                      <a:pt x="675901" y="117537"/>
                    </a:lnTo>
                    <a:lnTo>
                      <a:pt x="683059" y="118079"/>
                    </a:lnTo>
                    <a:lnTo>
                      <a:pt x="698352" y="117970"/>
                    </a:lnTo>
                    <a:lnTo>
                      <a:pt x="698201" y="117775"/>
                    </a:lnTo>
                    <a:lnTo>
                      <a:pt x="700716" y="117623"/>
                    </a:lnTo>
                    <a:lnTo>
                      <a:pt x="710890" y="116907"/>
                    </a:lnTo>
                    <a:lnTo>
                      <a:pt x="727528" y="116538"/>
                    </a:lnTo>
                    <a:lnTo>
                      <a:pt x="744210" y="116582"/>
                    </a:lnTo>
                    <a:lnTo>
                      <a:pt x="769829" y="117927"/>
                    </a:lnTo>
                    <a:lnTo>
                      <a:pt x="780262" y="118621"/>
                    </a:lnTo>
                    <a:lnTo>
                      <a:pt x="796510" y="120183"/>
                    </a:lnTo>
                    <a:lnTo>
                      <a:pt x="804277" y="120573"/>
                    </a:lnTo>
                    <a:lnTo>
                      <a:pt x="846165" y="125194"/>
                    </a:lnTo>
                    <a:lnTo>
                      <a:pt x="878898" y="129576"/>
                    </a:lnTo>
                    <a:lnTo>
                      <a:pt x="886144" y="131008"/>
                    </a:lnTo>
                    <a:lnTo>
                      <a:pt x="892565" y="131767"/>
                    </a:lnTo>
                    <a:lnTo>
                      <a:pt x="896751" y="132548"/>
                    </a:lnTo>
                    <a:lnTo>
                      <a:pt x="899767" y="132939"/>
                    </a:lnTo>
                    <a:lnTo>
                      <a:pt x="905797" y="134370"/>
                    </a:lnTo>
                    <a:lnTo>
                      <a:pt x="910895" y="135194"/>
                    </a:lnTo>
                    <a:lnTo>
                      <a:pt x="931959" y="139511"/>
                    </a:lnTo>
                    <a:lnTo>
                      <a:pt x="933281" y="139337"/>
                    </a:lnTo>
                    <a:lnTo>
                      <a:pt x="932761" y="140704"/>
                    </a:lnTo>
                    <a:lnTo>
                      <a:pt x="940527" y="142005"/>
                    </a:lnTo>
                    <a:lnTo>
                      <a:pt x="940548" y="141377"/>
                    </a:lnTo>
                    <a:lnTo>
                      <a:pt x="953846" y="144240"/>
                    </a:lnTo>
                    <a:lnTo>
                      <a:pt x="969096" y="148210"/>
                    </a:lnTo>
                    <a:lnTo>
                      <a:pt x="979182" y="151095"/>
                    </a:lnTo>
                    <a:lnTo>
                      <a:pt x="984258" y="152787"/>
                    </a:lnTo>
                    <a:lnTo>
                      <a:pt x="1008771" y="160184"/>
                    </a:lnTo>
                    <a:lnTo>
                      <a:pt x="1027990" y="166691"/>
                    </a:lnTo>
                    <a:lnTo>
                      <a:pt x="1047102" y="173786"/>
                    </a:lnTo>
                    <a:lnTo>
                      <a:pt x="1057384" y="177994"/>
                    </a:lnTo>
                    <a:lnTo>
                      <a:pt x="1074976" y="185434"/>
                    </a:lnTo>
                    <a:lnTo>
                      <a:pt x="1084608" y="189794"/>
                    </a:lnTo>
                    <a:lnTo>
                      <a:pt x="1090856" y="192289"/>
                    </a:lnTo>
                    <a:lnTo>
                      <a:pt x="1105064" y="199513"/>
                    </a:lnTo>
                    <a:lnTo>
                      <a:pt x="1131225" y="211726"/>
                    </a:lnTo>
                    <a:lnTo>
                      <a:pt x="1143177" y="214393"/>
                    </a:lnTo>
                    <a:lnTo>
                      <a:pt x="1140574" y="219838"/>
                    </a:lnTo>
                    <a:lnTo>
                      <a:pt x="1153373" y="222528"/>
                    </a:lnTo>
                    <a:lnTo>
                      <a:pt x="1156063" y="223266"/>
                    </a:lnTo>
                    <a:lnTo>
                      <a:pt x="1176476" y="232962"/>
                    </a:lnTo>
                    <a:lnTo>
                      <a:pt x="1205522" y="245739"/>
                    </a:lnTo>
                    <a:lnTo>
                      <a:pt x="1246867" y="261965"/>
                    </a:lnTo>
                    <a:lnTo>
                      <a:pt x="1255545" y="265132"/>
                    </a:lnTo>
                    <a:lnTo>
                      <a:pt x="1262724" y="267995"/>
                    </a:lnTo>
                    <a:lnTo>
                      <a:pt x="1272508" y="271423"/>
                    </a:lnTo>
                    <a:lnTo>
                      <a:pt x="1282964" y="271358"/>
                    </a:lnTo>
                    <a:lnTo>
                      <a:pt x="1284157" y="271531"/>
                    </a:lnTo>
                    <a:lnTo>
                      <a:pt x="1284894" y="271293"/>
                    </a:lnTo>
                    <a:lnTo>
                      <a:pt x="1285545" y="271314"/>
                    </a:lnTo>
                    <a:lnTo>
                      <a:pt x="1286782" y="267518"/>
                    </a:lnTo>
                    <a:lnTo>
                      <a:pt x="1293463" y="268299"/>
                    </a:lnTo>
                    <a:lnTo>
                      <a:pt x="1304027" y="269145"/>
                    </a:lnTo>
                    <a:lnTo>
                      <a:pt x="1308214" y="269926"/>
                    </a:lnTo>
                    <a:lnTo>
                      <a:pt x="1317693" y="274026"/>
                    </a:lnTo>
                    <a:lnTo>
                      <a:pt x="1321511" y="275414"/>
                    </a:lnTo>
                    <a:lnTo>
                      <a:pt x="1331078" y="279753"/>
                    </a:lnTo>
                    <a:lnTo>
                      <a:pt x="1345134" y="285610"/>
                    </a:lnTo>
                    <a:lnTo>
                      <a:pt x="1360427" y="292356"/>
                    </a:lnTo>
                    <a:lnTo>
                      <a:pt x="1362575" y="293137"/>
                    </a:lnTo>
                    <a:lnTo>
                      <a:pt x="1368649" y="296044"/>
                    </a:lnTo>
                    <a:lnTo>
                      <a:pt x="1379322" y="300513"/>
                    </a:lnTo>
                    <a:lnTo>
                      <a:pt x="1394507" y="307258"/>
                    </a:lnTo>
                    <a:lnTo>
                      <a:pt x="1399105" y="308734"/>
                    </a:lnTo>
                    <a:lnTo>
                      <a:pt x="1404333" y="310795"/>
                    </a:lnTo>
                    <a:lnTo>
                      <a:pt x="1407435" y="312227"/>
                    </a:lnTo>
                    <a:lnTo>
                      <a:pt x="1410906" y="312205"/>
                    </a:lnTo>
                    <a:lnTo>
                      <a:pt x="1411470" y="312378"/>
                    </a:lnTo>
                    <a:lnTo>
                      <a:pt x="1412880" y="313290"/>
                    </a:lnTo>
                    <a:lnTo>
                      <a:pt x="1413596" y="314331"/>
                    </a:lnTo>
                    <a:lnTo>
                      <a:pt x="1416459" y="314742"/>
                    </a:lnTo>
                    <a:lnTo>
                      <a:pt x="1418997" y="317150"/>
                    </a:lnTo>
                    <a:lnTo>
                      <a:pt x="1421037" y="318430"/>
                    </a:lnTo>
                    <a:lnTo>
                      <a:pt x="1425570" y="320274"/>
                    </a:lnTo>
                    <a:lnTo>
                      <a:pt x="1429063" y="321966"/>
                    </a:lnTo>
                    <a:lnTo>
                      <a:pt x="1433206" y="323506"/>
                    </a:lnTo>
                    <a:lnTo>
                      <a:pt x="1443619" y="328322"/>
                    </a:lnTo>
                    <a:lnTo>
                      <a:pt x="1446265" y="329732"/>
                    </a:lnTo>
                    <a:lnTo>
                      <a:pt x="1461254" y="335741"/>
                    </a:lnTo>
                    <a:lnTo>
                      <a:pt x="1476677" y="341967"/>
                    </a:lnTo>
                    <a:lnTo>
                      <a:pt x="1511840" y="358756"/>
                    </a:lnTo>
                    <a:lnTo>
                      <a:pt x="1514053" y="360188"/>
                    </a:lnTo>
                    <a:lnTo>
                      <a:pt x="1520366" y="363117"/>
                    </a:lnTo>
                    <a:lnTo>
                      <a:pt x="1520908" y="363833"/>
                    </a:lnTo>
                    <a:lnTo>
                      <a:pt x="1521841" y="364331"/>
                    </a:lnTo>
                    <a:lnTo>
                      <a:pt x="1526960" y="366240"/>
                    </a:lnTo>
                    <a:lnTo>
                      <a:pt x="1550844" y="377239"/>
                    </a:lnTo>
                    <a:lnTo>
                      <a:pt x="1560193" y="381122"/>
                    </a:lnTo>
                    <a:lnTo>
                      <a:pt x="1566527" y="384310"/>
                    </a:lnTo>
                    <a:lnTo>
                      <a:pt x="1572428" y="386523"/>
                    </a:lnTo>
                    <a:lnTo>
                      <a:pt x="1577482" y="389017"/>
                    </a:lnTo>
                    <a:lnTo>
                      <a:pt x="1583491" y="391404"/>
                    </a:lnTo>
                    <a:lnTo>
                      <a:pt x="1591994" y="395460"/>
                    </a:lnTo>
                    <a:lnTo>
                      <a:pt x="1595075" y="397153"/>
                    </a:lnTo>
                    <a:lnTo>
                      <a:pt x="1601214" y="399734"/>
                    </a:lnTo>
                    <a:lnTo>
                      <a:pt x="1607114" y="402554"/>
                    </a:lnTo>
                    <a:lnTo>
                      <a:pt x="1609565" y="403356"/>
                    </a:lnTo>
                    <a:lnTo>
                      <a:pt x="1611062" y="404181"/>
                    </a:lnTo>
                    <a:lnTo>
                      <a:pt x="1615617" y="405873"/>
                    </a:lnTo>
                    <a:lnTo>
                      <a:pt x="1617093" y="406718"/>
                    </a:lnTo>
                    <a:lnTo>
                      <a:pt x="1620585" y="408063"/>
                    </a:lnTo>
                    <a:lnTo>
                      <a:pt x="1624186" y="409777"/>
                    </a:lnTo>
                    <a:lnTo>
                      <a:pt x="1625943" y="410385"/>
                    </a:lnTo>
                    <a:lnTo>
                      <a:pt x="1626962" y="410558"/>
                    </a:lnTo>
                    <a:lnTo>
                      <a:pt x="1627419" y="413552"/>
                    </a:lnTo>
                    <a:lnTo>
                      <a:pt x="1634143" y="420818"/>
                    </a:lnTo>
                    <a:lnTo>
                      <a:pt x="1635900" y="420298"/>
                    </a:lnTo>
                    <a:lnTo>
                      <a:pt x="1642928" y="418975"/>
                    </a:lnTo>
                    <a:lnTo>
                      <a:pt x="1653384" y="418042"/>
                    </a:lnTo>
                    <a:lnTo>
                      <a:pt x="1681909" y="416068"/>
                    </a:lnTo>
                    <a:lnTo>
                      <a:pt x="1711216" y="413596"/>
                    </a:lnTo>
                    <a:lnTo>
                      <a:pt x="1716575" y="413139"/>
                    </a:lnTo>
                    <a:lnTo>
                      <a:pt x="1730175" y="411448"/>
                    </a:lnTo>
                    <a:lnTo>
                      <a:pt x="1744254" y="408281"/>
                    </a:lnTo>
                    <a:lnTo>
                      <a:pt x="1758571" y="404592"/>
                    </a:lnTo>
                    <a:lnTo>
                      <a:pt x="1824451" y="386631"/>
                    </a:lnTo>
                    <a:lnTo>
                      <a:pt x="1872847" y="376415"/>
                    </a:lnTo>
                    <a:lnTo>
                      <a:pt x="1892956" y="371967"/>
                    </a:lnTo>
                    <a:lnTo>
                      <a:pt x="1903564" y="368843"/>
                    </a:lnTo>
                    <a:lnTo>
                      <a:pt x="1912978" y="365698"/>
                    </a:lnTo>
                    <a:lnTo>
                      <a:pt x="1921763" y="362509"/>
                    </a:lnTo>
                    <a:lnTo>
                      <a:pt x="1923802" y="361512"/>
                    </a:lnTo>
                    <a:lnTo>
                      <a:pt x="1924908" y="360817"/>
                    </a:lnTo>
                    <a:lnTo>
                      <a:pt x="1931764" y="355221"/>
                    </a:lnTo>
                    <a:lnTo>
                      <a:pt x="1934323" y="352661"/>
                    </a:lnTo>
                    <a:lnTo>
                      <a:pt x="1939225" y="346847"/>
                    </a:lnTo>
                    <a:lnTo>
                      <a:pt x="1943455" y="340404"/>
                    </a:lnTo>
                    <a:lnTo>
                      <a:pt x="1946102" y="334829"/>
                    </a:lnTo>
                    <a:lnTo>
                      <a:pt x="1956298" y="308452"/>
                    </a:lnTo>
                    <a:lnTo>
                      <a:pt x="1992068" y="230663"/>
                    </a:lnTo>
                    <a:lnTo>
                      <a:pt x="1997318" y="218515"/>
                    </a:lnTo>
                    <a:lnTo>
                      <a:pt x="2002525" y="207691"/>
                    </a:lnTo>
                    <a:lnTo>
                      <a:pt x="2004476" y="204892"/>
                    </a:lnTo>
                    <a:lnTo>
                      <a:pt x="2020486" y="207864"/>
                    </a:lnTo>
                    <a:lnTo>
                      <a:pt x="2022850" y="206237"/>
                    </a:lnTo>
                    <a:lnTo>
                      <a:pt x="2035345" y="201139"/>
                    </a:lnTo>
                    <a:lnTo>
                      <a:pt x="2046148" y="197018"/>
                    </a:lnTo>
                    <a:lnTo>
                      <a:pt x="2046625" y="197083"/>
                    </a:lnTo>
                    <a:lnTo>
                      <a:pt x="2047493" y="197582"/>
                    </a:lnTo>
                    <a:lnTo>
                      <a:pt x="2048252" y="198428"/>
                    </a:lnTo>
                    <a:lnTo>
                      <a:pt x="2084608" y="196931"/>
                    </a:lnTo>
                    <a:lnTo>
                      <a:pt x="2085368" y="196562"/>
                    </a:lnTo>
                    <a:lnTo>
                      <a:pt x="2085411" y="195521"/>
                    </a:lnTo>
                    <a:lnTo>
                      <a:pt x="2088036" y="186237"/>
                    </a:lnTo>
                    <a:lnTo>
                      <a:pt x="2087862" y="181334"/>
                    </a:lnTo>
                    <a:lnTo>
                      <a:pt x="2086929" y="177516"/>
                    </a:lnTo>
                    <a:lnTo>
                      <a:pt x="2084912" y="173546"/>
                    </a:lnTo>
                    <a:lnTo>
                      <a:pt x="2085411" y="173351"/>
                    </a:lnTo>
                    <a:lnTo>
                      <a:pt x="2081354" y="168795"/>
                    </a:lnTo>
                    <a:lnTo>
                      <a:pt x="2085932" y="167343"/>
                    </a:lnTo>
                    <a:lnTo>
                      <a:pt x="2086994" y="167343"/>
                    </a:lnTo>
                    <a:lnTo>
                      <a:pt x="2093958" y="165433"/>
                    </a:lnTo>
                    <a:lnTo>
                      <a:pt x="2112549" y="158969"/>
                    </a:lnTo>
                    <a:lnTo>
                      <a:pt x="2113741" y="160249"/>
                    </a:lnTo>
                    <a:lnTo>
                      <a:pt x="2108622" y="162201"/>
                    </a:lnTo>
                    <a:lnTo>
                      <a:pt x="2106562" y="163156"/>
                    </a:lnTo>
                    <a:lnTo>
                      <a:pt x="2109056" y="168167"/>
                    </a:lnTo>
                    <a:lnTo>
                      <a:pt x="2111204" y="170748"/>
                    </a:lnTo>
                    <a:lnTo>
                      <a:pt x="2114197" y="175130"/>
                    </a:lnTo>
                    <a:lnTo>
                      <a:pt x="2118904" y="179490"/>
                    </a:lnTo>
                    <a:lnTo>
                      <a:pt x="2122614" y="183438"/>
                    </a:lnTo>
                    <a:lnTo>
                      <a:pt x="2130597" y="190749"/>
                    </a:lnTo>
                    <a:lnTo>
                      <a:pt x="2131833" y="191095"/>
                    </a:lnTo>
                    <a:lnTo>
                      <a:pt x="2135087" y="191161"/>
                    </a:lnTo>
                    <a:lnTo>
                      <a:pt x="2141421" y="190662"/>
                    </a:lnTo>
                    <a:lnTo>
                      <a:pt x="2145174" y="189881"/>
                    </a:lnTo>
                    <a:lnTo>
                      <a:pt x="2151096" y="188103"/>
                    </a:lnTo>
                    <a:lnTo>
                      <a:pt x="2154827" y="187386"/>
                    </a:lnTo>
                    <a:lnTo>
                      <a:pt x="2159817" y="186822"/>
                    </a:lnTo>
                    <a:lnTo>
                      <a:pt x="2165239" y="186345"/>
                    </a:lnTo>
                    <a:lnTo>
                      <a:pt x="2167625" y="186388"/>
                    </a:lnTo>
                    <a:lnTo>
                      <a:pt x="2170532" y="186692"/>
                    </a:lnTo>
                    <a:lnTo>
                      <a:pt x="2179969" y="185846"/>
                    </a:lnTo>
                    <a:lnTo>
                      <a:pt x="2181509" y="196388"/>
                    </a:lnTo>
                    <a:lnTo>
                      <a:pt x="2187930" y="194415"/>
                    </a:lnTo>
                    <a:lnTo>
                      <a:pt x="2188949" y="194262"/>
                    </a:lnTo>
                    <a:lnTo>
                      <a:pt x="2208646" y="193352"/>
                    </a:lnTo>
                    <a:lnTo>
                      <a:pt x="2241576" y="192158"/>
                    </a:lnTo>
                    <a:lnTo>
                      <a:pt x="2246587" y="191703"/>
                    </a:lnTo>
                    <a:lnTo>
                      <a:pt x="2275589" y="190835"/>
                    </a:lnTo>
                    <a:lnTo>
                      <a:pt x="2314158" y="188709"/>
                    </a:lnTo>
                    <a:lnTo>
                      <a:pt x="2347565" y="187646"/>
                    </a:lnTo>
                    <a:lnTo>
                      <a:pt x="2354159" y="187213"/>
                    </a:lnTo>
                    <a:lnTo>
                      <a:pt x="2374680" y="186692"/>
                    </a:lnTo>
                    <a:lnTo>
                      <a:pt x="2381600" y="186106"/>
                    </a:lnTo>
                    <a:lnTo>
                      <a:pt x="2393313" y="185802"/>
                    </a:lnTo>
                    <a:lnTo>
                      <a:pt x="2394356" y="185412"/>
                    </a:lnTo>
                    <a:lnTo>
                      <a:pt x="2397825" y="185369"/>
                    </a:lnTo>
                    <a:lnTo>
                      <a:pt x="2413965" y="184523"/>
                    </a:lnTo>
                    <a:lnTo>
                      <a:pt x="2419823" y="184024"/>
                    </a:lnTo>
                    <a:lnTo>
                      <a:pt x="2437805" y="183612"/>
                    </a:lnTo>
                    <a:lnTo>
                      <a:pt x="2439649" y="183698"/>
                    </a:lnTo>
                    <a:lnTo>
                      <a:pt x="2443944" y="183308"/>
                    </a:lnTo>
                    <a:lnTo>
                      <a:pt x="2460973" y="182440"/>
                    </a:lnTo>
                    <a:lnTo>
                      <a:pt x="2474747" y="181898"/>
                    </a:lnTo>
                    <a:lnTo>
                      <a:pt x="2488587" y="181681"/>
                    </a:lnTo>
                    <a:lnTo>
                      <a:pt x="2490561" y="181399"/>
                    </a:lnTo>
                    <a:lnTo>
                      <a:pt x="2491104" y="181183"/>
                    </a:lnTo>
                    <a:lnTo>
                      <a:pt x="2494509" y="180944"/>
                    </a:lnTo>
                    <a:lnTo>
                      <a:pt x="2508631" y="180879"/>
                    </a:lnTo>
                    <a:lnTo>
                      <a:pt x="2512861" y="180315"/>
                    </a:lnTo>
                    <a:lnTo>
                      <a:pt x="2518349" y="179902"/>
                    </a:lnTo>
                    <a:lnTo>
                      <a:pt x="2536073" y="179534"/>
                    </a:lnTo>
                    <a:lnTo>
                      <a:pt x="2543512" y="178839"/>
                    </a:lnTo>
                    <a:lnTo>
                      <a:pt x="2558328" y="178102"/>
                    </a:lnTo>
                    <a:lnTo>
                      <a:pt x="2559955" y="177777"/>
                    </a:lnTo>
                    <a:lnTo>
                      <a:pt x="2561842" y="176778"/>
                    </a:lnTo>
                    <a:lnTo>
                      <a:pt x="2569153" y="173893"/>
                    </a:lnTo>
                    <a:lnTo>
                      <a:pt x="2580238" y="169165"/>
                    </a:lnTo>
                    <a:lnTo>
                      <a:pt x="2583318" y="167690"/>
                    </a:lnTo>
                    <a:lnTo>
                      <a:pt x="2605010" y="158231"/>
                    </a:lnTo>
                    <a:lnTo>
                      <a:pt x="2612473" y="155151"/>
                    </a:lnTo>
                    <a:lnTo>
                      <a:pt x="2614902" y="154349"/>
                    </a:lnTo>
                    <a:lnTo>
                      <a:pt x="2616291" y="153611"/>
                    </a:lnTo>
                    <a:lnTo>
                      <a:pt x="2618525" y="152917"/>
                    </a:lnTo>
                    <a:lnTo>
                      <a:pt x="2624556" y="150075"/>
                    </a:lnTo>
                    <a:lnTo>
                      <a:pt x="2629155" y="148253"/>
                    </a:lnTo>
                    <a:lnTo>
                      <a:pt x="2632300" y="146431"/>
                    </a:lnTo>
                    <a:lnTo>
                      <a:pt x="2643298" y="141983"/>
                    </a:lnTo>
                    <a:lnTo>
                      <a:pt x="2645771" y="140509"/>
                    </a:lnTo>
                    <a:lnTo>
                      <a:pt x="2653645" y="137559"/>
                    </a:lnTo>
                    <a:lnTo>
                      <a:pt x="2663146" y="133481"/>
                    </a:lnTo>
                    <a:lnTo>
                      <a:pt x="2664556" y="133134"/>
                    </a:lnTo>
                    <a:lnTo>
                      <a:pt x="2666291" y="132439"/>
                    </a:lnTo>
                    <a:lnTo>
                      <a:pt x="2670608" y="130617"/>
                    </a:lnTo>
                    <a:lnTo>
                      <a:pt x="2673819" y="128904"/>
                    </a:lnTo>
                    <a:lnTo>
                      <a:pt x="2686531" y="123915"/>
                    </a:lnTo>
                    <a:lnTo>
                      <a:pt x="2690696" y="121767"/>
                    </a:lnTo>
                    <a:lnTo>
                      <a:pt x="2700913" y="117319"/>
                    </a:lnTo>
                    <a:lnTo>
                      <a:pt x="2711521" y="113111"/>
                    </a:lnTo>
                    <a:lnTo>
                      <a:pt x="2723604" y="107406"/>
                    </a:lnTo>
                    <a:lnTo>
                      <a:pt x="2736250" y="102547"/>
                    </a:lnTo>
                    <a:lnTo>
                      <a:pt x="2738376" y="101245"/>
                    </a:lnTo>
                    <a:lnTo>
                      <a:pt x="2756315" y="93653"/>
                    </a:lnTo>
                    <a:lnTo>
                      <a:pt x="2760415" y="92092"/>
                    </a:lnTo>
                    <a:lnTo>
                      <a:pt x="2805514" y="131680"/>
                    </a:lnTo>
                    <a:lnTo>
                      <a:pt x="2845667" y="167299"/>
                    </a:lnTo>
                    <a:lnTo>
                      <a:pt x="2857272" y="177148"/>
                    </a:lnTo>
                    <a:lnTo>
                      <a:pt x="2865797" y="171269"/>
                    </a:lnTo>
                    <a:lnTo>
                      <a:pt x="2869919" y="168709"/>
                    </a:lnTo>
                    <a:lnTo>
                      <a:pt x="2871741" y="167907"/>
                    </a:lnTo>
                    <a:lnTo>
                      <a:pt x="2894865" y="168189"/>
                    </a:lnTo>
                    <a:lnTo>
                      <a:pt x="2898596" y="167820"/>
                    </a:lnTo>
                    <a:lnTo>
                      <a:pt x="2900614" y="167060"/>
                    </a:lnTo>
                    <a:lnTo>
                      <a:pt x="2902436" y="165628"/>
                    </a:lnTo>
                    <a:lnTo>
                      <a:pt x="2910788" y="158166"/>
                    </a:lnTo>
                    <a:lnTo>
                      <a:pt x="2918423" y="150639"/>
                    </a:lnTo>
                    <a:lnTo>
                      <a:pt x="2924432" y="145412"/>
                    </a:lnTo>
                    <a:lnTo>
                      <a:pt x="2928011" y="141983"/>
                    </a:lnTo>
                    <a:lnTo>
                      <a:pt x="2928923" y="140769"/>
                    </a:lnTo>
                    <a:lnTo>
                      <a:pt x="2929139" y="139489"/>
                    </a:lnTo>
                    <a:lnTo>
                      <a:pt x="2928814" y="134934"/>
                    </a:lnTo>
                    <a:lnTo>
                      <a:pt x="2927773" y="126625"/>
                    </a:lnTo>
                    <a:lnTo>
                      <a:pt x="2927924" y="124304"/>
                    </a:lnTo>
                    <a:lnTo>
                      <a:pt x="2929790" y="119033"/>
                    </a:lnTo>
                    <a:lnTo>
                      <a:pt x="2930158" y="119033"/>
                    </a:lnTo>
                    <a:lnTo>
                      <a:pt x="2929942" y="119510"/>
                    </a:lnTo>
                    <a:lnTo>
                      <a:pt x="2931026" y="119880"/>
                    </a:lnTo>
                    <a:lnTo>
                      <a:pt x="2930767" y="121008"/>
                    </a:lnTo>
                    <a:lnTo>
                      <a:pt x="2949899" y="121636"/>
                    </a:lnTo>
                    <a:lnTo>
                      <a:pt x="2950115" y="121072"/>
                    </a:lnTo>
                    <a:lnTo>
                      <a:pt x="2950724" y="120660"/>
                    </a:lnTo>
                    <a:lnTo>
                      <a:pt x="2953305" y="120422"/>
                    </a:lnTo>
                    <a:lnTo>
                      <a:pt x="2957578" y="120508"/>
                    </a:lnTo>
                    <a:lnTo>
                      <a:pt x="2967123" y="121029"/>
                    </a:lnTo>
                    <a:lnTo>
                      <a:pt x="2975605" y="120747"/>
                    </a:lnTo>
                    <a:lnTo>
                      <a:pt x="2984042" y="121029"/>
                    </a:lnTo>
                    <a:lnTo>
                      <a:pt x="2995193" y="121680"/>
                    </a:lnTo>
                    <a:lnTo>
                      <a:pt x="3002634" y="120964"/>
                    </a:lnTo>
                    <a:lnTo>
                      <a:pt x="3008382" y="120768"/>
                    </a:lnTo>
                    <a:lnTo>
                      <a:pt x="3012547" y="120444"/>
                    </a:lnTo>
                    <a:lnTo>
                      <a:pt x="3016474" y="120508"/>
                    </a:lnTo>
                    <a:lnTo>
                      <a:pt x="3016950" y="120726"/>
                    </a:lnTo>
                    <a:lnTo>
                      <a:pt x="3018296" y="120790"/>
                    </a:lnTo>
                    <a:lnTo>
                      <a:pt x="3032200" y="120812"/>
                    </a:lnTo>
                    <a:lnTo>
                      <a:pt x="3033979" y="120704"/>
                    </a:lnTo>
                    <a:lnTo>
                      <a:pt x="3034044" y="120205"/>
                    </a:lnTo>
                    <a:lnTo>
                      <a:pt x="3036690" y="120335"/>
                    </a:lnTo>
                    <a:lnTo>
                      <a:pt x="3038101" y="119663"/>
                    </a:lnTo>
                    <a:lnTo>
                      <a:pt x="3040877" y="119749"/>
                    </a:lnTo>
                    <a:lnTo>
                      <a:pt x="3041137" y="120096"/>
                    </a:lnTo>
                    <a:lnTo>
                      <a:pt x="3071247" y="120942"/>
                    </a:lnTo>
                    <a:lnTo>
                      <a:pt x="3116758" y="121332"/>
                    </a:lnTo>
                    <a:lnTo>
                      <a:pt x="3119729" y="121311"/>
                    </a:lnTo>
                    <a:lnTo>
                      <a:pt x="3125044" y="120921"/>
                    </a:lnTo>
                    <a:lnTo>
                      <a:pt x="3129707" y="120986"/>
                    </a:lnTo>
                    <a:lnTo>
                      <a:pt x="3136303" y="121354"/>
                    </a:lnTo>
                    <a:lnTo>
                      <a:pt x="3139838" y="121116"/>
                    </a:lnTo>
                    <a:lnTo>
                      <a:pt x="3140446" y="120704"/>
                    </a:lnTo>
                    <a:lnTo>
                      <a:pt x="3143374" y="121507"/>
                    </a:lnTo>
                    <a:lnTo>
                      <a:pt x="3152615" y="123957"/>
                    </a:lnTo>
                    <a:lnTo>
                      <a:pt x="3162702" y="127493"/>
                    </a:lnTo>
                    <a:lnTo>
                      <a:pt x="3169362" y="130031"/>
                    </a:lnTo>
                    <a:lnTo>
                      <a:pt x="3212508" y="145520"/>
                    </a:lnTo>
                    <a:lnTo>
                      <a:pt x="3231294" y="152483"/>
                    </a:lnTo>
                    <a:lnTo>
                      <a:pt x="3266566" y="164935"/>
                    </a:lnTo>
                    <a:lnTo>
                      <a:pt x="3272964" y="167516"/>
                    </a:lnTo>
                    <a:lnTo>
                      <a:pt x="3291165" y="173915"/>
                    </a:lnTo>
                    <a:lnTo>
                      <a:pt x="3295546" y="175217"/>
                    </a:lnTo>
                    <a:lnTo>
                      <a:pt x="3309712" y="180402"/>
                    </a:lnTo>
                    <a:lnTo>
                      <a:pt x="3318367" y="183287"/>
                    </a:lnTo>
                    <a:lnTo>
                      <a:pt x="3330905" y="187907"/>
                    </a:lnTo>
                    <a:lnTo>
                      <a:pt x="3344203" y="192462"/>
                    </a:lnTo>
                    <a:lnTo>
                      <a:pt x="3358411" y="197886"/>
                    </a:lnTo>
                    <a:lnTo>
                      <a:pt x="3359171" y="197950"/>
                    </a:lnTo>
                    <a:lnTo>
                      <a:pt x="3367674" y="200900"/>
                    </a:lnTo>
                    <a:lnTo>
                      <a:pt x="3379583" y="205283"/>
                    </a:lnTo>
                    <a:lnTo>
                      <a:pt x="3400234" y="212571"/>
                    </a:lnTo>
                    <a:lnTo>
                      <a:pt x="3406482" y="214979"/>
                    </a:lnTo>
                    <a:lnTo>
                      <a:pt x="3433814" y="224567"/>
                    </a:lnTo>
                    <a:lnTo>
                      <a:pt x="3440647" y="227474"/>
                    </a:lnTo>
                    <a:lnTo>
                      <a:pt x="3457654" y="233461"/>
                    </a:lnTo>
                    <a:lnTo>
                      <a:pt x="3459931" y="234199"/>
                    </a:lnTo>
                    <a:lnTo>
                      <a:pt x="3461277" y="234415"/>
                    </a:lnTo>
                    <a:lnTo>
                      <a:pt x="3462514" y="234980"/>
                    </a:lnTo>
                    <a:lnTo>
                      <a:pt x="3467351" y="236432"/>
                    </a:lnTo>
                    <a:lnTo>
                      <a:pt x="3490085" y="244654"/>
                    </a:lnTo>
                    <a:lnTo>
                      <a:pt x="3518024" y="254264"/>
                    </a:lnTo>
                    <a:lnTo>
                      <a:pt x="3523382" y="256260"/>
                    </a:lnTo>
                    <a:lnTo>
                      <a:pt x="3523491" y="256129"/>
                    </a:lnTo>
                    <a:lnTo>
                      <a:pt x="3531973" y="259189"/>
                    </a:lnTo>
                    <a:lnTo>
                      <a:pt x="3536485" y="257691"/>
                    </a:lnTo>
                    <a:lnTo>
                      <a:pt x="3537266" y="257540"/>
                    </a:lnTo>
                    <a:lnTo>
                      <a:pt x="3538632" y="257778"/>
                    </a:lnTo>
                    <a:lnTo>
                      <a:pt x="3540889" y="255978"/>
                    </a:lnTo>
                    <a:lnTo>
                      <a:pt x="3549847" y="252269"/>
                    </a:lnTo>
                    <a:lnTo>
                      <a:pt x="3555964" y="249405"/>
                    </a:lnTo>
                    <a:lnTo>
                      <a:pt x="3569283" y="243873"/>
                    </a:lnTo>
                    <a:lnTo>
                      <a:pt x="3574945" y="242203"/>
                    </a:lnTo>
                    <a:lnTo>
                      <a:pt x="3577701" y="240988"/>
                    </a:lnTo>
                    <a:lnTo>
                      <a:pt x="3579414" y="239665"/>
                    </a:lnTo>
                    <a:lnTo>
                      <a:pt x="3581085" y="237517"/>
                    </a:lnTo>
                    <a:lnTo>
                      <a:pt x="3595922" y="215608"/>
                    </a:lnTo>
                    <a:lnTo>
                      <a:pt x="3598698" y="214307"/>
                    </a:lnTo>
                    <a:lnTo>
                      <a:pt x="3601432" y="213373"/>
                    </a:lnTo>
                    <a:lnTo>
                      <a:pt x="3605857" y="212289"/>
                    </a:lnTo>
                    <a:lnTo>
                      <a:pt x="3612842" y="215716"/>
                    </a:lnTo>
                    <a:lnTo>
                      <a:pt x="3622387" y="222137"/>
                    </a:lnTo>
                    <a:lnTo>
                      <a:pt x="3640391" y="230858"/>
                    </a:lnTo>
                    <a:lnTo>
                      <a:pt x="3648093" y="233005"/>
                    </a:lnTo>
                    <a:lnTo>
                      <a:pt x="3663885" y="236172"/>
                    </a:lnTo>
                    <a:lnTo>
                      <a:pt x="3675382" y="236867"/>
                    </a:lnTo>
                    <a:lnTo>
                      <a:pt x="3678093" y="236997"/>
                    </a:lnTo>
                    <a:lnTo>
                      <a:pt x="3692910" y="235500"/>
                    </a:lnTo>
                    <a:lnTo>
                      <a:pt x="3702475" y="236259"/>
                    </a:lnTo>
                    <a:lnTo>
                      <a:pt x="3711890" y="237409"/>
                    </a:lnTo>
                    <a:lnTo>
                      <a:pt x="3720936" y="239383"/>
                    </a:lnTo>
                    <a:lnTo>
                      <a:pt x="3728377" y="241705"/>
                    </a:lnTo>
                    <a:lnTo>
                      <a:pt x="3752195" y="251444"/>
                    </a:lnTo>
                    <a:lnTo>
                      <a:pt x="3759461" y="256628"/>
                    </a:lnTo>
                    <a:lnTo>
                      <a:pt x="3765687" y="263548"/>
                    </a:lnTo>
                    <a:lnTo>
                      <a:pt x="3777206" y="280794"/>
                    </a:lnTo>
                    <a:lnTo>
                      <a:pt x="3781913" y="288538"/>
                    </a:lnTo>
                    <a:lnTo>
                      <a:pt x="3786620" y="299450"/>
                    </a:lnTo>
                    <a:lnTo>
                      <a:pt x="3788899" y="307562"/>
                    </a:lnTo>
                    <a:lnTo>
                      <a:pt x="3789636" y="312335"/>
                    </a:lnTo>
                    <a:lnTo>
                      <a:pt x="3790177" y="321098"/>
                    </a:lnTo>
                    <a:lnTo>
                      <a:pt x="3788790" y="333289"/>
                    </a:lnTo>
                    <a:lnTo>
                      <a:pt x="3841828" y="319537"/>
                    </a:lnTo>
                    <a:lnTo>
                      <a:pt x="3863043" y="310686"/>
                    </a:lnTo>
                    <a:lnTo>
                      <a:pt x="3875971" y="300100"/>
                    </a:lnTo>
                    <a:lnTo>
                      <a:pt x="3883368" y="286217"/>
                    </a:lnTo>
                    <a:lnTo>
                      <a:pt x="3891264" y="280881"/>
                    </a:lnTo>
                    <a:lnTo>
                      <a:pt x="3897296" y="277757"/>
                    </a:lnTo>
                    <a:lnTo>
                      <a:pt x="3901460" y="276716"/>
                    </a:lnTo>
                    <a:lnTo>
                      <a:pt x="3906493" y="276238"/>
                    </a:lnTo>
                    <a:lnTo>
                      <a:pt x="3915127" y="276347"/>
                    </a:lnTo>
                    <a:lnTo>
                      <a:pt x="3924672" y="277736"/>
                    </a:lnTo>
                    <a:lnTo>
                      <a:pt x="3936949" y="280251"/>
                    </a:lnTo>
                    <a:lnTo>
                      <a:pt x="3947687" y="283440"/>
                    </a:lnTo>
                    <a:lnTo>
                      <a:pt x="3991484" y="295588"/>
                    </a:lnTo>
                    <a:lnTo>
                      <a:pt x="4020140" y="298560"/>
                    </a:lnTo>
                    <a:lnTo>
                      <a:pt x="4060922" y="304200"/>
                    </a:lnTo>
                    <a:lnTo>
                      <a:pt x="4091421" y="312313"/>
                    </a:lnTo>
                    <a:lnTo>
                      <a:pt x="4203809" y="344439"/>
                    </a:lnTo>
                    <a:lnTo>
                      <a:pt x="4241729" y="341207"/>
                    </a:lnTo>
                    <a:lnTo>
                      <a:pt x="4276349" y="335524"/>
                    </a:lnTo>
                    <a:lnTo>
                      <a:pt x="4332034" y="326153"/>
                    </a:lnTo>
                    <a:lnTo>
                      <a:pt x="4389910" y="313896"/>
                    </a:lnTo>
                    <a:lnTo>
                      <a:pt x="4483903" y="321575"/>
                    </a:lnTo>
                    <a:lnTo>
                      <a:pt x="4494033" y="321793"/>
                    </a:lnTo>
                    <a:lnTo>
                      <a:pt x="4507743" y="319949"/>
                    </a:lnTo>
                    <a:lnTo>
                      <a:pt x="4518459" y="316175"/>
                    </a:lnTo>
                    <a:lnTo>
                      <a:pt x="4533622" y="309167"/>
                    </a:lnTo>
                    <a:lnTo>
                      <a:pt x="4543275" y="305025"/>
                    </a:lnTo>
                    <a:lnTo>
                      <a:pt x="4555987" y="298669"/>
                    </a:lnTo>
                    <a:lnTo>
                      <a:pt x="4610716" y="313181"/>
                    </a:lnTo>
                    <a:lnTo>
                      <a:pt x="4617984" y="313463"/>
                    </a:lnTo>
                    <a:lnTo>
                      <a:pt x="4653712" y="329407"/>
                    </a:lnTo>
                    <a:lnTo>
                      <a:pt x="4747943" y="372445"/>
                    </a:lnTo>
                    <a:lnTo>
                      <a:pt x="4854237" y="918747"/>
                    </a:lnTo>
                    <a:lnTo>
                      <a:pt x="4592560" y="1005105"/>
                    </a:lnTo>
                    <a:lnTo>
                      <a:pt x="4272185" y="1106040"/>
                    </a:lnTo>
                    <a:lnTo>
                      <a:pt x="4010617" y="1188254"/>
                    </a:lnTo>
                    <a:lnTo>
                      <a:pt x="3954412" y="1206238"/>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latin typeface="+mn-lt"/>
                  <a:cs typeface="+mn-cs"/>
                </a:endParaRPr>
              </a:p>
            </p:txBody>
          </p:sp>
          <p:sp>
            <p:nvSpPr>
              <p:cNvPr id="96" name="Freeform: Shape 95">
                <a:extLst>
                  <a:ext uri="{FF2B5EF4-FFF2-40B4-BE49-F238E27FC236}">
                    <a16:creationId xmlns:a16="http://schemas.microsoft.com/office/drawing/2014/main" id="{78660C12-FC95-46B9-B8EC-5D1375CEBEAC}"/>
                  </a:ext>
                </a:extLst>
              </p:cNvPr>
              <p:cNvSpPr/>
              <p:nvPr/>
            </p:nvSpPr>
            <p:spPr>
              <a:xfrm rot="181754">
                <a:off x="6027505" y="4671907"/>
                <a:ext cx="570834" cy="495345"/>
              </a:xfrm>
              <a:custGeom>
                <a:avLst/>
                <a:gdLst>
                  <a:gd name="connsiteX0" fmla="*/ 2007492 w 2009775"/>
                  <a:gd name="connsiteY0" fmla="*/ 629783 h 1162050"/>
                  <a:gd name="connsiteX1" fmla="*/ 1976277 w 2009775"/>
                  <a:gd name="connsiteY1" fmla="*/ 629327 h 1162050"/>
                  <a:gd name="connsiteX2" fmla="*/ 1960115 w 2009775"/>
                  <a:gd name="connsiteY2" fmla="*/ 628763 h 1162050"/>
                  <a:gd name="connsiteX3" fmla="*/ 1954216 w 2009775"/>
                  <a:gd name="connsiteY3" fmla="*/ 628394 h 1162050"/>
                  <a:gd name="connsiteX4" fmla="*/ 1943478 w 2009775"/>
                  <a:gd name="connsiteY4" fmla="*/ 627397 h 1162050"/>
                  <a:gd name="connsiteX5" fmla="*/ 1937231 w 2009775"/>
                  <a:gd name="connsiteY5" fmla="*/ 626724 h 1162050"/>
                  <a:gd name="connsiteX6" fmla="*/ 1927143 w 2009775"/>
                  <a:gd name="connsiteY6" fmla="*/ 625314 h 1162050"/>
                  <a:gd name="connsiteX7" fmla="*/ 1911742 w 2009775"/>
                  <a:gd name="connsiteY7" fmla="*/ 622668 h 1162050"/>
                  <a:gd name="connsiteX8" fmla="*/ 1902305 w 2009775"/>
                  <a:gd name="connsiteY8" fmla="*/ 620628 h 1162050"/>
                  <a:gd name="connsiteX9" fmla="*/ 1902110 w 2009775"/>
                  <a:gd name="connsiteY9" fmla="*/ 620585 h 1162050"/>
                  <a:gd name="connsiteX10" fmla="*/ 1902544 w 2009775"/>
                  <a:gd name="connsiteY10" fmla="*/ 619738 h 1162050"/>
                  <a:gd name="connsiteX11" fmla="*/ 1895754 w 2009775"/>
                  <a:gd name="connsiteY11" fmla="*/ 618047 h 1162050"/>
                  <a:gd name="connsiteX12" fmla="*/ 1889355 w 2009775"/>
                  <a:gd name="connsiteY12" fmla="*/ 616225 h 1162050"/>
                  <a:gd name="connsiteX13" fmla="*/ 1870656 w 2009775"/>
                  <a:gd name="connsiteY13" fmla="*/ 610173 h 1162050"/>
                  <a:gd name="connsiteX14" fmla="*/ 1864625 w 2009775"/>
                  <a:gd name="connsiteY14" fmla="*/ 607722 h 1162050"/>
                  <a:gd name="connsiteX15" fmla="*/ 1859723 w 2009775"/>
                  <a:gd name="connsiteY15" fmla="*/ 606094 h 1162050"/>
                  <a:gd name="connsiteX16" fmla="*/ 1849614 w 2009775"/>
                  <a:gd name="connsiteY16" fmla="*/ 603317 h 1162050"/>
                  <a:gd name="connsiteX17" fmla="*/ 1848812 w 2009775"/>
                  <a:gd name="connsiteY17" fmla="*/ 605205 h 1162050"/>
                  <a:gd name="connsiteX18" fmla="*/ 1841133 w 2009775"/>
                  <a:gd name="connsiteY18" fmla="*/ 604966 h 1162050"/>
                  <a:gd name="connsiteX19" fmla="*/ 1826816 w 2009775"/>
                  <a:gd name="connsiteY19" fmla="*/ 604597 h 1162050"/>
                  <a:gd name="connsiteX20" fmla="*/ 1815449 w 2009775"/>
                  <a:gd name="connsiteY20" fmla="*/ 605378 h 1162050"/>
                  <a:gd name="connsiteX21" fmla="*/ 1810329 w 2009775"/>
                  <a:gd name="connsiteY21" fmla="*/ 605986 h 1162050"/>
                  <a:gd name="connsiteX22" fmla="*/ 1806511 w 2009775"/>
                  <a:gd name="connsiteY22" fmla="*/ 606659 h 1162050"/>
                  <a:gd name="connsiteX23" fmla="*/ 1800351 w 2009775"/>
                  <a:gd name="connsiteY23" fmla="*/ 608091 h 1162050"/>
                  <a:gd name="connsiteX24" fmla="*/ 1795470 w 2009775"/>
                  <a:gd name="connsiteY24" fmla="*/ 609478 h 1162050"/>
                  <a:gd name="connsiteX25" fmla="*/ 1789548 w 2009775"/>
                  <a:gd name="connsiteY25" fmla="*/ 611886 h 1162050"/>
                  <a:gd name="connsiteX26" fmla="*/ 1781131 w 2009775"/>
                  <a:gd name="connsiteY26" fmla="*/ 616485 h 1162050"/>
                  <a:gd name="connsiteX27" fmla="*/ 1779895 w 2009775"/>
                  <a:gd name="connsiteY27" fmla="*/ 617352 h 1162050"/>
                  <a:gd name="connsiteX28" fmla="*/ 1776706 w 2009775"/>
                  <a:gd name="connsiteY28" fmla="*/ 619869 h 1162050"/>
                  <a:gd name="connsiteX29" fmla="*/ 1771499 w 2009775"/>
                  <a:gd name="connsiteY29" fmla="*/ 625293 h 1162050"/>
                  <a:gd name="connsiteX30" fmla="*/ 1765729 w 2009775"/>
                  <a:gd name="connsiteY30" fmla="*/ 630499 h 1162050"/>
                  <a:gd name="connsiteX31" fmla="*/ 1759721 w 2009775"/>
                  <a:gd name="connsiteY31" fmla="*/ 635140 h 1162050"/>
                  <a:gd name="connsiteX32" fmla="*/ 1755252 w 2009775"/>
                  <a:gd name="connsiteY32" fmla="*/ 637657 h 1162050"/>
                  <a:gd name="connsiteX33" fmla="*/ 1744709 w 2009775"/>
                  <a:gd name="connsiteY33" fmla="*/ 642191 h 1162050"/>
                  <a:gd name="connsiteX34" fmla="*/ 1739960 w 2009775"/>
                  <a:gd name="connsiteY34" fmla="*/ 643948 h 1162050"/>
                  <a:gd name="connsiteX35" fmla="*/ 1734558 w 2009775"/>
                  <a:gd name="connsiteY35" fmla="*/ 645640 h 1162050"/>
                  <a:gd name="connsiteX36" fmla="*/ 1729547 w 2009775"/>
                  <a:gd name="connsiteY36" fmla="*/ 646833 h 1162050"/>
                  <a:gd name="connsiteX37" fmla="*/ 1725186 w 2009775"/>
                  <a:gd name="connsiteY37" fmla="*/ 647657 h 1162050"/>
                  <a:gd name="connsiteX38" fmla="*/ 1720935 w 2009775"/>
                  <a:gd name="connsiteY38" fmla="*/ 648394 h 1162050"/>
                  <a:gd name="connsiteX39" fmla="*/ 1712648 w 2009775"/>
                  <a:gd name="connsiteY39" fmla="*/ 649479 h 1162050"/>
                  <a:gd name="connsiteX40" fmla="*/ 1711346 w 2009775"/>
                  <a:gd name="connsiteY40" fmla="*/ 650043 h 1162050"/>
                  <a:gd name="connsiteX41" fmla="*/ 1709481 w 2009775"/>
                  <a:gd name="connsiteY41" fmla="*/ 651779 h 1162050"/>
                  <a:gd name="connsiteX42" fmla="*/ 1708332 w 2009775"/>
                  <a:gd name="connsiteY42" fmla="*/ 653449 h 1162050"/>
                  <a:gd name="connsiteX43" fmla="*/ 1707160 w 2009775"/>
                  <a:gd name="connsiteY43" fmla="*/ 657418 h 1162050"/>
                  <a:gd name="connsiteX44" fmla="*/ 1705685 w 2009775"/>
                  <a:gd name="connsiteY44" fmla="*/ 661150 h 1162050"/>
                  <a:gd name="connsiteX45" fmla="*/ 1703798 w 2009775"/>
                  <a:gd name="connsiteY45" fmla="*/ 664252 h 1162050"/>
                  <a:gd name="connsiteX46" fmla="*/ 1699828 w 2009775"/>
                  <a:gd name="connsiteY46" fmla="*/ 668829 h 1162050"/>
                  <a:gd name="connsiteX47" fmla="*/ 1693233 w 2009775"/>
                  <a:gd name="connsiteY47" fmla="*/ 674882 h 1162050"/>
                  <a:gd name="connsiteX48" fmla="*/ 1654361 w 2009775"/>
                  <a:gd name="connsiteY48" fmla="*/ 717940 h 1162050"/>
                  <a:gd name="connsiteX49" fmla="*/ 1623340 w 2009775"/>
                  <a:gd name="connsiteY49" fmla="*/ 715425 h 1162050"/>
                  <a:gd name="connsiteX50" fmla="*/ 1621844 w 2009775"/>
                  <a:gd name="connsiteY50" fmla="*/ 719069 h 1162050"/>
                  <a:gd name="connsiteX51" fmla="*/ 1619935 w 2009775"/>
                  <a:gd name="connsiteY51" fmla="*/ 722887 h 1162050"/>
                  <a:gd name="connsiteX52" fmla="*/ 1613970 w 2009775"/>
                  <a:gd name="connsiteY52" fmla="*/ 733711 h 1162050"/>
                  <a:gd name="connsiteX53" fmla="*/ 1610542 w 2009775"/>
                  <a:gd name="connsiteY53" fmla="*/ 738939 h 1162050"/>
                  <a:gd name="connsiteX54" fmla="*/ 1610281 w 2009775"/>
                  <a:gd name="connsiteY54" fmla="*/ 739720 h 1162050"/>
                  <a:gd name="connsiteX55" fmla="*/ 1610195 w 2009775"/>
                  <a:gd name="connsiteY55" fmla="*/ 753603 h 1162050"/>
                  <a:gd name="connsiteX56" fmla="*/ 1610563 w 2009775"/>
                  <a:gd name="connsiteY56" fmla="*/ 761261 h 1162050"/>
                  <a:gd name="connsiteX57" fmla="*/ 1610434 w 2009775"/>
                  <a:gd name="connsiteY57" fmla="*/ 767964 h 1162050"/>
                  <a:gd name="connsiteX58" fmla="*/ 1610152 w 2009775"/>
                  <a:gd name="connsiteY58" fmla="*/ 768441 h 1162050"/>
                  <a:gd name="connsiteX59" fmla="*/ 1609154 w 2009775"/>
                  <a:gd name="connsiteY59" fmla="*/ 768940 h 1162050"/>
                  <a:gd name="connsiteX60" fmla="*/ 1607614 w 2009775"/>
                  <a:gd name="connsiteY60" fmla="*/ 769417 h 1162050"/>
                  <a:gd name="connsiteX61" fmla="*/ 1601258 w 2009775"/>
                  <a:gd name="connsiteY61" fmla="*/ 768853 h 1162050"/>
                  <a:gd name="connsiteX62" fmla="*/ 1596463 w 2009775"/>
                  <a:gd name="connsiteY62" fmla="*/ 768874 h 1162050"/>
                  <a:gd name="connsiteX63" fmla="*/ 1594034 w 2009775"/>
                  <a:gd name="connsiteY63" fmla="*/ 769091 h 1162050"/>
                  <a:gd name="connsiteX64" fmla="*/ 1591843 w 2009775"/>
                  <a:gd name="connsiteY64" fmla="*/ 769395 h 1162050"/>
                  <a:gd name="connsiteX65" fmla="*/ 1585661 w 2009775"/>
                  <a:gd name="connsiteY65" fmla="*/ 771326 h 1162050"/>
                  <a:gd name="connsiteX66" fmla="*/ 1580324 w 2009775"/>
                  <a:gd name="connsiteY66" fmla="*/ 772476 h 1162050"/>
                  <a:gd name="connsiteX67" fmla="*/ 1580324 w 2009775"/>
                  <a:gd name="connsiteY67" fmla="*/ 775838 h 1162050"/>
                  <a:gd name="connsiteX68" fmla="*/ 1580042 w 2009775"/>
                  <a:gd name="connsiteY68" fmla="*/ 778397 h 1162050"/>
                  <a:gd name="connsiteX69" fmla="*/ 1580368 w 2009775"/>
                  <a:gd name="connsiteY69" fmla="*/ 783604 h 1162050"/>
                  <a:gd name="connsiteX70" fmla="*/ 1579739 w 2009775"/>
                  <a:gd name="connsiteY70" fmla="*/ 807205 h 1162050"/>
                  <a:gd name="connsiteX71" fmla="*/ 1579891 w 2009775"/>
                  <a:gd name="connsiteY71" fmla="*/ 808593 h 1162050"/>
                  <a:gd name="connsiteX72" fmla="*/ 1579521 w 2009775"/>
                  <a:gd name="connsiteY72" fmla="*/ 826034 h 1162050"/>
                  <a:gd name="connsiteX73" fmla="*/ 1579153 w 2009775"/>
                  <a:gd name="connsiteY73" fmla="*/ 831111 h 1162050"/>
                  <a:gd name="connsiteX74" fmla="*/ 1579239 w 2009775"/>
                  <a:gd name="connsiteY74" fmla="*/ 833735 h 1162050"/>
                  <a:gd name="connsiteX75" fmla="*/ 1579934 w 2009775"/>
                  <a:gd name="connsiteY75" fmla="*/ 836620 h 1162050"/>
                  <a:gd name="connsiteX76" fmla="*/ 1579673 w 2009775"/>
                  <a:gd name="connsiteY76" fmla="*/ 838355 h 1162050"/>
                  <a:gd name="connsiteX77" fmla="*/ 1578979 w 2009775"/>
                  <a:gd name="connsiteY77" fmla="*/ 839418 h 1162050"/>
                  <a:gd name="connsiteX78" fmla="*/ 1569933 w 2009775"/>
                  <a:gd name="connsiteY78" fmla="*/ 846143 h 1162050"/>
                  <a:gd name="connsiteX79" fmla="*/ 1569522 w 2009775"/>
                  <a:gd name="connsiteY79" fmla="*/ 846577 h 1162050"/>
                  <a:gd name="connsiteX80" fmla="*/ 1569066 w 2009775"/>
                  <a:gd name="connsiteY80" fmla="*/ 847770 h 1162050"/>
                  <a:gd name="connsiteX81" fmla="*/ 1567265 w 2009775"/>
                  <a:gd name="connsiteY81" fmla="*/ 849462 h 1162050"/>
                  <a:gd name="connsiteX82" fmla="*/ 1557851 w 2009775"/>
                  <a:gd name="connsiteY82" fmla="*/ 857553 h 1162050"/>
                  <a:gd name="connsiteX83" fmla="*/ 1554792 w 2009775"/>
                  <a:gd name="connsiteY83" fmla="*/ 859809 h 1162050"/>
                  <a:gd name="connsiteX84" fmla="*/ 1551863 w 2009775"/>
                  <a:gd name="connsiteY84" fmla="*/ 862630 h 1162050"/>
                  <a:gd name="connsiteX85" fmla="*/ 1523577 w 2009775"/>
                  <a:gd name="connsiteY85" fmla="*/ 886643 h 1162050"/>
                  <a:gd name="connsiteX86" fmla="*/ 1515160 w 2009775"/>
                  <a:gd name="connsiteY86" fmla="*/ 893975 h 1162050"/>
                  <a:gd name="connsiteX87" fmla="*/ 1514445 w 2009775"/>
                  <a:gd name="connsiteY87" fmla="*/ 894799 h 1162050"/>
                  <a:gd name="connsiteX88" fmla="*/ 1513359 w 2009775"/>
                  <a:gd name="connsiteY88" fmla="*/ 895255 h 1162050"/>
                  <a:gd name="connsiteX89" fmla="*/ 1511169 w 2009775"/>
                  <a:gd name="connsiteY89" fmla="*/ 894973 h 1162050"/>
                  <a:gd name="connsiteX90" fmla="*/ 1508717 w 2009775"/>
                  <a:gd name="connsiteY90" fmla="*/ 894929 h 1162050"/>
                  <a:gd name="connsiteX91" fmla="*/ 1508002 w 2009775"/>
                  <a:gd name="connsiteY91" fmla="*/ 896123 h 1162050"/>
                  <a:gd name="connsiteX92" fmla="*/ 1506591 w 2009775"/>
                  <a:gd name="connsiteY92" fmla="*/ 903498 h 1162050"/>
                  <a:gd name="connsiteX93" fmla="*/ 1503858 w 2009775"/>
                  <a:gd name="connsiteY93" fmla="*/ 903607 h 1162050"/>
                  <a:gd name="connsiteX94" fmla="*/ 1503012 w 2009775"/>
                  <a:gd name="connsiteY94" fmla="*/ 904170 h 1162050"/>
                  <a:gd name="connsiteX95" fmla="*/ 1491559 w 2009775"/>
                  <a:gd name="connsiteY95" fmla="*/ 914128 h 1162050"/>
                  <a:gd name="connsiteX96" fmla="*/ 1485398 w 2009775"/>
                  <a:gd name="connsiteY96" fmla="*/ 919117 h 1162050"/>
                  <a:gd name="connsiteX97" fmla="*/ 1443271 w 2009775"/>
                  <a:gd name="connsiteY97" fmla="*/ 916860 h 1162050"/>
                  <a:gd name="connsiteX98" fmla="*/ 1432122 w 2009775"/>
                  <a:gd name="connsiteY98" fmla="*/ 916687 h 1162050"/>
                  <a:gd name="connsiteX99" fmla="*/ 1412164 w 2009775"/>
                  <a:gd name="connsiteY99" fmla="*/ 915429 h 1162050"/>
                  <a:gd name="connsiteX100" fmla="*/ 1396285 w 2009775"/>
                  <a:gd name="connsiteY100" fmla="*/ 913953 h 1162050"/>
                  <a:gd name="connsiteX101" fmla="*/ 1380580 w 2009775"/>
                  <a:gd name="connsiteY101" fmla="*/ 912761 h 1162050"/>
                  <a:gd name="connsiteX102" fmla="*/ 1348540 w 2009775"/>
                  <a:gd name="connsiteY102" fmla="*/ 909681 h 1162050"/>
                  <a:gd name="connsiteX103" fmla="*/ 1332878 w 2009775"/>
                  <a:gd name="connsiteY103" fmla="*/ 908574 h 1162050"/>
                  <a:gd name="connsiteX104" fmla="*/ 1270534 w 2009775"/>
                  <a:gd name="connsiteY104" fmla="*/ 902239 h 1162050"/>
                  <a:gd name="connsiteX105" fmla="*/ 1217236 w 2009775"/>
                  <a:gd name="connsiteY105" fmla="*/ 896296 h 1162050"/>
                  <a:gd name="connsiteX106" fmla="*/ 1182376 w 2009775"/>
                  <a:gd name="connsiteY106" fmla="*/ 892023 h 1162050"/>
                  <a:gd name="connsiteX107" fmla="*/ 1179318 w 2009775"/>
                  <a:gd name="connsiteY107" fmla="*/ 895146 h 1162050"/>
                  <a:gd name="connsiteX108" fmla="*/ 1173244 w 2009775"/>
                  <a:gd name="connsiteY108" fmla="*/ 902348 h 1162050"/>
                  <a:gd name="connsiteX109" fmla="*/ 1170944 w 2009775"/>
                  <a:gd name="connsiteY109" fmla="*/ 904583 h 1162050"/>
                  <a:gd name="connsiteX110" fmla="*/ 1169600 w 2009775"/>
                  <a:gd name="connsiteY110" fmla="*/ 907208 h 1162050"/>
                  <a:gd name="connsiteX111" fmla="*/ 1168883 w 2009775"/>
                  <a:gd name="connsiteY111" fmla="*/ 907814 h 1162050"/>
                  <a:gd name="connsiteX112" fmla="*/ 1165934 w 2009775"/>
                  <a:gd name="connsiteY112" fmla="*/ 908899 h 1162050"/>
                  <a:gd name="connsiteX113" fmla="*/ 1163091 w 2009775"/>
                  <a:gd name="connsiteY113" fmla="*/ 910331 h 1162050"/>
                  <a:gd name="connsiteX114" fmla="*/ 1159816 w 2009775"/>
                  <a:gd name="connsiteY114" fmla="*/ 911589 h 1162050"/>
                  <a:gd name="connsiteX115" fmla="*/ 1157127 w 2009775"/>
                  <a:gd name="connsiteY115" fmla="*/ 912413 h 1162050"/>
                  <a:gd name="connsiteX116" fmla="*/ 1153829 w 2009775"/>
                  <a:gd name="connsiteY116" fmla="*/ 914106 h 1162050"/>
                  <a:gd name="connsiteX117" fmla="*/ 1150791 w 2009775"/>
                  <a:gd name="connsiteY117" fmla="*/ 915060 h 1162050"/>
                  <a:gd name="connsiteX118" fmla="*/ 1142440 w 2009775"/>
                  <a:gd name="connsiteY118" fmla="*/ 918465 h 1162050"/>
                  <a:gd name="connsiteX119" fmla="*/ 1135433 w 2009775"/>
                  <a:gd name="connsiteY119" fmla="*/ 921785 h 1162050"/>
                  <a:gd name="connsiteX120" fmla="*/ 1127104 w 2009775"/>
                  <a:gd name="connsiteY120" fmla="*/ 924517 h 1162050"/>
                  <a:gd name="connsiteX121" fmla="*/ 1115976 w 2009775"/>
                  <a:gd name="connsiteY121" fmla="*/ 929399 h 1162050"/>
                  <a:gd name="connsiteX122" fmla="*/ 1108752 w 2009775"/>
                  <a:gd name="connsiteY122" fmla="*/ 932305 h 1162050"/>
                  <a:gd name="connsiteX123" fmla="*/ 1101724 w 2009775"/>
                  <a:gd name="connsiteY123" fmla="*/ 935776 h 1162050"/>
                  <a:gd name="connsiteX124" fmla="*/ 1089706 w 2009775"/>
                  <a:gd name="connsiteY124" fmla="*/ 941243 h 1162050"/>
                  <a:gd name="connsiteX125" fmla="*/ 1075259 w 2009775"/>
                  <a:gd name="connsiteY125" fmla="*/ 946861 h 1162050"/>
                  <a:gd name="connsiteX126" fmla="*/ 1047298 w 2009775"/>
                  <a:gd name="connsiteY126" fmla="*/ 959269 h 1162050"/>
                  <a:gd name="connsiteX127" fmla="*/ 1028012 w 2009775"/>
                  <a:gd name="connsiteY127" fmla="*/ 968054 h 1162050"/>
                  <a:gd name="connsiteX128" fmla="*/ 1022068 w 2009775"/>
                  <a:gd name="connsiteY128" fmla="*/ 970462 h 1162050"/>
                  <a:gd name="connsiteX129" fmla="*/ 1018165 w 2009775"/>
                  <a:gd name="connsiteY129" fmla="*/ 972719 h 1162050"/>
                  <a:gd name="connsiteX130" fmla="*/ 1001071 w 2009775"/>
                  <a:gd name="connsiteY130" fmla="*/ 979335 h 1162050"/>
                  <a:gd name="connsiteX131" fmla="*/ 996472 w 2009775"/>
                  <a:gd name="connsiteY131" fmla="*/ 981894 h 1162050"/>
                  <a:gd name="connsiteX132" fmla="*/ 992914 w 2009775"/>
                  <a:gd name="connsiteY132" fmla="*/ 984779 h 1162050"/>
                  <a:gd name="connsiteX133" fmla="*/ 969942 w 2009775"/>
                  <a:gd name="connsiteY133" fmla="*/ 998814 h 1162050"/>
                  <a:gd name="connsiteX134" fmla="*/ 964454 w 2009775"/>
                  <a:gd name="connsiteY134" fmla="*/ 1001071 h 1162050"/>
                  <a:gd name="connsiteX135" fmla="*/ 959703 w 2009775"/>
                  <a:gd name="connsiteY135" fmla="*/ 1003457 h 1162050"/>
                  <a:gd name="connsiteX136" fmla="*/ 958162 w 2009775"/>
                  <a:gd name="connsiteY136" fmla="*/ 1004867 h 1162050"/>
                  <a:gd name="connsiteX137" fmla="*/ 956666 w 2009775"/>
                  <a:gd name="connsiteY137" fmla="*/ 1007470 h 1162050"/>
                  <a:gd name="connsiteX138" fmla="*/ 956036 w 2009775"/>
                  <a:gd name="connsiteY138" fmla="*/ 1007991 h 1162050"/>
                  <a:gd name="connsiteX139" fmla="*/ 953455 w 2009775"/>
                  <a:gd name="connsiteY139" fmla="*/ 1008641 h 1162050"/>
                  <a:gd name="connsiteX140" fmla="*/ 950636 w 2009775"/>
                  <a:gd name="connsiteY140" fmla="*/ 1009640 h 1162050"/>
                  <a:gd name="connsiteX141" fmla="*/ 946058 w 2009775"/>
                  <a:gd name="connsiteY141" fmla="*/ 1011787 h 1162050"/>
                  <a:gd name="connsiteX142" fmla="*/ 941351 w 2009775"/>
                  <a:gd name="connsiteY142" fmla="*/ 1014607 h 1162050"/>
                  <a:gd name="connsiteX143" fmla="*/ 929290 w 2009775"/>
                  <a:gd name="connsiteY143" fmla="*/ 1022329 h 1162050"/>
                  <a:gd name="connsiteX144" fmla="*/ 918835 w 2009775"/>
                  <a:gd name="connsiteY144" fmla="*/ 1029249 h 1162050"/>
                  <a:gd name="connsiteX145" fmla="*/ 908877 w 2009775"/>
                  <a:gd name="connsiteY145" fmla="*/ 1034759 h 1162050"/>
                  <a:gd name="connsiteX146" fmla="*/ 903845 w 2009775"/>
                  <a:gd name="connsiteY146" fmla="*/ 1037817 h 1162050"/>
                  <a:gd name="connsiteX147" fmla="*/ 895146 w 2009775"/>
                  <a:gd name="connsiteY147" fmla="*/ 1042525 h 1162050"/>
                  <a:gd name="connsiteX148" fmla="*/ 889094 w 2009775"/>
                  <a:gd name="connsiteY148" fmla="*/ 1046386 h 1162050"/>
                  <a:gd name="connsiteX149" fmla="*/ 887380 w 2009775"/>
                  <a:gd name="connsiteY149" fmla="*/ 1047709 h 1162050"/>
                  <a:gd name="connsiteX150" fmla="*/ 886209 w 2009775"/>
                  <a:gd name="connsiteY150" fmla="*/ 1048252 h 1162050"/>
                  <a:gd name="connsiteX151" fmla="*/ 883909 w 2009775"/>
                  <a:gd name="connsiteY151" fmla="*/ 1048989 h 1162050"/>
                  <a:gd name="connsiteX152" fmla="*/ 883323 w 2009775"/>
                  <a:gd name="connsiteY152" fmla="*/ 1049358 h 1162050"/>
                  <a:gd name="connsiteX153" fmla="*/ 875927 w 2009775"/>
                  <a:gd name="connsiteY153" fmla="*/ 1074478 h 1162050"/>
                  <a:gd name="connsiteX154" fmla="*/ 876187 w 2009775"/>
                  <a:gd name="connsiteY154" fmla="*/ 1077342 h 1162050"/>
                  <a:gd name="connsiteX155" fmla="*/ 875818 w 2009775"/>
                  <a:gd name="connsiteY155" fmla="*/ 1078274 h 1162050"/>
                  <a:gd name="connsiteX156" fmla="*/ 872890 w 2009775"/>
                  <a:gd name="connsiteY156" fmla="*/ 1081723 h 1162050"/>
                  <a:gd name="connsiteX157" fmla="*/ 872239 w 2009775"/>
                  <a:gd name="connsiteY157" fmla="*/ 1082721 h 1162050"/>
                  <a:gd name="connsiteX158" fmla="*/ 870829 w 2009775"/>
                  <a:gd name="connsiteY158" fmla="*/ 1086062 h 1162050"/>
                  <a:gd name="connsiteX159" fmla="*/ 868291 w 2009775"/>
                  <a:gd name="connsiteY159" fmla="*/ 1089468 h 1162050"/>
                  <a:gd name="connsiteX160" fmla="*/ 867076 w 2009775"/>
                  <a:gd name="connsiteY160" fmla="*/ 1091615 h 1162050"/>
                  <a:gd name="connsiteX161" fmla="*/ 863671 w 2009775"/>
                  <a:gd name="connsiteY161" fmla="*/ 1095802 h 1162050"/>
                  <a:gd name="connsiteX162" fmla="*/ 862933 w 2009775"/>
                  <a:gd name="connsiteY162" fmla="*/ 1097580 h 1162050"/>
                  <a:gd name="connsiteX163" fmla="*/ 862369 w 2009775"/>
                  <a:gd name="connsiteY163" fmla="*/ 1101182 h 1162050"/>
                  <a:gd name="connsiteX164" fmla="*/ 861263 w 2009775"/>
                  <a:gd name="connsiteY164" fmla="*/ 1102071 h 1162050"/>
                  <a:gd name="connsiteX165" fmla="*/ 857770 w 2009775"/>
                  <a:gd name="connsiteY165" fmla="*/ 1103698 h 1162050"/>
                  <a:gd name="connsiteX166" fmla="*/ 853107 w 2009775"/>
                  <a:gd name="connsiteY166" fmla="*/ 1107971 h 1162050"/>
                  <a:gd name="connsiteX167" fmla="*/ 850503 w 2009775"/>
                  <a:gd name="connsiteY167" fmla="*/ 1111051 h 1162050"/>
                  <a:gd name="connsiteX168" fmla="*/ 847466 w 2009775"/>
                  <a:gd name="connsiteY168" fmla="*/ 1115628 h 1162050"/>
                  <a:gd name="connsiteX169" fmla="*/ 843344 w 2009775"/>
                  <a:gd name="connsiteY169" fmla="*/ 1120335 h 1162050"/>
                  <a:gd name="connsiteX170" fmla="*/ 838941 w 2009775"/>
                  <a:gd name="connsiteY170" fmla="*/ 1125976 h 1162050"/>
                  <a:gd name="connsiteX171" fmla="*/ 836815 w 2009775"/>
                  <a:gd name="connsiteY171" fmla="*/ 1126431 h 1162050"/>
                  <a:gd name="connsiteX172" fmla="*/ 835536 w 2009775"/>
                  <a:gd name="connsiteY172" fmla="*/ 1125542 h 1162050"/>
                  <a:gd name="connsiteX173" fmla="*/ 833106 w 2009775"/>
                  <a:gd name="connsiteY173" fmla="*/ 1124370 h 1162050"/>
                  <a:gd name="connsiteX174" fmla="*/ 820893 w 2009775"/>
                  <a:gd name="connsiteY174" fmla="*/ 1119576 h 1162050"/>
                  <a:gd name="connsiteX175" fmla="*/ 818441 w 2009775"/>
                  <a:gd name="connsiteY175" fmla="*/ 1118406 h 1162050"/>
                  <a:gd name="connsiteX176" fmla="*/ 816164 w 2009775"/>
                  <a:gd name="connsiteY176" fmla="*/ 1117082 h 1162050"/>
                  <a:gd name="connsiteX177" fmla="*/ 813279 w 2009775"/>
                  <a:gd name="connsiteY177" fmla="*/ 1114826 h 1162050"/>
                  <a:gd name="connsiteX178" fmla="*/ 811327 w 2009775"/>
                  <a:gd name="connsiteY178" fmla="*/ 1112591 h 1162050"/>
                  <a:gd name="connsiteX179" fmla="*/ 809699 w 2009775"/>
                  <a:gd name="connsiteY179" fmla="*/ 1109511 h 1162050"/>
                  <a:gd name="connsiteX180" fmla="*/ 809070 w 2009775"/>
                  <a:gd name="connsiteY180" fmla="*/ 1106886 h 1162050"/>
                  <a:gd name="connsiteX181" fmla="*/ 808637 w 2009775"/>
                  <a:gd name="connsiteY181" fmla="*/ 1100010 h 1162050"/>
                  <a:gd name="connsiteX182" fmla="*/ 808094 w 2009775"/>
                  <a:gd name="connsiteY182" fmla="*/ 1097689 h 1162050"/>
                  <a:gd name="connsiteX183" fmla="*/ 807422 w 2009775"/>
                  <a:gd name="connsiteY183" fmla="*/ 1095867 h 1162050"/>
                  <a:gd name="connsiteX184" fmla="*/ 806229 w 2009775"/>
                  <a:gd name="connsiteY184" fmla="*/ 1095671 h 1162050"/>
                  <a:gd name="connsiteX185" fmla="*/ 802195 w 2009775"/>
                  <a:gd name="connsiteY185" fmla="*/ 1098730 h 1162050"/>
                  <a:gd name="connsiteX186" fmla="*/ 798333 w 2009775"/>
                  <a:gd name="connsiteY186" fmla="*/ 1102851 h 1162050"/>
                  <a:gd name="connsiteX187" fmla="*/ 796337 w 2009775"/>
                  <a:gd name="connsiteY187" fmla="*/ 1104370 h 1162050"/>
                  <a:gd name="connsiteX188" fmla="*/ 794254 w 2009775"/>
                  <a:gd name="connsiteY188" fmla="*/ 1105433 h 1162050"/>
                  <a:gd name="connsiteX189" fmla="*/ 792085 w 2009775"/>
                  <a:gd name="connsiteY189" fmla="*/ 1106214 h 1162050"/>
                  <a:gd name="connsiteX190" fmla="*/ 787790 w 2009775"/>
                  <a:gd name="connsiteY190" fmla="*/ 1107190 h 1162050"/>
                  <a:gd name="connsiteX191" fmla="*/ 783777 w 2009775"/>
                  <a:gd name="connsiteY191" fmla="*/ 1107928 h 1162050"/>
                  <a:gd name="connsiteX192" fmla="*/ 777551 w 2009775"/>
                  <a:gd name="connsiteY192" fmla="*/ 1108622 h 1162050"/>
                  <a:gd name="connsiteX193" fmla="*/ 773907 w 2009775"/>
                  <a:gd name="connsiteY193" fmla="*/ 1108665 h 1162050"/>
                  <a:gd name="connsiteX194" fmla="*/ 764839 w 2009775"/>
                  <a:gd name="connsiteY194" fmla="*/ 1108080 h 1162050"/>
                  <a:gd name="connsiteX195" fmla="*/ 762670 w 2009775"/>
                  <a:gd name="connsiteY195" fmla="*/ 1108080 h 1162050"/>
                  <a:gd name="connsiteX196" fmla="*/ 757660 w 2009775"/>
                  <a:gd name="connsiteY196" fmla="*/ 1108405 h 1162050"/>
                  <a:gd name="connsiteX197" fmla="*/ 744579 w 2009775"/>
                  <a:gd name="connsiteY197" fmla="*/ 1110119 h 1162050"/>
                  <a:gd name="connsiteX198" fmla="*/ 741585 w 2009775"/>
                  <a:gd name="connsiteY198" fmla="*/ 1110336 h 1162050"/>
                  <a:gd name="connsiteX199" fmla="*/ 727724 w 2009775"/>
                  <a:gd name="connsiteY199" fmla="*/ 1110726 h 1162050"/>
                  <a:gd name="connsiteX200" fmla="*/ 724123 w 2009775"/>
                  <a:gd name="connsiteY200" fmla="*/ 1111269 h 1162050"/>
                  <a:gd name="connsiteX201" fmla="*/ 722778 w 2009775"/>
                  <a:gd name="connsiteY201" fmla="*/ 1111637 h 1162050"/>
                  <a:gd name="connsiteX202" fmla="*/ 721195 w 2009775"/>
                  <a:gd name="connsiteY202" fmla="*/ 1112396 h 1162050"/>
                  <a:gd name="connsiteX203" fmla="*/ 719655 w 2009775"/>
                  <a:gd name="connsiteY203" fmla="*/ 1113351 h 1162050"/>
                  <a:gd name="connsiteX204" fmla="*/ 718700 w 2009775"/>
                  <a:gd name="connsiteY204" fmla="*/ 1114392 h 1162050"/>
                  <a:gd name="connsiteX205" fmla="*/ 713190 w 2009775"/>
                  <a:gd name="connsiteY205" fmla="*/ 1123156 h 1162050"/>
                  <a:gd name="connsiteX206" fmla="*/ 707897 w 2009775"/>
                  <a:gd name="connsiteY206" fmla="*/ 1134610 h 1162050"/>
                  <a:gd name="connsiteX207" fmla="*/ 704925 w 2009775"/>
                  <a:gd name="connsiteY207" fmla="*/ 1142029 h 1162050"/>
                  <a:gd name="connsiteX208" fmla="*/ 701454 w 2009775"/>
                  <a:gd name="connsiteY208" fmla="*/ 1148905 h 1162050"/>
                  <a:gd name="connsiteX209" fmla="*/ 699676 w 2009775"/>
                  <a:gd name="connsiteY209" fmla="*/ 1151768 h 1162050"/>
                  <a:gd name="connsiteX210" fmla="*/ 695337 w 2009775"/>
                  <a:gd name="connsiteY210" fmla="*/ 1156519 h 1162050"/>
                  <a:gd name="connsiteX211" fmla="*/ 689003 w 2009775"/>
                  <a:gd name="connsiteY211" fmla="*/ 1155065 h 1162050"/>
                  <a:gd name="connsiteX212" fmla="*/ 682734 w 2009775"/>
                  <a:gd name="connsiteY212" fmla="*/ 1153960 h 1162050"/>
                  <a:gd name="connsiteX213" fmla="*/ 678937 w 2009775"/>
                  <a:gd name="connsiteY213" fmla="*/ 1153417 h 1162050"/>
                  <a:gd name="connsiteX214" fmla="*/ 671779 w 2009775"/>
                  <a:gd name="connsiteY214" fmla="*/ 1152788 h 1162050"/>
                  <a:gd name="connsiteX215" fmla="*/ 664946 w 2009775"/>
                  <a:gd name="connsiteY215" fmla="*/ 1152615 h 1162050"/>
                  <a:gd name="connsiteX216" fmla="*/ 647657 w 2009775"/>
                  <a:gd name="connsiteY216" fmla="*/ 1153157 h 1162050"/>
                  <a:gd name="connsiteX217" fmla="*/ 643492 w 2009775"/>
                  <a:gd name="connsiteY217" fmla="*/ 1152875 h 1162050"/>
                  <a:gd name="connsiteX218" fmla="*/ 638069 w 2009775"/>
                  <a:gd name="connsiteY218" fmla="*/ 1151552 h 1162050"/>
                  <a:gd name="connsiteX219" fmla="*/ 630108 w 2009775"/>
                  <a:gd name="connsiteY219" fmla="*/ 1148601 h 1162050"/>
                  <a:gd name="connsiteX220" fmla="*/ 624945 w 2009775"/>
                  <a:gd name="connsiteY220" fmla="*/ 1147018 h 1162050"/>
                  <a:gd name="connsiteX221" fmla="*/ 618004 w 2009775"/>
                  <a:gd name="connsiteY221" fmla="*/ 1146128 h 1162050"/>
                  <a:gd name="connsiteX222" fmla="*/ 610519 w 2009775"/>
                  <a:gd name="connsiteY222" fmla="*/ 1145759 h 1162050"/>
                  <a:gd name="connsiteX223" fmla="*/ 602471 w 2009775"/>
                  <a:gd name="connsiteY223" fmla="*/ 1145738 h 1162050"/>
                  <a:gd name="connsiteX224" fmla="*/ 597937 w 2009775"/>
                  <a:gd name="connsiteY224" fmla="*/ 1146388 h 1162050"/>
                  <a:gd name="connsiteX225" fmla="*/ 579998 w 2009775"/>
                  <a:gd name="connsiteY225" fmla="*/ 1151226 h 1162050"/>
                  <a:gd name="connsiteX226" fmla="*/ 569283 w 2009775"/>
                  <a:gd name="connsiteY226" fmla="*/ 1153656 h 1162050"/>
                  <a:gd name="connsiteX227" fmla="*/ 537156 w 2009775"/>
                  <a:gd name="connsiteY227" fmla="*/ 1113199 h 1162050"/>
                  <a:gd name="connsiteX228" fmla="*/ 495441 w 2009775"/>
                  <a:gd name="connsiteY228" fmla="*/ 1063914 h 1162050"/>
                  <a:gd name="connsiteX229" fmla="*/ 500929 w 2009775"/>
                  <a:gd name="connsiteY229" fmla="*/ 1061940 h 1162050"/>
                  <a:gd name="connsiteX230" fmla="*/ 405135 w 2009775"/>
                  <a:gd name="connsiteY230" fmla="*/ 960224 h 1162050"/>
                  <a:gd name="connsiteX231" fmla="*/ 390190 w 2009775"/>
                  <a:gd name="connsiteY231" fmla="*/ 944107 h 1162050"/>
                  <a:gd name="connsiteX232" fmla="*/ 377608 w 2009775"/>
                  <a:gd name="connsiteY232" fmla="*/ 931177 h 1162050"/>
                  <a:gd name="connsiteX233" fmla="*/ 378670 w 2009775"/>
                  <a:gd name="connsiteY233" fmla="*/ 930787 h 1162050"/>
                  <a:gd name="connsiteX234" fmla="*/ 308018 w 2009775"/>
                  <a:gd name="connsiteY234" fmla="*/ 848855 h 1162050"/>
                  <a:gd name="connsiteX235" fmla="*/ 222203 w 2009775"/>
                  <a:gd name="connsiteY235" fmla="*/ 749460 h 1162050"/>
                  <a:gd name="connsiteX236" fmla="*/ 175304 w 2009775"/>
                  <a:gd name="connsiteY236" fmla="*/ 695098 h 1162050"/>
                  <a:gd name="connsiteX237" fmla="*/ 176584 w 2009775"/>
                  <a:gd name="connsiteY237" fmla="*/ 694578 h 1162050"/>
                  <a:gd name="connsiteX238" fmla="*/ 174523 w 2009775"/>
                  <a:gd name="connsiteY238" fmla="*/ 692105 h 1162050"/>
                  <a:gd name="connsiteX239" fmla="*/ 152505 w 2009775"/>
                  <a:gd name="connsiteY239" fmla="*/ 667310 h 1162050"/>
                  <a:gd name="connsiteX240" fmla="*/ 127320 w 2009775"/>
                  <a:gd name="connsiteY240" fmla="*/ 640933 h 1162050"/>
                  <a:gd name="connsiteX241" fmla="*/ 128795 w 2009775"/>
                  <a:gd name="connsiteY241" fmla="*/ 640369 h 1162050"/>
                  <a:gd name="connsiteX242" fmla="*/ 111441 w 2009775"/>
                  <a:gd name="connsiteY242" fmla="*/ 623644 h 1162050"/>
                  <a:gd name="connsiteX243" fmla="*/ 101637 w 2009775"/>
                  <a:gd name="connsiteY243" fmla="*/ 615748 h 1162050"/>
                  <a:gd name="connsiteX244" fmla="*/ 91506 w 2009775"/>
                  <a:gd name="connsiteY244" fmla="*/ 605986 h 1162050"/>
                  <a:gd name="connsiteX245" fmla="*/ 80724 w 2009775"/>
                  <a:gd name="connsiteY245" fmla="*/ 590606 h 1162050"/>
                  <a:gd name="connsiteX246" fmla="*/ 75670 w 2009775"/>
                  <a:gd name="connsiteY246" fmla="*/ 585986 h 1162050"/>
                  <a:gd name="connsiteX247" fmla="*/ 58208 w 2009775"/>
                  <a:gd name="connsiteY247" fmla="*/ 574055 h 1162050"/>
                  <a:gd name="connsiteX248" fmla="*/ 32415 w 2009775"/>
                  <a:gd name="connsiteY248" fmla="*/ 549369 h 1162050"/>
                  <a:gd name="connsiteX249" fmla="*/ 27253 w 2009775"/>
                  <a:gd name="connsiteY249" fmla="*/ 543577 h 1162050"/>
                  <a:gd name="connsiteX250" fmla="*/ 10289 w 2009775"/>
                  <a:gd name="connsiteY250" fmla="*/ 522231 h 1162050"/>
                  <a:gd name="connsiteX251" fmla="*/ 17925 w 2009775"/>
                  <a:gd name="connsiteY251" fmla="*/ 520040 h 1162050"/>
                  <a:gd name="connsiteX252" fmla="*/ 9053 w 2009775"/>
                  <a:gd name="connsiteY252" fmla="*/ 513229 h 1162050"/>
                  <a:gd name="connsiteX253" fmla="*/ 19725 w 2009775"/>
                  <a:gd name="connsiteY253" fmla="*/ 507285 h 1162050"/>
                  <a:gd name="connsiteX254" fmla="*/ 7144 w 2009775"/>
                  <a:gd name="connsiteY254" fmla="*/ 497980 h 1162050"/>
                  <a:gd name="connsiteX255" fmla="*/ 13369 w 2009775"/>
                  <a:gd name="connsiteY255" fmla="*/ 491883 h 1162050"/>
                  <a:gd name="connsiteX256" fmla="*/ 21070 w 2009775"/>
                  <a:gd name="connsiteY256" fmla="*/ 488022 h 1162050"/>
                  <a:gd name="connsiteX257" fmla="*/ 28294 w 2009775"/>
                  <a:gd name="connsiteY257" fmla="*/ 483879 h 1162050"/>
                  <a:gd name="connsiteX258" fmla="*/ 23110 w 2009775"/>
                  <a:gd name="connsiteY258" fmla="*/ 480474 h 1162050"/>
                  <a:gd name="connsiteX259" fmla="*/ 31092 w 2009775"/>
                  <a:gd name="connsiteY259" fmla="*/ 476026 h 1162050"/>
                  <a:gd name="connsiteX260" fmla="*/ 57644 w 2009775"/>
                  <a:gd name="connsiteY260" fmla="*/ 460342 h 1162050"/>
                  <a:gd name="connsiteX261" fmla="*/ 73784 w 2009775"/>
                  <a:gd name="connsiteY261" fmla="*/ 449996 h 1162050"/>
                  <a:gd name="connsiteX262" fmla="*/ 111484 w 2009775"/>
                  <a:gd name="connsiteY262" fmla="*/ 424854 h 1162050"/>
                  <a:gd name="connsiteX263" fmla="*/ 154306 w 2009775"/>
                  <a:gd name="connsiteY263" fmla="*/ 410169 h 1162050"/>
                  <a:gd name="connsiteX264" fmla="*/ 159511 w 2009775"/>
                  <a:gd name="connsiteY264" fmla="*/ 408367 h 1162050"/>
                  <a:gd name="connsiteX265" fmla="*/ 135151 w 2009775"/>
                  <a:gd name="connsiteY265" fmla="*/ 381794 h 1162050"/>
                  <a:gd name="connsiteX266" fmla="*/ 210966 w 2009775"/>
                  <a:gd name="connsiteY266" fmla="*/ 355720 h 1162050"/>
                  <a:gd name="connsiteX267" fmla="*/ 211248 w 2009775"/>
                  <a:gd name="connsiteY267" fmla="*/ 343897 h 1162050"/>
                  <a:gd name="connsiteX268" fmla="*/ 209404 w 2009775"/>
                  <a:gd name="connsiteY268" fmla="*/ 340384 h 1162050"/>
                  <a:gd name="connsiteX269" fmla="*/ 197799 w 2009775"/>
                  <a:gd name="connsiteY269" fmla="*/ 327715 h 1162050"/>
                  <a:gd name="connsiteX270" fmla="*/ 196150 w 2009775"/>
                  <a:gd name="connsiteY270" fmla="*/ 325026 h 1162050"/>
                  <a:gd name="connsiteX271" fmla="*/ 234958 w 2009775"/>
                  <a:gd name="connsiteY271" fmla="*/ 311706 h 1162050"/>
                  <a:gd name="connsiteX272" fmla="*/ 238429 w 2009775"/>
                  <a:gd name="connsiteY272" fmla="*/ 304093 h 1162050"/>
                  <a:gd name="connsiteX273" fmla="*/ 244090 w 2009775"/>
                  <a:gd name="connsiteY273" fmla="*/ 290382 h 1162050"/>
                  <a:gd name="connsiteX274" fmla="*/ 245327 w 2009775"/>
                  <a:gd name="connsiteY274" fmla="*/ 288235 h 1162050"/>
                  <a:gd name="connsiteX275" fmla="*/ 245826 w 2009775"/>
                  <a:gd name="connsiteY275" fmla="*/ 286065 h 1162050"/>
                  <a:gd name="connsiteX276" fmla="*/ 229643 w 2009775"/>
                  <a:gd name="connsiteY276" fmla="*/ 268321 h 1162050"/>
                  <a:gd name="connsiteX277" fmla="*/ 243114 w 2009775"/>
                  <a:gd name="connsiteY277" fmla="*/ 263679 h 1162050"/>
                  <a:gd name="connsiteX278" fmla="*/ 261250 w 2009775"/>
                  <a:gd name="connsiteY278" fmla="*/ 257475 h 1162050"/>
                  <a:gd name="connsiteX279" fmla="*/ 249166 w 2009775"/>
                  <a:gd name="connsiteY279" fmla="*/ 241727 h 1162050"/>
                  <a:gd name="connsiteX280" fmla="*/ 246738 w 2009775"/>
                  <a:gd name="connsiteY280" fmla="*/ 238234 h 1162050"/>
                  <a:gd name="connsiteX281" fmla="*/ 243093 w 2009775"/>
                  <a:gd name="connsiteY281" fmla="*/ 231553 h 1162050"/>
                  <a:gd name="connsiteX282" fmla="*/ 240186 w 2009775"/>
                  <a:gd name="connsiteY282" fmla="*/ 224220 h 1162050"/>
                  <a:gd name="connsiteX283" fmla="*/ 238429 w 2009775"/>
                  <a:gd name="connsiteY283" fmla="*/ 217778 h 1162050"/>
                  <a:gd name="connsiteX284" fmla="*/ 237041 w 2009775"/>
                  <a:gd name="connsiteY284" fmla="*/ 207235 h 1162050"/>
                  <a:gd name="connsiteX285" fmla="*/ 233462 w 2009775"/>
                  <a:gd name="connsiteY285" fmla="*/ 205218 h 1162050"/>
                  <a:gd name="connsiteX286" fmla="*/ 229340 w 2009775"/>
                  <a:gd name="connsiteY286" fmla="*/ 203417 h 1162050"/>
                  <a:gd name="connsiteX287" fmla="*/ 226584 w 2009775"/>
                  <a:gd name="connsiteY287" fmla="*/ 201964 h 1162050"/>
                  <a:gd name="connsiteX288" fmla="*/ 219946 w 2009775"/>
                  <a:gd name="connsiteY288" fmla="*/ 197409 h 1162050"/>
                  <a:gd name="connsiteX289" fmla="*/ 215760 w 2009775"/>
                  <a:gd name="connsiteY289" fmla="*/ 194914 h 1162050"/>
                  <a:gd name="connsiteX290" fmla="*/ 208840 w 2009775"/>
                  <a:gd name="connsiteY290" fmla="*/ 189816 h 1162050"/>
                  <a:gd name="connsiteX291" fmla="*/ 206476 w 2009775"/>
                  <a:gd name="connsiteY291" fmla="*/ 188427 h 1162050"/>
                  <a:gd name="connsiteX292" fmla="*/ 203222 w 2009775"/>
                  <a:gd name="connsiteY292" fmla="*/ 187647 h 1162050"/>
                  <a:gd name="connsiteX293" fmla="*/ 200793 w 2009775"/>
                  <a:gd name="connsiteY293" fmla="*/ 186302 h 1162050"/>
                  <a:gd name="connsiteX294" fmla="*/ 195174 w 2009775"/>
                  <a:gd name="connsiteY294" fmla="*/ 182810 h 1162050"/>
                  <a:gd name="connsiteX295" fmla="*/ 190944 w 2009775"/>
                  <a:gd name="connsiteY295" fmla="*/ 179057 h 1162050"/>
                  <a:gd name="connsiteX296" fmla="*/ 186996 w 2009775"/>
                  <a:gd name="connsiteY296" fmla="*/ 177647 h 1162050"/>
                  <a:gd name="connsiteX297" fmla="*/ 192159 w 2009775"/>
                  <a:gd name="connsiteY297" fmla="*/ 167668 h 1162050"/>
                  <a:gd name="connsiteX298" fmla="*/ 194415 w 2009775"/>
                  <a:gd name="connsiteY298" fmla="*/ 159793 h 1162050"/>
                  <a:gd name="connsiteX299" fmla="*/ 200988 w 2009775"/>
                  <a:gd name="connsiteY299" fmla="*/ 159316 h 1162050"/>
                  <a:gd name="connsiteX300" fmla="*/ 207149 w 2009775"/>
                  <a:gd name="connsiteY300" fmla="*/ 158341 h 1162050"/>
                  <a:gd name="connsiteX301" fmla="*/ 208515 w 2009775"/>
                  <a:gd name="connsiteY301" fmla="*/ 157776 h 1162050"/>
                  <a:gd name="connsiteX302" fmla="*/ 210229 w 2009775"/>
                  <a:gd name="connsiteY302" fmla="*/ 156258 h 1162050"/>
                  <a:gd name="connsiteX303" fmla="*/ 223852 w 2009775"/>
                  <a:gd name="connsiteY303" fmla="*/ 145629 h 1162050"/>
                  <a:gd name="connsiteX304" fmla="*/ 224893 w 2009775"/>
                  <a:gd name="connsiteY304" fmla="*/ 144327 h 1162050"/>
                  <a:gd name="connsiteX305" fmla="*/ 226953 w 2009775"/>
                  <a:gd name="connsiteY305" fmla="*/ 142635 h 1162050"/>
                  <a:gd name="connsiteX306" fmla="*/ 235435 w 2009775"/>
                  <a:gd name="connsiteY306" fmla="*/ 136605 h 1162050"/>
                  <a:gd name="connsiteX307" fmla="*/ 235566 w 2009775"/>
                  <a:gd name="connsiteY307" fmla="*/ 136670 h 1162050"/>
                  <a:gd name="connsiteX308" fmla="*/ 236151 w 2009775"/>
                  <a:gd name="connsiteY308" fmla="*/ 136279 h 1162050"/>
                  <a:gd name="connsiteX309" fmla="*/ 238103 w 2009775"/>
                  <a:gd name="connsiteY309" fmla="*/ 134544 h 1162050"/>
                  <a:gd name="connsiteX310" fmla="*/ 246195 w 2009775"/>
                  <a:gd name="connsiteY310" fmla="*/ 128709 h 1162050"/>
                  <a:gd name="connsiteX311" fmla="*/ 249340 w 2009775"/>
                  <a:gd name="connsiteY311" fmla="*/ 126063 h 1162050"/>
                  <a:gd name="connsiteX312" fmla="*/ 279298 w 2009775"/>
                  <a:gd name="connsiteY312" fmla="*/ 115758 h 1162050"/>
                  <a:gd name="connsiteX313" fmla="*/ 404767 w 2009775"/>
                  <a:gd name="connsiteY313" fmla="*/ 72677 h 1162050"/>
                  <a:gd name="connsiteX314" fmla="*/ 513620 w 2009775"/>
                  <a:gd name="connsiteY314" fmla="*/ 191877 h 1162050"/>
                  <a:gd name="connsiteX315" fmla="*/ 564032 w 2009775"/>
                  <a:gd name="connsiteY315" fmla="*/ 174501 h 1162050"/>
                  <a:gd name="connsiteX316" fmla="*/ 563686 w 2009775"/>
                  <a:gd name="connsiteY316" fmla="*/ 174110 h 1162050"/>
                  <a:gd name="connsiteX317" fmla="*/ 564575 w 2009775"/>
                  <a:gd name="connsiteY317" fmla="*/ 173786 h 1162050"/>
                  <a:gd name="connsiteX318" fmla="*/ 564944 w 2009775"/>
                  <a:gd name="connsiteY318" fmla="*/ 174198 h 1162050"/>
                  <a:gd name="connsiteX319" fmla="*/ 567785 w 2009775"/>
                  <a:gd name="connsiteY319" fmla="*/ 173265 h 1162050"/>
                  <a:gd name="connsiteX320" fmla="*/ 602016 w 2009775"/>
                  <a:gd name="connsiteY320" fmla="*/ 161486 h 1162050"/>
                  <a:gd name="connsiteX321" fmla="*/ 726921 w 2009775"/>
                  <a:gd name="connsiteY321" fmla="*/ 118296 h 1162050"/>
                  <a:gd name="connsiteX322" fmla="*/ 836078 w 2009775"/>
                  <a:gd name="connsiteY322" fmla="*/ 80942 h 1162050"/>
                  <a:gd name="connsiteX323" fmla="*/ 872282 w 2009775"/>
                  <a:gd name="connsiteY323" fmla="*/ 102092 h 1162050"/>
                  <a:gd name="connsiteX324" fmla="*/ 880916 w 2009775"/>
                  <a:gd name="connsiteY324" fmla="*/ 107840 h 1162050"/>
                  <a:gd name="connsiteX325" fmla="*/ 894929 w 2009775"/>
                  <a:gd name="connsiteY325" fmla="*/ 115390 h 1162050"/>
                  <a:gd name="connsiteX326" fmla="*/ 899680 w 2009775"/>
                  <a:gd name="connsiteY326" fmla="*/ 112829 h 1162050"/>
                  <a:gd name="connsiteX327" fmla="*/ 908075 w 2009775"/>
                  <a:gd name="connsiteY327" fmla="*/ 108535 h 1162050"/>
                  <a:gd name="connsiteX328" fmla="*/ 910830 w 2009775"/>
                  <a:gd name="connsiteY328" fmla="*/ 106777 h 1162050"/>
                  <a:gd name="connsiteX329" fmla="*/ 913606 w 2009775"/>
                  <a:gd name="connsiteY329" fmla="*/ 104717 h 1162050"/>
                  <a:gd name="connsiteX330" fmla="*/ 915863 w 2009775"/>
                  <a:gd name="connsiteY330" fmla="*/ 102352 h 1162050"/>
                  <a:gd name="connsiteX331" fmla="*/ 918986 w 2009775"/>
                  <a:gd name="connsiteY331" fmla="*/ 98295 h 1162050"/>
                  <a:gd name="connsiteX332" fmla="*/ 928618 w 2009775"/>
                  <a:gd name="connsiteY332" fmla="*/ 87124 h 1162050"/>
                  <a:gd name="connsiteX333" fmla="*/ 936102 w 2009775"/>
                  <a:gd name="connsiteY333" fmla="*/ 81853 h 1162050"/>
                  <a:gd name="connsiteX334" fmla="*/ 963477 w 2009775"/>
                  <a:gd name="connsiteY334" fmla="*/ 65410 h 1162050"/>
                  <a:gd name="connsiteX335" fmla="*/ 976732 w 2009775"/>
                  <a:gd name="connsiteY335" fmla="*/ 56018 h 1162050"/>
                  <a:gd name="connsiteX336" fmla="*/ 987165 w 2009775"/>
                  <a:gd name="connsiteY336" fmla="*/ 46906 h 1162050"/>
                  <a:gd name="connsiteX337" fmla="*/ 994281 w 2009775"/>
                  <a:gd name="connsiteY337" fmla="*/ 38468 h 1162050"/>
                  <a:gd name="connsiteX338" fmla="*/ 997925 w 2009775"/>
                  <a:gd name="connsiteY338" fmla="*/ 32806 h 1162050"/>
                  <a:gd name="connsiteX339" fmla="*/ 1004520 w 2009775"/>
                  <a:gd name="connsiteY339" fmla="*/ 20116 h 1162050"/>
                  <a:gd name="connsiteX340" fmla="*/ 1011657 w 2009775"/>
                  <a:gd name="connsiteY340" fmla="*/ 19140 h 1162050"/>
                  <a:gd name="connsiteX341" fmla="*/ 1018729 w 2009775"/>
                  <a:gd name="connsiteY341" fmla="*/ 18511 h 1162050"/>
                  <a:gd name="connsiteX342" fmla="*/ 1027015 w 2009775"/>
                  <a:gd name="connsiteY342" fmla="*/ 18207 h 1162050"/>
                  <a:gd name="connsiteX343" fmla="*/ 1044195 w 2009775"/>
                  <a:gd name="connsiteY343" fmla="*/ 18380 h 1162050"/>
                  <a:gd name="connsiteX344" fmla="*/ 1061788 w 2009775"/>
                  <a:gd name="connsiteY344" fmla="*/ 7144 h 1162050"/>
                  <a:gd name="connsiteX345" fmla="*/ 1070465 w 2009775"/>
                  <a:gd name="connsiteY345" fmla="*/ 8944 h 1162050"/>
                  <a:gd name="connsiteX346" fmla="*/ 1101983 w 2009775"/>
                  <a:gd name="connsiteY346" fmla="*/ 10550 h 1162050"/>
                  <a:gd name="connsiteX347" fmla="*/ 1117385 w 2009775"/>
                  <a:gd name="connsiteY347" fmla="*/ 15322 h 1162050"/>
                  <a:gd name="connsiteX348" fmla="*/ 1121160 w 2009775"/>
                  <a:gd name="connsiteY348" fmla="*/ 15799 h 1162050"/>
                  <a:gd name="connsiteX349" fmla="*/ 1130943 w 2009775"/>
                  <a:gd name="connsiteY349" fmla="*/ 15604 h 1162050"/>
                  <a:gd name="connsiteX350" fmla="*/ 1142115 w 2009775"/>
                  <a:gd name="connsiteY350" fmla="*/ 14845 h 1162050"/>
                  <a:gd name="connsiteX351" fmla="*/ 1160987 w 2009775"/>
                  <a:gd name="connsiteY351" fmla="*/ 14867 h 1162050"/>
                  <a:gd name="connsiteX352" fmla="*/ 1179101 w 2009775"/>
                  <a:gd name="connsiteY352" fmla="*/ 16103 h 1162050"/>
                  <a:gd name="connsiteX353" fmla="*/ 1192355 w 2009775"/>
                  <a:gd name="connsiteY353" fmla="*/ 17838 h 1162050"/>
                  <a:gd name="connsiteX354" fmla="*/ 1203418 w 2009775"/>
                  <a:gd name="connsiteY354" fmla="*/ 20073 h 1162050"/>
                  <a:gd name="connsiteX355" fmla="*/ 1210208 w 2009775"/>
                  <a:gd name="connsiteY355" fmla="*/ 21873 h 1162050"/>
                  <a:gd name="connsiteX356" fmla="*/ 1213635 w 2009775"/>
                  <a:gd name="connsiteY356" fmla="*/ 23023 h 1162050"/>
                  <a:gd name="connsiteX357" fmla="*/ 1216932 w 2009775"/>
                  <a:gd name="connsiteY357" fmla="*/ 24433 h 1162050"/>
                  <a:gd name="connsiteX358" fmla="*/ 1221335 w 2009775"/>
                  <a:gd name="connsiteY358" fmla="*/ 26689 h 1162050"/>
                  <a:gd name="connsiteX359" fmla="*/ 1225587 w 2009775"/>
                  <a:gd name="connsiteY359" fmla="*/ 29184 h 1162050"/>
                  <a:gd name="connsiteX360" fmla="*/ 1244481 w 2009775"/>
                  <a:gd name="connsiteY360" fmla="*/ 41006 h 1162050"/>
                  <a:gd name="connsiteX361" fmla="*/ 1258755 w 2009775"/>
                  <a:gd name="connsiteY361" fmla="*/ 51462 h 1162050"/>
                  <a:gd name="connsiteX362" fmla="*/ 1264655 w 2009775"/>
                  <a:gd name="connsiteY362" fmla="*/ 55518 h 1162050"/>
                  <a:gd name="connsiteX363" fmla="*/ 1272226 w 2009775"/>
                  <a:gd name="connsiteY363" fmla="*/ 59878 h 1162050"/>
                  <a:gd name="connsiteX364" fmla="*/ 1293484 w 2009775"/>
                  <a:gd name="connsiteY364" fmla="*/ 71006 h 1162050"/>
                  <a:gd name="connsiteX365" fmla="*/ 1302553 w 2009775"/>
                  <a:gd name="connsiteY365" fmla="*/ 76017 h 1162050"/>
                  <a:gd name="connsiteX366" fmla="*/ 1305937 w 2009775"/>
                  <a:gd name="connsiteY366" fmla="*/ 78382 h 1162050"/>
                  <a:gd name="connsiteX367" fmla="*/ 1311836 w 2009775"/>
                  <a:gd name="connsiteY367" fmla="*/ 82959 h 1162050"/>
                  <a:gd name="connsiteX368" fmla="*/ 1314656 w 2009775"/>
                  <a:gd name="connsiteY368" fmla="*/ 85518 h 1162050"/>
                  <a:gd name="connsiteX369" fmla="*/ 1321923 w 2009775"/>
                  <a:gd name="connsiteY369" fmla="*/ 92829 h 1162050"/>
                  <a:gd name="connsiteX370" fmla="*/ 1335698 w 2009775"/>
                  <a:gd name="connsiteY370" fmla="*/ 107363 h 1162050"/>
                  <a:gd name="connsiteX371" fmla="*/ 1339429 w 2009775"/>
                  <a:gd name="connsiteY371" fmla="*/ 111658 h 1162050"/>
                  <a:gd name="connsiteX372" fmla="*/ 1341122 w 2009775"/>
                  <a:gd name="connsiteY372" fmla="*/ 113979 h 1162050"/>
                  <a:gd name="connsiteX373" fmla="*/ 1342575 w 2009775"/>
                  <a:gd name="connsiteY373" fmla="*/ 115996 h 1162050"/>
                  <a:gd name="connsiteX374" fmla="*/ 1346371 w 2009775"/>
                  <a:gd name="connsiteY374" fmla="*/ 123480 h 1162050"/>
                  <a:gd name="connsiteX375" fmla="*/ 1355959 w 2009775"/>
                  <a:gd name="connsiteY375" fmla="*/ 146149 h 1162050"/>
                  <a:gd name="connsiteX376" fmla="*/ 1359516 w 2009775"/>
                  <a:gd name="connsiteY376" fmla="*/ 152982 h 1162050"/>
                  <a:gd name="connsiteX377" fmla="*/ 1361556 w 2009775"/>
                  <a:gd name="connsiteY377" fmla="*/ 156562 h 1162050"/>
                  <a:gd name="connsiteX378" fmla="*/ 1368997 w 2009775"/>
                  <a:gd name="connsiteY378" fmla="*/ 167516 h 1162050"/>
                  <a:gd name="connsiteX379" fmla="*/ 1370320 w 2009775"/>
                  <a:gd name="connsiteY379" fmla="*/ 168839 h 1162050"/>
                  <a:gd name="connsiteX380" fmla="*/ 1379604 w 2009775"/>
                  <a:gd name="connsiteY380" fmla="*/ 181205 h 1162050"/>
                  <a:gd name="connsiteX381" fmla="*/ 1398237 w 2009775"/>
                  <a:gd name="connsiteY381" fmla="*/ 206932 h 1162050"/>
                  <a:gd name="connsiteX382" fmla="*/ 1414616 w 2009775"/>
                  <a:gd name="connsiteY382" fmla="*/ 226910 h 1162050"/>
                  <a:gd name="connsiteX383" fmla="*/ 1417393 w 2009775"/>
                  <a:gd name="connsiteY383" fmla="*/ 231314 h 1162050"/>
                  <a:gd name="connsiteX384" fmla="*/ 1428238 w 2009775"/>
                  <a:gd name="connsiteY384" fmla="*/ 244437 h 1162050"/>
                  <a:gd name="connsiteX385" fmla="*/ 1437262 w 2009775"/>
                  <a:gd name="connsiteY385" fmla="*/ 257584 h 1162050"/>
                  <a:gd name="connsiteX386" fmla="*/ 1442078 w 2009775"/>
                  <a:gd name="connsiteY386" fmla="*/ 264200 h 1162050"/>
                  <a:gd name="connsiteX387" fmla="*/ 1444291 w 2009775"/>
                  <a:gd name="connsiteY387" fmla="*/ 266716 h 1162050"/>
                  <a:gd name="connsiteX388" fmla="*/ 1450083 w 2009775"/>
                  <a:gd name="connsiteY388" fmla="*/ 272312 h 1162050"/>
                  <a:gd name="connsiteX389" fmla="*/ 1454096 w 2009775"/>
                  <a:gd name="connsiteY389" fmla="*/ 277345 h 1162050"/>
                  <a:gd name="connsiteX390" fmla="*/ 1457958 w 2009775"/>
                  <a:gd name="connsiteY390" fmla="*/ 282681 h 1162050"/>
                  <a:gd name="connsiteX391" fmla="*/ 1470344 w 2009775"/>
                  <a:gd name="connsiteY391" fmla="*/ 297845 h 1162050"/>
                  <a:gd name="connsiteX392" fmla="*/ 1472839 w 2009775"/>
                  <a:gd name="connsiteY392" fmla="*/ 300382 h 1162050"/>
                  <a:gd name="connsiteX393" fmla="*/ 1475550 w 2009775"/>
                  <a:gd name="connsiteY393" fmla="*/ 303094 h 1162050"/>
                  <a:gd name="connsiteX394" fmla="*/ 1478999 w 2009775"/>
                  <a:gd name="connsiteY394" fmla="*/ 308778 h 1162050"/>
                  <a:gd name="connsiteX395" fmla="*/ 1482144 w 2009775"/>
                  <a:gd name="connsiteY395" fmla="*/ 316326 h 1162050"/>
                  <a:gd name="connsiteX396" fmla="*/ 1482904 w 2009775"/>
                  <a:gd name="connsiteY396" fmla="*/ 319385 h 1162050"/>
                  <a:gd name="connsiteX397" fmla="*/ 1483121 w 2009775"/>
                  <a:gd name="connsiteY397" fmla="*/ 321424 h 1162050"/>
                  <a:gd name="connsiteX398" fmla="*/ 1482968 w 2009775"/>
                  <a:gd name="connsiteY398" fmla="*/ 323203 h 1162050"/>
                  <a:gd name="connsiteX399" fmla="*/ 1482513 w 2009775"/>
                  <a:gd name="connsiteY399" fmla="*/ 324830 h 1162050"/>
                  <a:gd name="connsiteX400" fmla="*/ 1480062 w 2009775"/>
                  <a:gd name="connsiteY400" fmla="*/ 331273 h 1162050"/>
                  <a:gd name="connsiteX401" fmla="*/ 1478847 w 2009775"/>
                  <a:gd name="connsiteY401" fmla="*/ 335221 h 1162050"/>
                  <a:gd name="connsiteX402" fmla="*/ 1478261 w 2009775"/>
                  <a:gd name="connsiteY402" fmla="*/ 338040 h 1162050"/>
                  <a:gd name="connsiteX403" fmla="*/ 1476656 w 2009775"/>
                  <a:gd name="connsiteY403" fmla="*/ 360991 h 1162050"/>
                  <a:gd name="connsiteX404" fmla="*/ 1477306 w 2009775"/>
                  <a:gd name="connsiteY404" fmla="*/ 361881 h 1162050"/>
                  <a:gd name="connsiteX405" fmla="*/ 1477675 w 2009775"/>
                  <a:gd name="connsiteY405" fmla="*/ 364224 h 1162050"/>
                  <a:gd name="connsiteX406" fmla="*/ 1477090 w 2009775"/>
                  <a:gd name="connsiteY406" fmla="*/ 369495 h 1162050"/>
                  <a:gd name="connsiteX407" fmla="*/ 1479281 w 2009775"/>
                  <a:gd name="connsiteY407" fmla="*/ 373030 h 1162050"/>
                  <a:gd name="connsiteX408" fmla="*/ 1481558 w 2009775"/>
                  <a:gd name="connsiteY408" fmla="*/ 375135 h 1162050"/>
                  <a:gd name="connsiteX409" fmla="*/ 1484986 w 2009775"/>
                  <a:gd name="connsiteY409" fmla="*/ 374029 h 1162050"/>
                  <a:gd name="connsiteX410" fmla="*/ 1487806 w 2009775"/>
                  <a:gd name="connsiteY410" fmla="*/ 376068 h 1162050"/>
                  <a:gd name="connsiteX411" fmla="*/ 1493750 w 2009775"/>
                  <a:gd name="connsiteY411" fmla="*/ 379842 h 1162050"/>
                  <a:gd name="connsiteX412" fmla="*/ 1498500 w 2009775"/>
                  <a:gd name="connsiteY412" fmla="*/ 378627 h 1162050"/>
                  <a:gd name="connsiteX413" fmla="*/ 1516396 w 2009775"/>
                  <a:gd name="connsiteY413" fmla="*/ 367890 h 1162050"/>
                  <a:gd name="connsiteX414" fmla="*/ 1532688 w 2009775"/>
                  <a:gd name="connsiteY414" fmla="*/ 358605 h 1162050"/>
                  <a:gd name="connsiteX415" fmla="*/ 1538003 w 2009775"/>
                  <a:gd name="connsiteY415" fmla="*/ 355828 h 1162050"/>
                  <a:gd name="connsiteX416" fmla="*/ 1548567 w 2009775"/>
                  <a:gd name="connsiteY416" fmla="*/ 351034 h 1162050"/>
                  <a:gd name="connsiteX417" fmla="*/ 1551863 w 2009775"/>
                  <a:gd name="connsiteY417" fmla="*/ 349364 h 1162050"/>
                  <a:gd name="connsiteX418" fmla="*/ 1561126 w 2009775"/>
                  <a:gd name="connsiteY418" fmla="*/ 343919 h 1162050"/>
                  <a:gd name="connsiteX419" fmla="*/ 1573383 w 2009775"/>
                  <a:gd name="connsiteY419" fmla="*/ 337932 h 1162050"/>
                  <a:gd name="connsiteX420" fmla="*/ 1588003 w 2009775"/>
                  <a:gd name="connsiteY420" fmla="*/ 328843 h 1162050"/>
                  <a:gd name="connsiteX421" fmla="*/ 1599912 w 2009775"/>
                  <a:gd name="connsiteY421" fmla="*/ 321186 h 1162050"/>
                  <a:gd name="connsiteX422" fmla="*/ 1614837 w 2009775"/>
                  <a:gd name="connsiteY422" fmla="*/ 312205 h 1162050"/>
                  <a:gd name="connsiteX423" fmla="*/ 1648786 w 2009775"/>
                  <a:gd name="connsiteY423" fmla="*/ 289558 h 1162050"/>
                  <a:gd name="connsiteX424" fmla="*/ 1652928 w 2009775"/>
                  <a:gd name="connsiteY424" fmla="*/ 286586 h 1162050"/>
                  <a:gd name="connsiteX425" fmla="*/ 1681671 w 2009775"/>
                  <a:gd name="connsiteY425" fmla="*/ 269254 h 1162050"/>
                  <a:gd name="connsiteX426" fmla="*/ 1687181 w 2009775"/>
                  <a:gd name="connsiteY426" fmla="*/ 266239 h 1162050"/>
                  <a:gd name="connsiteX427" fmla="*/ 1693320 w 2009775"/>
                  <a:gd name="connsiteY427" fmla="*/ 263288 h 1162050"/>
                  <a:gd name="connsiteX428" fmla="*/ 1723690 w 2009775"/>
                  <a:gd name="connsiteY428" fmla="*/ 245804 h 1162050"/>
                  <a:gd name="connsiteX429" fmla="*/ 1730263 w 2009775"/>
                  <a:gd name="connsiteY429" fmla="*/ 242160 h 1162050"/>
                  <a:gd name="connsiteX430" fmla="*/ 1743235 w 2009775"/>
                  <a:gd name="connsiteY430" fmla="*/ 235566 h 1162050"/>
                  <a:gd name="connsiteX431" fmla="*/ 1751587 w 2009775"/>
                  <a:gd name="connsiteY431" fmla="*/ 231032 h 1162050"/>
                  <a:gd name="connsiteX432" fmla="*/ 1805731 w 2009775"/>
                  <a:gd name="connsiteY432" fmla="*/ 199838 h 1162050"/>
                  <a:gd name="connsiteX433" fmla="*/ 1810373 w 2009775"/>
                  <a:gd name="connsiteY433" fmla="*/ 196823 h 1162050"/>
                  <a:gd name="connsiteX434" fmla="*/ 1837098 w 2009775"/>
                  <a:gd name="connsiteY434" fmla="*/ 181725 h 1162050"/>
                  <a:gd name="connsiteX435" fmla="*/ 1846882 w 2009775"/>
                  <a:gd name="connsiteY435" fmla="*/ 175694 h 1162050"/>
                  <a:gd name="connsiteX436" fmla="*/ 1866925 w 2009775"/>
                  <a:gd name="connsiteY436" fmla="*/ 163894 h 1162050"/>
                  <a:gd name="connsiteX437" fmla="*/ 1882587 w 2009775"/>
                  <a:gd name="connsiteY437" fmla="*/ 155152 h 1162050"/>
                  <a:gd name="connsiteX438" fmla="*/ 1890157 w 2009775"/>
                  <a:gd name="connsiteY438" fmla="*/ 151355 h 1162050"/>
                  <a:gd name="connsiteX439" fmla="*/ 1892436 w 2009775"/>
                  <a:gd name="connsiteY439" fmla="*/ 153807 h 1162050"/>
                  <a:gd name="connsiteX440" fmla="*/ 1894236 w 2009775"/>
                  <a:gd name="connsiteY440" fmla="*/ 157321 h 1162050"/>
                  <a:gd name="connsiteX441" fmla="*/ 1895190 w 2009775"/>
                  <a:gd name="connsiteY441" fmla="*/ 163135 h 1162050"/>
                  <a:gd name="connsiteX442" fmla="*/ 1896687 w 2009775"/>
                  <a:gd name="connsiteY442" fmla="*/ 169295 h 1162050"/>
                  <a:gd name="connsiteX443" fmla="*/ 1896297 w 2009775"/>
                  <a:gd name="connsiteY443" fmla="*/ 170163 h 1162050"/>
                  <a:gd name="connsiteX444" fmla="*/ 1898097 w 2009775"/>
                  <a:gd name="connsiteY444" fmla="*/ 172288 h 1162050"/>
                  <a:gd name="connsiteX445" fmla="*/ 1899095 w 2009775"/>
                  <a:gd name="connsiteY445" fmla="*/ 174653 h 1162050"/>
                  <a:gd name="connsiteX446" fmla="*/ 1899875 w 2009775"/>
                  <a:gd name="connsiteY446" fmla="*/ 177972 h 1162050"/>
                  <a:gd name="connsiteX447" fmla="*/ 1899833 w 2009775"/>
                  <a:gd name="connsiteY447" fmla="*/ 179230 h 1162050"/>
                  <a:gd name="connsiteX448" fmla="*/ 1901394 w 2009775"/>
                  <a:gd name="connsiteY448" fmla="*/ 184436 h 1162050"/>
                  <a:gd name="connsiteX449" fmla="*/ 1929182 w 2009775"/>
                  <a:gd name="connsiteY449" fmla="*/ 179989 h 1162050"/>
                  <a:gd name="connsiteX450" fmla="*/ 1929899 w 2009775"/>
                  <a:gd name="connsiteY450" fmla="*/ 191378 h 1162050"/>
                  <a:gd name="connsiteX451" fmla="*/ 1931807 w 2009775"/>
                  <a:gd name="connsiteY451" fmla="*/ 206194 h 1162050"/>
                  <a:gd name="connsiteX452" fmla="*/ 1933478 w 2009775"/>
                  <a:gd name="connsiteY452" fmla="*/ 215847 h 1162050"/>
                  <a:gd name="connsiteX453" fmla="*/ 1936341 w 2009775"/>
                  <a:gd name="connsiteY453" fmla="*/ 235240 h 1162050"/>
                  <a:gd name="connsiteX454" fmla="*/ 1958793 w 2009775"/>
                  <a:gd name="connsiteY454" fmla="*/ 360818 h 1162050"/>
                  <a:gd name="connsiteX455" fmla="*/ 1984064 w 2009775"/>
                  <a:gd name="connsiteY455" fmla="*/ 504964 h 1162050"/>
                  <a:gd name="connsiteX456" fmla="*/ 1991614 w 2009775"/>
                  <a:gd name="connsiteY456" fmla="*/ 546961 h 1162050"/>
                  <a:gd name="connsiteX457" fmla="*/ 1996472 w 2009775"/>
                  <a:gd name="connsiteY457" fmla="*/ 571083 h 1162050"/>
                  <a:gd name="connsiteX458" fmla="*/ 1997080 w 2009775"/>
                  <a:gd name="connsiteY458" fmla="*/ 571408 h 1162050"/>
                  <a:gd name="connsiteX459" fmla="*/ 1998468 w 2009775"/>
                  <a:gd name="connsiteY459" fmla="*/ 577569 h 1162050"/>
                  <a:gd name="connsiteX460" fmla="*/ 1999140 w 2009775"/>
                  <a:gd name="connsiteY460" fmla="*/ 582580 h 1162050"/>
                  <a:gd name="connsiteX461" fmla="*/ 2002003 w 2009775"/>
                  <a:gd name="connsiteY461" fmla="*/ 594575 h 1162050"/>
                  <a:gd name="connsiteX462" fmla="*/ 2004000 w 2009775"/>
                  <a:gd name="connsiteY462" fmla="*/ 604620 h 1162050"/>
                  <a:gd name="connsiteX463" fmla="*/ 2005714 w 2009775"/>
                  <a:gd name="connsiteY463" fmla="*/ 615075 h 1162050"/>
                  <a:gd name="connsiteX464" fmla="*/ 2007492 w 2009775"/>
                  <a:gd name="connsiteY464" fmla="*/ 629783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2009775" h="1162050">
                    <a:moveTo>
                      <a:pt x="2007492" y="629783"/>
                    </a:moveTo>
                    <a:lnTo>
                      <a:pt x="1976277" y="629327"/>
                    </a:lnTo>
                    <a:lnTo>
                      <a:pt x="1960115" y="628763"/>
                    </a:lnTo>
                    <a:lnTo>
                      <a:pt x="1954216" y="628394"/>
                    </a:lnTo>
                    <a:lnTo>
                      <a:pt x="1943478" y="627397"/>
                    </a:lnTo>
                    <a:lnTo>
                      <a:pt x="1937231" y="626724"/>
                    </a:lnTo>
                    <a:lnTo>
                      <a:pt x="1927143" y="625314"/>
                    </a:lnTo>
                    <a:lnTo>
                      <a:pt x="1911742" y="622668"/>
                    </a:lnTo>
                    <a:lnTo>
                      <a:pt x="1902305" y="620628"/>
                    </a:lnTo>
                    <a:lnTo>
                      <a:pt x="1902110" y="620585"/>
                    </a:lnTo>
                    <a:lnTo>
                      <a:pt x="1902544" y="619738"/>
                    </a:lnTo>
                    <a:lnTo>
                      <a:pt x="1895754" y="618047"/>
                    </a:lnTo>
                    <a:lnTo>
                      <a:pt x="1889355" y="616225"/>
                    </a:lnTo>
                    <a:lnTo>
                      <a:pt x="1870656" y="610173"/>
                    </a:lnTo>
                    <a:lnTo>
                      <a:pt x="1864625" y="607722"/>
                    </a:lnTo>
                    <a:lnTo>
                      <a:pt x="1859723" y="606094"/>
                    </a:lnTo>
                    <a:lnTo>
                      <a:pt x="1849614" y="603317"/>
                    </a:lnTo>
                    <a:lnTo>
                      <a:pt x="1848812" y="605205"/>
                    </a:lnTo>
                    <a:lnTo>
                      <a:pt x="1841133" y="604966"/>
                    </a:lnTo>
                    <a:lnTo>
                      <a:pt x="1826816" y="604597"/>
                    </a:lnTo>
                    <a:lnTo>
                      <a:pt x="1815449" y="605378"/>
                    </a:lnTo>
                    <a:lnTo>
                      <a:pt x="1810329" y="605986"/>
                    </a:lnTo>
                    <a:lnTo>
                      <a:pt x="1806511" y="606659"/>
                    </a:lnTo>
                    <a:lnTo>
                      <a:pt x="1800351" y="608091"/>
                    </a:lnTo>
                    <a:lnTo>
                      <a:pt x="1795470" y="609478"/>
                    </a:lnTo>
                    <a:lnTo>
                      <a:pt x="1789548" y="611886"/>
                    </a:lnTo>
                    <a:lnTo>
                      <a:pt x="1781131" y="616485"/>
                    </a:lnTo>
                    <a:lnTo>
                      <a:pt x="1779895" y="617352"/>
                    </a:lnTo>
                    <a:lnTo>
                      <a:pt x="1776706" y="619869"/>
                    </a:lnTo>
                    <a:lnTo>
                      <a:pt x="1771499" y="625293"/>
                    </a:lnTo>
                    <a:lnTo>
                      <a:pt x="1765729" y="630499"/>
                    </a:lnTo>
                    <a:lnTo>
                      <a:pt x="1759721" y="635140"/>
                    </a:lnTo>
                    <a:lnTo>
                      <a:pt x="1755252" y="637657"/>
                    </a:lnTo>
                    <a:lnTo>
                      <a:pt x="1744709" y="642191"/>
                    </a:lnTo>
                    <a:lnTo>
                      <a:pt x="1739960" y="643948"/>
                    </a:lnTo>
                    <a:lnTo>
                      <a:pt x="1734558" y="645640"/>
                    </a:lnTo>
                    <a:lnTo>
                      <a:pt x="1729547" y="646833"/>
                    </a:lnTo>
                    <a:lnTo>
                      <a:pt x="1725186" y="647657"/>
                    </a:lnTo>
                    <a:lnTo>
                      <a:pt x="1720935" y="648394"/>
                    </a:lnTo>
                    <a:lnTo>
                      <a:pt x="1712648" y="649479"/>
                    </a:lnTo>
                    <a:lnTo>
                      <a:pt x="1711346" y="650043"/>
                    </a:lnTo>
                    <a:lnTo>
                      <a:pt x="1709481" y="651779"/>
                    </a:lnTo>
                    <a:lnTo>
                      <a:pt x="1708332" y="653449"/>
                    </a:lnTo>
                    <a:lnTo>
                      <a:pt x="1707160" y="657418"/>
                    </a:lnTo>
                    <a:lnTo>
                      <a:pt x="1705685" y="661150"/>
                    </a:lnTo>
                    <a:lnTo>
                      <a:pt x="1703798" y="664252"/>
                    </a:lnTo>
                    <a:lnTo>
                      <a:pt x="1699828" y="668829"/>
                    </a:lnTo>
                    <a:lnTo>
                      <a:pt x="1693233" y="674882"/>
                    </a:lnTo>
                    <a:lnTo>
                      <a:pt x="1654361" y="717940"/>
                    </a:lnTo>
                    <a:lnTo>
                      <a:pt x="1623340" y="715425"/>
                    </a:lnTo>
                    <a:lnTo>
                      <a:pt x="1621844" y="719069"/>
                    </a:lnTo>
                    <a:lnTo>
                      <a:pt x="1619935" y="722887"/>
                    </a:lnTo>
                    <a:lnTo>
                      <a:pt x="1613970" y="733711"/>
                    </a:lnTo>
                    <a:lnTo>
                      <a:pt x="1610542" y="738939"/>
                    </a:lnTo>
                    <a:lnTo>
                      <a:pt x="1610281" y="739720"/>
                    </a:lnTo>
                    <a:lnTo>
                      <a:pt x="1610195" y="753603"/>
                    </a:lnTo>
                    <a:lnTo>
                      <a:pt x="1610563" y="761261"/>
                    </a:lnTo>
                    <a:lnTo>
                      <a:pt x="1610434" y="767964"/>
                    </a:lnTo>
                    <a:lnTo>
                      <a:pt x="1610152" y="768441"/>
                    </a:lnTo>
                    <a:lnTo>
                      <a:pt x="1609154" y="768940"/>
                    </a:lnTo>
                    <a:lnTo>
                      <a:pt x="1607614" y="769417"/>
                    </a:lnTo>
                    <a:lnTo>
                      <a:pt x="1601258" y="768853"/>
                    </a:lnTo>
                    <a:lnTo>
                      <a:pt x="1596463" y="768874"/>
                    </a:lnTo>
                    <a:lnTo>
                      <a:pt x="1594034" y="769091"/>
                    </a:lnTo>
                    <a:lnTo>
                      <a:pt x="1591843" y="769395"/>
                    </a:lnTo>
                    <a:lnTo>
                      <a:pt x="1585661" y="771326"/>
                    </a:lnTo>
                    <a:lnTo>
                      <a:pt x="1580324" y="772476"/>
                    </a:lnTo>
                    <a:lnTo>
                      <a:pt x="1580324" y="775838"/>
                    </a:lnTo>
                    <a:lnTo>
                      <a:pt x="1580042" y="778397"/>
                    </a:lnTo>
                    <a:lnTo>
                      <a:pt x="1580368" y="783604"/>
                    </a:lnTo>
                    <a:lnTo>
                      <a:pt x="1579739" y="807205"/>
                    </a:lnTo>
                    <a:lnTo>
                      <a:pt x="1579891" y="808593"/>
                    </a:lnTo>
                    <a:lnTo>
                      <a:pt x="1579521" y="826034"/>
                    </a:lnTo>
                    <a:lnTo>
                      <a:pt x="1579153" y="831111"/>
                    </a:lnTo>
                    <a:lnTo>
                      <a:pt x="1579239" y="833735"/>
                    </a:lnTo>
                    <a:lnTo>
                      <a:pt x="1579934" y="836620"/>
                    </a:lnTo>
                    <a:lnTo>
                      <a:pt x="1579673" y="838355"/>
                    </a:lnTo>
                    <a:lnTo>
                      <a:pt x="1578979" y="839418"/>
                    </a:lnTo>
                    <a:lnTo>
                      <a:pt x="1569933" y="846143"/>
                    </a:lnTo>
                    <a:lnTo>
                      <a:pt x="1569522" y="846577"/>
                    </a:lnTo>
                    <a:lnTo>
                      <a:pt x="1569066" y="847770"/>
                    </a:lnTo>
                    <a:lnTo>
                      <a:pt x="1567265" y="849462"/>
                    </a:lnTo>
                    <a:lnTo>
                      <a:pt x="1557851" y="857553"/>
                    </a:lnTo>
                    <a:lnTo>
                      <a:pt x="1554792" y="859809"/>
                    </a:lnTo>
                    <a:lnTo>
                      <a:pt x="1551863" y="862630"/>
                    </a:lnTo>
                    <a:lnTo>
                      <a:pt x="1523577" y="886643"/>
                    </a:lnTo>
                    <a:lnTo>
                      <a:pt x="1515160" y="893975"/>
                    </a:lnTo>
                    <a:lnTo>
                      <a:pt x="1514445" y="894799"/>
                    </a:lnTo>
                    <a:lnTo>
                      <a:pt x="1513359" y="895255"/>
                    </a:lnTo>
                    <a:lnTo>
                      <a:pt x="1511169" y="894973"/>
                    </a:lnTo>
                    <a:lnTo>
                      <a:pt x="1508717" y="894929"/>
                    </a:lnTo>
                    <a:lnTo>
                      <a:pt x="1508002" y="896123"/>
                    </a:lnTo>
                    <a:lnTo>
                      <a:pt x="1506591" y="903498"/>
                    </a:lnTo>
                    <a:lnTo>
                      <a:pt x="1503858" y="903607"/>
                    </a:lnTo>
                    <a:lnTo>
                      <a:pt x="1503012" y="904170"/>
                    </a:lnTo>
                    <a:lnTo>
                      <a:pt x="1491559" y="914128"/>
                    </a:lnTo>
                    <a:lnTo>
                      <a:pt x="1485398" y="919117"/>
                    </a:lnTo>
                    <a:lnTo>
                      <a:pt x="1443271" y="916860"/>
                    </a:lnTo>
                    <a:lnTo>
                      <a:pt x="1432122" y="916687"/>
                    </a:lnTo>
                    <a:lnTo>
                      <a:pt x="1412164" y="915429"/>
                    </a:lnTo>
                    <a:lnTo>
                      <a:pt x="1396285" y="913953"/>
                    </a:lnTo>
                    <a:lnTo>
                      <a:pt x="1380580" y="912761"/>
                    </a:lnTo>
                    <a:lnTo>
                      <a:pt x="1348540" y="909681"/>
                    </a:lnTo>
                    <a:lnTo>
                      <a:pt x="1332878" y="908574"/>
                    </a:lnTo>
                    <a:lnTo>
                      <a:pt x="1270534" y="902239"/>
                    </a:lnTo>
                    <a:lnTo>
                      <a:pt x="1217236" y="896296"/>
                    </a:lnTo>
                    <a:lnTo>
                      <a:pt x="1182376" y="892023"/>
                    </a:lnTo>
                    <a:lnTo>
                      <a:pt x="1179318" y="895146"/>
                    </a:lnTo>
                    <a:lnTo>
                      <a:pt x="1173244" y="902348"/>
                    </a:lnTo>
                    <a:lnTo>
                      <a:pt x="1170944" y="904583"/>
                    </a:lnTo>
                    <a:lnTo>
                      <a:pt x="1169600" y="907208"/>
                    </a:lnTo>
                    <a:lnTo>
                      <a:pt x="1168883" y="907814"/>
                    </a:lnTo>
                    <a:lnTo>
                      <a:pt x="1165934" y="908899"/>
                    </a:lnTo>
                    <a:lnTo>
                      <a:pt x="1163091" y="910331"/>
                    </a:lnTo>
                    <a:lnTo>
                      <a:pt x="1159816" y="911589"/>
                    </a:lnTo>
                    <a:lnTo>
                      <a:pt x="1157127" y="912413"/>
                    </a:lnTo>
                    <a:lnTo>
                      <a:pt x="1153829" y="914106"/>
                    </a:lnTo>
                    <a:lnTo>
                      <a:pt x="1150791" y="915060"/>
                    </a:lnTo>
                    <a:lnTo>
                      <a:pt x="1142440" y="918465"/>
                    </a:lnTo>
                    <a:lnTo>
                      <a:pt x="1135433" y="921785"/>
                    </a:lnTo>
                    <a:lnTo>
                      <a:pt x="1127104" y="924517"/>
                    </a:lnTo>
                    <a:lnTo>
                      <a:pt x="1115976" y="929399"/>
                    </a:lnTo>
                    <a:lnTo>
                      <a:pt x="1108752" y="932305"/>
                    </a:lnTo>
                    <a:lnTo>
                      <a:pt x="1101724" y="935776"/>
                    </a:lnTo>
                    <a:lnTo>
                      <a:pt x="1089706" y="941243"/>
                    </a:lnTo>
                    <a:lnTo>
                      <a:pt x="1075259" y="946861"/>
                    </a:lnTo>
                    <a:lnTo>
                      <a:pt x="1047298" y="959269"/>
                    </a:lnTo>
                    <a:lnTo>
                      <a:pt x="1028012" y="968054"/>
                    </a:lnTo>
                    <a:lnTo>
                      <a:pt x="1022068" y="970462"/>
                    </a:lnTo>
                    <a:lnTo>
                      <a:pt x="1018165" y="972719"/>
                    </a:lnTo>
                    <a:lnTo>
                      <a:pt x="1001071" y="979335"/>
                    </a:lnTo>
                    <a:lnTo>
                      <a:pt x="996472" y="981894"/>
                    </a:lnTo>
                    <a:lnTo>
                      <a:pt x="992914" y="984779"/>
                    </a:lnTo>
                    <a:lnTo>
                      <a:pt x="969942" y="998814"/>
                    </a:lnTo>
                    <a:lnTo>
                      <a:pt x="964454" y="1001071"/>
                    </a:lnTo>
                    <a:lnTo>
                      <a:pt x="959703" y="1003457"/>
                    </a:lnTo>
                    <a:lnTo>
                      <a:pt x="958162" y="1004867"/>
                    </a:lnTo>
                    <a:lnTo>
                      <a:pt x="956666" y="1007470"/>
                    </a:lnTo>
                    <a:lnTo>
                      <a:pt x="956036" y="1007991"/>
                    </a:lnTo>
                    <a:lnTo>
                      <a:pt x="953455" y="1008641"/>
                    </a:lnTo>
                    <a:lnTo>
                      <a:pt x="950636" y="1009640"/>
                    </a:lnTo>
                    <a:lnTo>
                      <a:pt x="946058" y="1011787"/>
                    </a:lnTo>
                    <a:lnTo>
                      <a:pt x="941351" y="1014607"/>
                    </a:lnTo>
                    <a:lnTo>
                      <a:pt x="929290" y="1022329"/>
                    </a:lnTo>
                    <a:lnTo>
                      <a:pt x="918835" y="1029249"/>
                    </a:lnTo>
                    <a:lnTo>
                      <a:pt x="908877" y="1034759"/>
                    </a:lnTo>
                    <a:lnTo>
                      <a:pt x="903845" y="1037817"/>
                    </a:lnTo>
                    <a:lnTo>
                      <a:pt x="895146" y="1042525"/>
                    </a:lnTo>
                    <a:lnTo>
                      <a:pt x="889094" y="1046386"/>
                    </a:lnTo>
                    <a:lnTo>
                      <a:pt x="887380" y="1047709"/>
                    </a:lnTo>
                    <a:lnTo>
                      <a:pt x="886209" y="1048252"/>
                    </a:lnTo>
                    <a:lnTo>
                      <a:pt x="883909" y="1048989"/>
                    </a:lnTo>
                    <a:lnTo>
                      <a:pt x="883323" y="1049358"/>
                    </a:lnTo>
                    <a:lnTo>
                      <a:pt x="875927" y="1074478"/>
                    </a:lnTo>
                    <a:lnTo>
                      <a:pt x="876187" y="1077342"/>
                    </a:lnTo>
                    <a:lnTo>
                      <a:pt x="875818" y="1078274"/>
                    </a:lnTo>
                    <a:lnTo>
                      <a:pt x="872890" y="1081723"/>
                    </a:lnTo>
                    <a:lnTo>
                      <a:pt x="872239" y="1082721"/>
                    </a:lnTo>
                    <a:lnTo>
                      <a:pt x="870829" y="1086062"/>
                    </a:lnTo>
                    <a:lnTo>
                      <a:pt x="868291" y="1089468"/>
                    </a:lnTo>
                    <a:lnTo>
                      <a:pt x="867076" y="1091615"/>
                    </a:lnTo>
                    <a:lnTo>
                      <a:pt x="863671" y="1095802"/>
                    </a:lnTo>
                    <a:lnTo>
                      <a:pt x="862933" y="1097580"/>
                    </a:lnTo>
                    <a:lnTo>
                      <a:pt x="862369" y="1101182"/>
                    </a:lnTo>
                    <a:lnTo>
                      <a:pt x="861263" y="1102071"/>
                    </a:lnTo>
                    <a:lnTo>
                      <a:pt x="857770" y="1103698"/>
                    </a:lnTo>
                    <a:lnTo>
                      <a:pt x="853107" y="1107971"/>
                    </a:lnTo>
                    <a:lnTo>
                      <a:pt x="850503" y="1111051"/>
                    </a:lnTo>
                    <a:lnTo>
                      <a:pt x="847466" y="1115628"/>
                    </a:lnTo>
                    <a:lnTo>
                      <a:pt x="843344" y="1120335"/>
                    </a:lnTo>
                    <a:lnTo>
                      <a:pt x="838941" y="1125976"/>
                    </a:lnTo>
                    <a:lnTo>
                      <a:pt x="836815" y="1126431"/>
                    </a:lnTo>
                    <a:lnTo>
                      <a:pt x="835536" y="1125542"/>
                    </a:lnTo>
                    <a:lnTo>
                      <a:pt x="833106" y="1124370"/>
                    </a:lnTo>
                    <a:lnTo>
                      <a:pt x="820893" y="1119576"/>
                    </a:lnTo>
                    <a:lnTo>
                      <a:pt x="818441" y="1118406"/>
                    </a:lnTo>
                    <a:lnTo>
                      <a:pt x="816164" y="1117082"/>
                    </a:lnTo>
                    <a:lnTo>
                      <a:pt x="813279" y="1114826"/>
                    </a:lnTo>
                    <a:lnTo>
                      <a:pt x="811327" y="1112591"/>
                    </a:lnTo>
                    <a:lnTo>
                      <a:pt x="809699" y="1109511"/>
                    </a:lnTo>
                    <a:lnTo>
                      <a:pt x="809070" y="1106886"/>
                    </a:lnTo>
                    <a:lnTo>
                      <a:pt x="808637" y="1100010"/>
                    </a:lnTo>
                    <a:lnTo>
                      <a:pt x="808094" y="1097689"/>
                    </a:lnTo>
                    <a:lnTo>
                      <a:pt x="807422" y="1095867"/>
                    </a:lnTo>
                    <a:lnTo>
                      <a:pt x="806229" y="1095671"/>
                    </a:lnTo>
                    <a:lnTo>
                      <a:pt x="802195" y="1098730"/>
                    </a:lnTo>
                    <a:lnTo>
                      <a:pt x="798333" y="1102851"/>
                    </a:lnTo>
                    <a:lnTo>
                      <a:pt x="796337" y="1104370"/>
                    </a:lnTo>
                    <a:lnTo>
                      <a:pt x="794254" y="1105433"/>
                    </a:lnTo>
                    <a:lnTo>
                      <a:pt x="792085" y="1106214"/>
                    </a:lnTo>
                    <a:lnTo>
                      <a:pt x="787790" y="1107190"/>
                    </a:lnTo>
                    <a:lnTo>
                      <a:pt x="783777" y="1107928"/>
                    </a:lnTo>
                    <a:lnTo>
                      <a:pt x="777551" y="1108622"/>
                    </a:lnTo>
                    <a:lnTo>
                      <a:pt x="773907" y="1108665"/>
                    </a:lnTo>
                    <a:lnTo>
                      <a:pt x="764839" y="1108080"/>
                    </a:lnTo>
                    <a:lnTo>
                      <a:pt x="762670" y="1108080"/>
                    </a:lnTo>
                    <a:lnTo>
                      <a:pt x="757660" y="1108405"/>
                    </a:lnTo>
                    <a:lnTo>
                      <a:pt x="744579" y="1110119"/>
                    </a:lnTo>
                    <a:lnTo>
                      <a:pt x="741585" y="1110336"/>
                    </a:lnTo>
                    <a:lnTo>
                      <a:pt x="727724" y="1110726"/>
                    </a:lnTo>
                    <a:lnTo>
                      <a:pt x="724123" y="1111269"/>
                    </a:lnTo>
                    <a:lnTo>
                      <a:pt x="722778" y="1111637"/>
                    </a:lnTo>
                    <a:lnTo>
                      <a:pt x="721195" y="1112396"/>
                    </a:lnTo>
                    <a:lnTo>
                      <a:pt x="719655" y="1113351"/>
                    </a:lnTo>
                    <a:lnTo>
                      <a:pt x="718700" y="1114392"/>
                    </a:lnTo>
                    <a:lnTo>
                      <a:pt x="713190" y="1123156"/>
                    </a:lnTo>
                    <a:lnTo>
                      <a:pt x="707897" y="1134610"/>
                    </a:lnTo>
                    <a:lnTo>
                      <a:pt x="704925" y="1142029"/>
                    </a:lnTo>
                    <a:lnTo>
                      <a:pt x="701454" y="1148905"/>
                    </a:lnTo>
                    <a:lnTo>
                      <a:pt x="699676" y="1151768"/>
                    </a:lnTo>
                    <a:lnTo>
                      <a:pt x="695337" y="1156519"/>
                    </a:lnTo>
                    <a:lnTo>
                      <a:pt x="689003" y="1155065"/>
                    </a:lnTo>
                    <a:lnTo>
                      <a:pt x="682734" y="1153960"/>
                    </a:lnTo>
                    <a:lnTo>
                      <a:pt x="678937" y="1153417"/>
                    </a:lnTo>
                    <a:lnTo>
                      <a:pt x="671779" y="1152788"/>
                    </a:lnTo>
                    <a:lnTo>
                      <a:pt x="664946" y="1152615"/>
                    </a:lnTo>
                    <a:lnTo>
                      <a:pt x="647657" y="1153157"/>
                    </a:lnTo>
                    <a:lnTo>
                      <a:pt x="643492" y="1152875"/>
                    </a:lnTo>
                    <a:lnTo>
                      <a:pt x="638069" y="1151552"/>
                    </a:lnTo>
                    <a:lnTo>
                      <a:pt x="630108" y="1148601"/>
                    </a:lnTo>
                    <a:lnTo>
                      <a:pt x="624945" y="1147018"/>
                    </a:lnTo>
                    <a:lnTo>
                      <a:pt x="618004" y="1146128"/>
                    </a:lnTo>
                    <a:lnTo>
                      <a:pt x="610519" y="1145759"/>
                    </a:lnTo>
                    <a:lnTo>
                      <a:pt x="602471" y="1145738"/>
                    </a:lnTo>
                    <a:lnTo>
                      <a:pt x="597937" y="1146388"/>
                    </a:lnTo>
                    <a:lnTo>
                      <a:pt x="579998" y="1151226"/>
                    </a:lnTo>
                    <a:lnTo>
                      <a:pt x="569283" y="1153656"/>
                    </a:lnTo>
                    <a:lnTo>
                      <a:pt x="537156" y="1113199"/>
                    </a:lnTo>
                    <a:lnTo>
                      <a:pt x="495441" y="1063914"/>
                    </a:lnTo>
                    <a:lnTo>
                      <a:pt x="500929" y="1061940"/>
                    </a:lnTo>
                    <a:lnTo>
                      <a:pt x="405135" y="960224"/>
                    </a:lnTo>
                    <a:lnTo>
                      <a:pt x="390190" y="944107"/>
                    </a:lnTo>
                    <a:lnTo>
                      <a:pt x="377608" y="931177"/>
                    </a:lnTo>
                    <a:lnTo>
                      <a:pt x="378670" y="930787"/>
                    </a:lnTo>
                    <a:lnTo>
                      <a:pt x="308018" y="848855"/>
                    </a:lnTo>
                    <a:lnTo>
                      <a:pt x="222203" y="749460"/>
                    </a:lnTo>
                    <a:lnTo>
                      <a:pt x="175304" y="695098"/>
                    </a:lnTo>
                    <a:lnTo>
                      <a:pt x="176584" y="694578"/>
                    </a:lnTo>
                    <a:lnTo>
                      <a:pt x="174523" y="692105"/>
                    </a:lnTo>
                    <a:lnTo>
                      <a:pt x="152505" y="667310"/>
                    </a:lnTo>
                    <a:lnTo>
                      <a:pt x="127320" y="640933"/>
                    </a:lnTo>
                    <a:lnTo>
                      <a:pt x="128795" y="640369"/>
                    </a:lnTo>
                    <a:lnTo>
                      <a:pt x="111441" y="623644"/>
                    </a:lnTo>
                    <a:lnTo>
                      <a:pt x="101637" y="615748"/>
                    </a:lnTo>
                    <a:lnTo>
                      <a:pt x="91506" y="605986"/>
                    </a:lnTo>
                    <a:lnTo>
                      <a:pt x="80724" y="590606"/>
                    </a:lnTo>
                    <a:lnTo>
                      <a:pt x="75670" y="585986"/>
                    </a:lnTo>
                    <a:lnTo>
                      <a:pt x="58208" y="574055"/>
                    </a:lnTo>
                    <a:lnTo>
                      <a:pt x="32415" y="549369"/>
                    </a:lnTo>
                    <a:lnTo>
                      <a:pt x="27253" y="543577"/>
                    </a:lnTo>
                    <a:lnTo>
                      <a:pt x="10289" y="522231"/>
                    </a:lnTo>
                    <a:lnTo>
                      <a:pt x="17925" y="520040"/>
                    </a:lnTo>
                    <a:lnTo>
                      <a:pt x="9053" y="513229"/>
                    </a:lnTo>
                    <a:lnTo>
                      <a:pt x="19725" y="507285"/>
                    </a:lnTo>
                    <a:lnTo>
                      <a:pt x="7144" y="497980"/>
                    </a:lnTo>
                    <a:lnTo>
                      <a:pt x="13369" y="491883"/>
                    </a:lnTo>
                    <a:lnTo>
                      <a:pt x="21070" y="488022"/>
                    </a:lnTo>
                    <a:lnTo>
                      <a:pt x="28294" y="483879"/>
                    </a:lnTo>
                    <a:lnTo>
                      <a:pt x="23110" y="480474"/>
                    </a:lnTo>
                    <a:lnTo>
                      <a:pt x="31092" y="476026"/>
                    </a:lnTo>
                    <a:lnTo>
                      <a:pt x="57644" y="460342"/>
                    </a:lnTo>
                    <a:lnTo>
                      <a:pt x="73784" y="449996"/>
                    </a:lnTo>
                    <a:lnTo>
                      <a:pt x="111484" y="424854"/>
                    </a:lnTo>
                    <a:lnTo>
                      <a:pt x="154306" y="410169"/>
                    </a:lnTo>
                    <a:lnTo>
                      <a:pt x="159511" y="408367"/>
                    </a:lnTo>
                    <a:lnTo>
                      <a:pt x="135151" y="381794"/>
                    </a:lnTo>
                    <a:lnTo>
                      <a:pt x="210966" y="355720"/>
                    </a:lnTo>
                    <a:lnTo>
                      <a:pt x="211248" y="343897"/>
                    </a:lnTo>
                    <a:lnTo>
                      <a:pt x="209404" y="340384"/>
                    </a:lnTo>
                    <a:lnTo>
                      <a:pt x="197799" y="327715"/>
                    </a:lnTo>
                    <a:lnTo>
                      <a:pt x="196150" y="325026"/>
                    </a:lnTo>
                    <a:lnTo>
                      <a:pt x="234958" y="311706"/>
                    </a:lnTo>
                    <a:lnTo>
                      <a:pt x="238429" y="304093"/>
                    </a:lnTo>
                    <a:lnTo>
                      <a:pt x="244090" y="290382"/>
                    </a:lnTo>
                    <a:lnTo>
                      <a:pt x="245327" y="288235"/>
                    </a:lnTo>
                    <a:lnTo>
                      <a:pt x="245826" y="286065"/>
                    </a:lnTo>
                    <a:lnTo>
                      <a:pt x="229643" y="268321"/>
                    </a:lnTo>
                    <a:lnTo>
                      <a:pt x="243114" y="263679"/>
                    </a:lnTo>
                    <a:lnTo>
                      <a:pt x="261250" y="257475"/>
                    </a:lnTo>
                    <a:lnTo>
                      <a:pt x="249166" y="241727"/>
                    </a:lnTo>
                    <a:lnTo>
                      <a:pt x="246738" y="238234"/>
                    </a:lnTo>
                    <a:lnTo>
                      <a:pt x="243093" y="231553"/>
                    </a:lnTo>
                    <a:lnTo>
                      <a:pt x="240186" y="224220"/>
                    </a:lnTo>
                    <a:lnTo>
                      <a:pt x="238429" y="217778"/>
                    </a:lnTo>
                    <a:lnTo>
                      <a:pt x="237041" y="207235"/>
                    </a:lnTo>
                    <a:lnTo>
                      <a:pt x="233462" y="205218"/>
                    </a:lnTo>
                    <a:lnTo>
                      <a:pt x="229340" y="203417"/>
                    </a:lnTo>
                    <a:lnTo>
                      <a:pt x="226584" y="201964"/>
                    </a:lnTo>
                    <a:lnTo>
                      <a:pt x="219946" y="197409"/>
                    </a:lnTo>
                    <a:lnTo>
                      <a:pt x="215760" y="194914"/>
                    </a:lnTo>
                    <a:lnTo>
                      <a:pt x="208840" y="189816"/>
                    </a:lnTo>
                    <a:lnTo>
                      <a:pt x="206476" y="188427"/>
                    </a:lnTo>
                    <a:lnTo>
                      <a:pt x="203222" y="187647"/>
                    </a:lnTo>
                    <a:lnTo>
                      <a:pt x="200793" y="186302"/>
                    </a:lnTo>
                    <a:lnTo>
                      <a:pt x="195174" y="182810"/>
                    </a:lnTo>
                    <a:lnTo>
                      <a:pt x="190944" y="179057"/>
                    </a:lnTo>
                    <a:lnTo>
                      <a:pt x="186996" y="177647"/>
                    </a:lnTo>
                    <a:lnTo>
                      <a:pt x="192159" y="167668"/>
                    </a:lnTo>
                    <a:lnTo>
                      <a:pt x="194415" y="159793"/>
                    </a:lnTo>
                    <a:lnTo>
                      <a:pt x="200988" y="159316"/>
                    </a:lnTo>
                    <a:lnTo>
                      <a:pt x="207149" y="158341"/>
                    </a:lnTo>
                    <a:lnTo>
                      <a:pt x="208515" y="157776"/>
                    </a:lnTo>
                    <a:lnTo>
                      <a:pt x="210229" y="156258"/>
                    </a:lnTo>
                    <a:lnTo>
                      <a:pt x="223852" y="145629"/>
                    </a:lnTo>
                    <a:lnTo>
                      <a:pt x="224893" y="144327"/>
                    </a:lnTo>
                    <a:lnTo>
                      <a:pt x="226953" y="142635"/>
                    </a:lnTo>
                    <a:lnTo>
                      <a:pt x="235435" y="136605"/>
                    </a:lnTo>
                    <a:lnTo>
                      <a:pt x="235566" y="136670"/>
                    </a:lnTo>
                    <a:lnTo>
                      <a:pt x="236151" y="136279"/>
                    </a:lnTo>
                    <a:lnTo>
                      <a:pt x="238103" y="134544"/>
                    </a:lnTo>
                    <a:lnTo>
                      <a:pt x="246195" y="128709"/>
                    </a:lnTo>
                    <a:lnTo>
                      <a:pt x="249340" y="126063"/>
                    </a:lnTo>
                    <a:lnTo>
                      <a:pt x="279298" y="115758"/>
                    </a:lnTo>
                    <a:lnTo>
                      <a:pt x="404767" y="72677"/>
                    </a:lnTo>
                    <a:lnTo>
                      <a:pt x="513620" y="191877"/>
                    </a:lnTo>
                    <a:lnTo>
                      <a:pt x="564032" y="174501"/>
                    </a:lnTo>
                    <a:lnTo>
                      <a:pt x="563686" y="174110"/>
                    </a:lnTo>
                    <a:lnTo>
                      <a:pt x="564575" y="173786"/>
                    </a:lnTo>
                    <a:lnTo>
                      <a:pt x="564944" y="174198"/>
                    </a:lnTo>
                    <a:lnTo>
                      <a:pt x="567785" y="173265"/>
                    </a:lnTo>
                    <a:lnTo>
                      <a:pt x="602016" y="161486"/>
                    </a:lnTo>
                    <a:lnTo>
                      <a:pt x="726921" y="118296"/>
                    </a:lnTo>
                    <a:lnTo>
                      <a:pt x="836078" y="80942"/>
                    </a:lnTo>
                    <a:lnTo>
                      <a:pt x="872282" y="102092"/>
                    </a:lnTo>
                    <a:lnTo>
                      <a:pt x="880916" y="107840"/>
                    </a:lnTo>
                    <a:lnTo>
                      <a:pt x="894929" y="115390"/>
                    </a:lnTo>
                    <a:lnTo>
                      <a:pt x="899680" y="112829"/>
                    </a:lnTo>
                    <a:lnTo>
                      <a:pt x="908075" y="108535"/>
                    </a:lnTo>
                    <a:lnTo>
                      <a:pt x="910830" y="106777"/>
                    </a:lnTo>
                    <a:lnTo>
                      <a:pt x="913606" y="104717"/>
                    </a:lnTo>
                    <a:lnTo>
                      <a:pt x="915863" y="102352"/>
                    </a:lnTo>
                    <a:lnTo>
                      <a:pt x="918986" y="98295"/>
                    </a:lnTo>
                    <a:lnTo>
                      <a:pt x="928618" y="87124"/>
                    </a:lnTo>
                    <a:lnTo>
                      <a:pt x="936102" y="81853"/>
                    </a:lnTo>
                    <a:lnTo>
                      <a:pt x="963477" y="65410"/>
                    </a:lnTo>
                    <a:lnTo>
                      <a:pt x="976732" y="56018"/>
                    </a:lnTo>
                    <a:lnTo>
                      <a:pt x="987165" y="46906"/>
                    </a:lnTo>
                    <a:lnTo>
                      <a:pt x="994281" y="38468"/>
                    </a:lnTo>
                    <a:lnTo>
                      <a:pt x="997925" y="32806"/>
                    </a:lnTo>
                    <a:lnTo>
                      <a:pt x="1004520" y="20116"/>
                    </a:lnTo>
                    <a:lnTo>
                      <a:pt x="1011657" y="19140"/>
                    </a:lnTo>
                    <a:lnTo>
                      <a:pt x="1018729" y="18511"/>
                    </a:lnTo>
                    <a:lnTo>
                      <a:pt x="1027015" y="18207"/>
                    </a:lnTo>
                    <a:lnTo>
                      <a:pt x="1044195" y="18380"/>
                    </a:lnTo>
                    <a:lnTo>
                      <a:pt x="1061788" y="7144"/>
                    </a:lnTo>
                    <a:lnTo>
                      <a:pt x="1070465" y="8944"/>
                    </a:lnTo>
                    <a:lnTo>
                      <a:pt x="1101983" y="10550"/>
                    </a:lnTo>
                    <a:lnTo>
                      <a:pt x="1117385" y="15322"/>
                    </a:lnTo>
                    <a:lnTo>
                      <a:pt x="1121160" y="15799"/>
                    </a:lnTo>
                    <a:lnTo>
                      <a:pt x="1130943" y="15604"/>
                    </a:lnTo>
                    <a:lnTo>
                      <a:pt x="1142115" y="14845"/>
                    </a:lnTo>
                    <a:lnTo>
                      <a:pt x="1160987" y="14867"/>
                    </a:lnTo>
                    <a:lnTo>
                      <a:pt x="1179101" y="16103"/>
                    </a:lnTo>
                    <a:lnTo>
                      <a:pt x="1192355" y="17838"/>
                    </a:lnTo>
                    <a:lnTo>
                      <a:pt x="1203418" y="20073"/>
                    </a:lnTo>
                    <a:lnTo>
                      <a:pt x="1210208" y="21873"/>
                    </a:lnTo>
                    <a:lnTo>
                      <a:pt x="1213635" y="23023"/>
                    </a:lnTo>
                    <a:lnTo>
                      <a:pt x="1216932" y="24433"/>
                    </a:lnTo>
                    <a:lnTo>
                      <a:pt x="1221335" y="26689"/>
                    </a:lnTo>
                    <a:lnTo>
                      <a:pt x="1225587" y="29184"/>
                    </a:lnTo>
                    <a:lnTo>
                      <a:pt x="1244481" y="41006"/>
                    </a:lnTo>
                    <a:lnTo>
                      <a:pt x="1258755" y="51462"/>
                    </a:lnTo>
                    <a:lnTo>
                      <a:pt x="1264655" y="55518"/>
                    </a:lnTo>
                    <a:lnTo>
                      <a:pt x="1272226" y="59878"/>
                    </a:lnTo>
                    <a:lnTo>
                      <a:pt x="1293484" y="71006"/>
                    </a:lnTo>
                    <a:lnTo>
                      <a:pt x="1302553" y="76017"/>
                    </a:lnTo>
                    <a:lnTo>
                      <a:pt x="1305937" y="78382"/>
                    </a:lnTo>
                    <a:lnTo>
                      <a:pt x="1311836" y="82959"/>
                    </a:lnTo>
                    <a:lnTo>
                      <a:pt x="1314656" y="85518"/>
                    </a:lnTo>
                    <a:lnTo>
                      <a:pt x="1321923" y="92829"/>
                    </a:lnTo>
                    <a:lnTo>
                      <a:pt x="1335698" y="107363"/>
                    </a:lnTo>
                    <a:lnTo>
                      <a:pt x="1339429" y="111658"/>
                    </a:lnTo>
                    <a:lnTo>
                      <a:pt x="1341122" y="113979"/>
                    </a:lnTo>
                    <a:lnTo>
                      <a:pt x="1342575" y="115996"/>
                    </a:lnTo>
                    <a:lnTo>
                      <a:pt x="1346371" y="123480"/>
                    </a:lnTo>
                    <a:lnTo>
                      <a:pt x="1355959" y="146149"/>
                    </a:lnTo>
                    <a:lnTo>
                      <a:pt x="1359516" y="152982"/>
                    </a:lnTo>
                    <a:lnTo>
                      <a:pt x="1361556" y="156562"/>
                    </a:lnTo>
                    <a:lnTo>
                      <a:pt x="1368997" y="167516"/>
                    </a:lnTo>
                    <a:lnTo>
                      <a:pt x="1370320" y="168839"/>
                    </a:lnTo>
                    <a:lnTo>
                      <a:pt x="1379604" y="181205"/>
                    </a:lnTo>
                    <a:lnTo>
                      <a:pt x="1398237" y="206932"/>
                    </a:lnTo>
                    <a:lnTo>
                      <a:pt x="1414616" y="226910"/>
                    </a:lnTo>
                    <a:lnTo>
                      <a:pt x="1417393" y="231314"/>
                    </a:lnTo>
                    <a:lnTo>
                      <a:pt x="1428238" y="244437"/>
                    </a:lnTo>
                    <a:lnTo>
                      <a:pt x="1437262" y="257584"/>
                    </a:lnTo>
                    <a:lnTo>
                      <a:pt x="1442078" y="264200"/>
                    </a:lnTo>
                    <a:lnTo>
                      <a:pt x="1444291" y="266716"/>
                    </a:lnTo>
                    <a:lnTo>
                      <a:pt x="1450083" y="272312"/>
                    </a:lnTo>
                    <a:lnTo>
                      <a:pt x="1454096" y="277345"/>
                    </a:lnTo>
                    <a:lnTo>
                      <a:pt x="1457958" y="282681"/>
                    </a:lnTo>
                    <a:lnTo>
                      <a:pt x="1470344" y="297845"/>
                    </a:lnTo>
                    <a:lnTo>
                      <a:pt x="1472839" y="300382"/>
                    </a:lnTo>
                    <a:lnTo>
                      <a:pt x="1475550" y="303094"/>
                    </a:lnTo>
                    <a:lnTo>
                      <a:pt x="1478999" y="308778"/>
                    </a:lnTo>
                    <a:lnTo>
                      <a:pt x="1482144" y="316326"/>
                    </a:lnTo>
                    <a:lnTo>
                      <a:pt x="1482904" y="319385"/>
                    </a:lnTo>
                    <a:lnTo>
                      <a:pt x="1483121" y="321424"/>
                    </a:lnTo>
                    <a:lnTo>
                      <a:pt x="1482968" y="323203"/>
                    </a:lnTo>
                    <a:lnTo>
                      <a:pt x="1482513" y="324830"/>
                    </a:lnTo>
                    <a:lnTo>
                      <a:pt x="1480062" y="331273"/>
                    </a:lnTo>
                    <a:lnTo>
                      <a:pt x="1478847" y="335221"/>
                    </a:lnTo>
                    <a:lnTo>
                      <a:pt x="1478261" y="338040"/>
                    </a:lnTo>
                    <a:lnTo>
                      <a:pt x="1476656" y="360991"/>
                    </a:lnTo>
                    <a:lnTo>
                      <a:pt x="1477306" y="361881"/>
                    </a:lnTo>
                    <a:lnTo>
                      <a:pt x="1477675" y="364224"/>
                    </a:lnTo>
                    <a:lnTo>
                      <a:pt x="1477090" y="369495"/>
                    </a:lnTo>
                    <a:lnTo>
                      <a:pt x="1479281" y="373030"/>
                    </a:lnTo>
                    <a:lnTo>
                      <a:pt x="1481558" y="375135"/>
                    </a:lnTo>
                    <a:lnTo>
                      <a:pt x="1484986" y="374029"/>
                    </a:lnTo>
                    <a:lnTo>
                      <a:pt x="1487806" y="376068"/>
                    </a:lnTo>
                    <a:lnTo>
                      <a:pt x="1493750" y="379842"/>
                    </a:lnTo>
                    <a:lnTo>
                      <a:pt x="1498500" y="378627"/>
                    </a:lnTo>
                    <a:lnTo>
                      <a:pt x="1516396" y="367890"/>
                    </a:lnTo>
                    <a:lnTo>
                      <a:pt x="1532688" y="358605"/>
                    </a:lnTo>
                    <a:lnTo>
                      <a:pt x="1538003" y="355828"/>
                    </a:lnTo>
                    <a:lnTo>
                      <a:pt x="1548567" y="351034"/>
                    </a:lnTo>
                    <a:lnTo>
                      <a:pt x="1551863" y="349364"/>
                    </a:lnTo>
                    <a:lnTo>
                      <a:pt x="1561126" y="343919"/>
                    </a:lnTo>
                    <a:lnTo>
                      <a:pt x="1573383" y="337932"/>
                    </a:lnTo>
                    <a:lnTo>
                      <a:pt x="1588003" y="328843"/>
                    </a:lnTo>
                    <a:lnTo>
                      <a:pt x="1599912" y="321186"/>
                    </a:lnTo>
                    <a:lnTo>
                      <a:pt x="1614837" y="312205"/>
                    </a:lnTo>
                    <a:lnTo>
                      <a:pt x="1648786" y="289558"/>
                    </a:lnTo>
                    <a:lnTo>
                      <a:pt x="1652928" y="286586"/>
                    </a:lnTo>
                    <a:lnTo>
                      <a:pt x="1681671" y="269254"/>
                    </a:lnTo>
                    <a:lnTo>
                      <a:pt x="1687181" y="266239"/>
                    </a:lnTo>
                    <a:lnTo>
                      <a:pt x="1693320" y="263288"/>
                    </a:lnTo>
                    <a:lnTo>
                      <a:pt x="1723690" y="245804"/>
                    </a:lnTo>
                    <a:lnTo>
                      <a:pt x="1730263" y="242160"/>
                    </a:lnTo>
                    <a:lnTo>
                      <a:pt x="1743235" y="235566"/>
                    </a:lnTo>
                    <a:lnTo>
                      <a:pt x="1751587" y="231032"/>
                    </a:lnTo>
                    <a:lnTo>
                      <a:pt x="1805731" y="199838"/>
                    </a:lnTo>
                    <a:lnTo>
                      <a:pt x="1810373" y="196823"/>
                    </a:lnTo>
                    <a:lnTo>
                      <a:pt x="1837098" y="181725"/>
                    </a:lnTo>
                    <a:lnTo>
                      <a:pt x="1846882" y="175694"/>
                    </a:lnTo>
                    <a:lnTo>
                      <a:pt x="1866925" y="163894"/>
                    </a:lnTo>
                    <a:lnTo>
                      <a:pt x="1882587" y="155152"/>
                    </a:lnTo>
                    <a:lnTo>
                      <a:pt x="1890157" y="151355"/>
                    </a:lnTo>
                    <a:lnTo>
                      <a:pt x="1892436" y="153807"/>
                    </a:lnTo>
                    <a:lnTo>
                      <a:pt x="1894236" y="157321"/>
                    </a:lnTo>
                    <a:lnTo>
                      <a:pt x="1895190" y="163135"/>
                    </a:lnTo>
                    <a:lnTo>
                      <a:pt x="1896687" y="169295"/>
                    </a:lnTo>
                    <a:lnTo>
                      <a:pt x="1896297" y="170163"/>
                    </a:lnTo>
                    <a:lnTo>
                      <a:pt x="1898097" y="172288"/>
                    </a:lnTo>
                    <a:lnTo>
                      <a:pt x="1899095" y="174653"/>
                    </a:lnTo>
                    <a:lnTo>
                      <a:pt x="1899875" y="177972"/>
                    </a:lnTo>
                    <a:lnTo>
                      <a:pt x="1899833" y="179230"/>
                    </a:lnTo>
                    <a:lnTo>
                      <a:pt x="1901394" y="184436"/>
                    </a:lnTo>
                    <a:lnTo>
                      <a:pt x="1929182" y="179989"/>
                    </a:lnTo>
                    <a:lnTo>
                      <a:pt x="1929899" y="191378"/>
                    </a:lnTo>
                    <a:lnTo>
                      <a:pt x="1931807" y="206194"/>
                    </a:lnTo>
                    <a:lnTo>
                      <a:pt x="1933478" y="215847"/>
                    </a:lnTo>
                    <a:lnTo>
                      <a:pt x="1936341" y="235240"/>
                    </a:lnTo>
                    <a:lnTo>
                      <a:pt x="1958793" y="360818"/>
                    </a:lnTo>
                    <a:lnTo>
                      <a:pt x="1984064" y="504964"/>
                    </a:lnTo>
                    <a:lnTo>
                      <a:pt x="1991614" y="546961"/>
                    </a:lnTo>
                    <a:lnTo>
                      <a:pt x="1996472" y="571083"/>
                    </a:lnTo>
                    <a:lnTo>
                      <a:pt x="1997080" y="571408"/>
                    </a:lnTo>
                    <a:lnTo>
                      <a:pt x="1998468" y="577569"/>
                    </a:lnTo>
                    <a:lnTo>
                      <a:pt x="1999140" y="582580"/>
                    </a:lnTo>
                    <a:lnTo>
                      <a:pt x="2002003" y="594575"/>
                    </a:lnTo>
                    <a:lnTo>
                      <a:pt x="2004000" y="604620"/>
                    </a:lnTo>
                    <a:lnTo>
                      <a:pt x="2005714" y="615075"/>
                    </a:lnTo>
                    <a:lnTo>
                      <a:pt x="2007492" y="629783"/>
                    </a:lnTo>
                    <a:close/>
                  </a:path>
                </a:pathLst>
              </a:custGeom>
              <a:grp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grpSp>
        <p:sp>
          <p:nvSpPr>
            <p:cNvPr id="61" name="Freeform: Shape 60">
              <a:extLst>
                <a:ext uri="{FF2B5EF4-FFF2-40B4-BE49-F238E27FC236}">
                  <a16:creationId xmlns:a16="http://schemas.microsoft.com/office/drawing/2014/main" id="{D6B9E9A2-CC2F-4C49-A559-34DDB73833D7}"/>
                </a:ext>
              </a:extLst>
            </p:cNvPr>
            <p:cNvSpPr/>
            <p:nvPr/>
          </p:nvSpPr>
          <p:spPr>
            <a:xfrm>
              <a:off x="2115091" y="2490344"/>
              <a:ext cx="514815" cy="693862"/>
            </a:xfrm>
            <a:custGeom>
              <a:avLst/>
              <a:gdLst>
                <a:gd name="connsiteX0" fmla="*/ 47644 w 1300181"/>
                <a:gd name="connsiteY0" fmla="*/ 0 h 1748797"/>
                <a:gd name="connsiteX1" fmla="*/ 19 w 1300181"/>
                <a:gd name="connsiteY1" fmla="*/ 76200 h 1748797"/>
                <a:gd name="connsiteX2" fmla="*/ 52406 w 1300181"/>
                <a:gd name="connsiteY2" fmla="*/ 142875 h 1748797"/>
                <a:gd name="connsiteX3" fmla="*/ 52406 w 1300181"/>
                <a:gd name="connsiteY3" fmla="*/ 142875 h 1748797"/>
                <a:gd name="connsiteX4" fmla="*/ 785831 w 1300181"/>
                <a:gd name="connsiteY4" fmla="*/ 1604963 h 1748797"/>
                <a:gd name="connsiteX5" fmla="*/ 1300181 w 1300181"/>
                <a:gd name="connsiteY5" fmla="*/ 1614488 h 1748797"/>
                <a:gd name="connsiteX0" fmla="*/ 40586 w 1300310"/>
                <a:gd name="connsiteY0" fmla="*/ 0 h 1759577"/>
                <a:gd name="connsiteX1" fmla="*/ 148 w 1300310"/>
                <a:gd name="connsiteY1" fmla="*/ 86980 h 1759577"/>
                <a:gd name="connsiteX2" fmla="*/ 52535 w 1300310"/>
                <a:gd name="connsiteY2" fmla="*/ 153655 h 1759577"/>
                <a:gd name="connsiteX3" fmla="*/ 52535 w 1300310"/>
                <a:gd name="connsiteY3" fmla="*/ 153655 h 1759577"/>
                <a:gd name="connsiteX4" fmla="*/ 785960 w 1300310"/>
                <a:gd name="connsiteY4" fmla="*/ 1615743 h 1759577"/>
                <a:gd name="connsiteX5" fmla="*/ 1300310 w 1300310"/>
                <a:gd name="connsiteY5" fmla="*/ 1625268 h 1759577"/>
                <a:gd name="connsiteX0" fmla="*/ 54815 w 1300165"/>
                <a:gd name="connsiteY0" fmla="*/ 0 h 1750594"/>
                <a:gd name="connsiteX1" fmla="*/ 3 w 1300165"/>
                <a:gd name="connsiteY1" fmla="*/ 77997 h 1750594"/>
                <a:gd name="connsiteX2" fmla="*/ 52390 w 1300165"/>
                <a:gd name="connsiteY2" fmla="*/ 144672 h 1750594"/>
                <a:gd name="connsiteX3" fmla="*/ 52390 w 1300165"/>
                <a:gd name="connsiteY3" fmla="*/ 144672 h 1750594"/>
                <a:gd name="connsiteX4" fmla="*/ 785815 w 1300165"/>
                <a:gd name="connsiteY4" fmla="*/ 1606760 h 1750594"/>
                <a:gd name="connsiteX5" fmla="*/ 1300165 w 1300165"/>
                <a:gd name="connsiteY5" fmla="*/ 1616285 h 1750594"/>
                <a:gd name="connsiteX0" fmla="*/ 49429 w 1300169"/>
                <a:gd name="connsiteY0" fmla="*/ 0 h 1752390"/>
                <a:gd name="connsiteX1" fmla="*/ 7 w 1300169"/>
                <a:gd name="connsiteY1" fmla="*/ 79793 h 1752390"/>
                <a:gd name="connsiteX2" fmla="*/ 52394 w 1300169"/>
                <a:gd name="connsiteY2" fmla="*/ 146468 h 1752390"/>
                <a:gd name="connsiteX3" fmla="*/ 52394 w 1300169"/>
                <a:gd name="connsiteY3" fmla="*/ 146468 h 1752390"/>
                <a:gd name="connsiteX4" fmla="*/ 785819 w 1300169"/>
                <a:gd name="connsiteY4" fmla="*/ 1608556 h 1752390"/>
                <a:gd name="connsiteX5" fmla="*/ 1300169 w 1300169"/>
                <a:gd name="connsiteY5" fmla="*/ 1618081 h 1752390"/>
                <a:gd name="connsiteX0" fmla="*/ 45866 w 1300199"/>
                <a:gd name="connsiteY0" fmla="*/ 0 h 1752390"/>
                <a:gd name="connsiteX1" fmla="*/ 37 w 1300199"/>
                <a:gd name="connsiteY1" fmla="*/ 79793 h 1752390"/>
                <a:gd name="connsiteX2" fmla="*/ 52424 w 1300199"/>
                <a:gd name="connsiteY2" fmla="*/ 146468 h 1752390"/>
                <a:gd name="connsiteX3" fmla="*/ 52424 w 1300199"/>
                <a:gd name="connsiteY3" fmla="*/ 146468 h 1752390"/>
                <a:gd name="connsiteX4" fmla="*/ 785849 w 1300199"/>
                <a:gd name="connsiteY4" fmla="*/ 1608556 h 1752390"/>
                <a:gd name="connsiteX5" fmla="*/ 1300199 w 1300199"/>
                <a:gd name="connsiteY5" fmla="*/ 1618081 h 17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0199" h="1752390">
                  <a:moveTo>
                    <a:pt x="45866" y="0"/>
                  </a:moveTo>
                  <a:cubicBezTo>
                    <a:pt x="21656" y="26194"/>
                    <a:pt x="-1056" y="55382"/>
                    <a:pt x="37" y="79793"/>
                  </a:cubicBezTo>
                  <a:cubicBezTo>
                    <a:pt x="1130" y="104204"/>
                    <a:pt x="52424" y="146468"/>
                    <a:pt x="52424" y="146468"/>
                  </a:cubicBezTo>
                  <a:lnTo>
                    <a:pt x="52424" y="146468"/>
                  </a:lnTo>
                  <a:cubicBezTo>
                    <a:pt x="174662" y="390149"/>
                    <a:pt x="577887" y="1363287"/>
                    <a:pt x="785849" y="1608556"/>
                  </a:cubicBezTo>
                  <a:cubicBezTo>
                    <a:pt x="993811" y="1853825"/>
                    <a:pt x="1147005" y="1735953"/>
                    <a:pt x="1300199" y="1618081"/>
                  </a:cubicBezTo>
                </a:path>
              </a:pathLst>
            </a:custGeom>
            <a:noFill/>
            <a:ln w="34925">
              <a:solidFill>
                <a:schemeClr val="accent2"/>
              </a:solidFill>
            </a:ln>
          </p:spPr>
          <p:txBody>
            <a:bodyPr rtlCol="0" anchor="ctr"/>
            <a:lstStyle/>
            <a:p>
              <a:pPr algn="ctr"/>
              <a:endParaRPr lang="nl-NL"/>
            </a:p>
          </p:txBody>
        </p:sp>
        <p:sp>
          <p:nvSpPr>
            <p:cNvPr id="65" name="Freeform: Shape 64">
              <a:extLst>
                <a:ext uri="{FF2B5EF4-FFF2-40B4-BE49-F238E27FC236}">
                  <a16:creationId xmlns:a16="http://schemas.microsoft.com/office/drawing/2014/main" id="{60639F0D-E775-4643-80B5-BE6A185E5181}"/>
                </a:ext>
              </a:extLst>
            </p:cNvPr>
            <p:cNvSpPr/>
            <p:nvPr/>
          </p:nvSpPr>
          <p:spPr>
            <a:xfrm>
              <a:off x="2321906" y="2924050"/>
              <a:ext cx="264000" cy="137203"/>
            </a:xfrm>
            <a:custGeom>
              <a:avLst/>
              <a:gdLst>
                <a:gd name="connsiteX0" fmla="*/ 0 w 666750"/>
                <a:gd name="connsiteY0" fmla="*/ 60766 h 346516"/>
                <a:gd name="connsiteX1" fmla="*/ 38100 w 666750"/>
                <a:gd name="connsiteY1" fmla="*/ 133791 h 346516"/>
                <a:gd name="connsiteX2" fmla="*/ 95250 w 666750"/>
                <a:gd name="connsiteY2" fmla="*/ 127441 h 346516"/>
                <a:gd name="connsiteX3" fmla="*/ 412750 w 666750"/>
                <a:gd name="connsiteY3" fmla="*/ 441 h 346516"/>
                <a:gd name="connsiteX4" fmla="*/ 498475 w 666750"/>
                <a:gd name="connsiteY4" fmla="*/ 95691 h 346516"/>
                <a:gd name="connsiteX5" fmla="*/ 666750 w 666750"/>
                <a:gd name="connsiteY5" fmla="*/ 346516 h 34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0" h="346516">
                  <a:moveTo>
                    <a:pt x="0" y="60766"/>
                  </a:moveTo>
                  <a:cubicBezTo>
                    <a:pt x="11112" y="91722"/>
                    <a:pt x="22225" y="122679"/>
                    <a:pt x="38100" y="133791"/>
                  </a:cubicBezTo>
                  <a:cubicBezTo>
                    <a:pt x="53975" y="144904"/>
                    <a:pt x="32808" y="149666"/>
                    <a:pt x="95250" y="127441"/>
                  </a:cubicBezTo>
                  <a:cubicBezTo>
                    <a:pt x="157692" y="105216"/>
                    <a:pt x="345546" y="5733"/>
                    <a:pt x="412750" y="441"/>
                  </a:cubicBezTo>
                  <a:cubicBezTo>
                    <a:pt x="479954" y="-4851"/>
                    <a:pt x="456142" y="38012"/>
                    <a:pt x="498475" y="95691"/>
                  </a:cubicBezTo>
                  <a:cubicBezTo>
                    <a:pt x="540808" y="153370"/>
                    <a:pt x="603779" y="249943"/>
                    <a:pt x="666750" y="346516"/>
                  </a:cubicBezTo>
                </a:path>
              </a:pathLst>
            </a:custGeom>
            <a:noFill/>
            <a:ln w="34925">
              <a:solidFill>
                <a:schemeClr val="accent2"/>
              </a:solidFill>
            </a:ln>
          </p:spPr>
          <p:txBody>
            <a:bodyPr rtlCol="0" anchor="ctr"/>
            <a:lstStyle/>
            <a:p>
              <a:pPr algn="ctr"/>
              <a:endParaRPr lang="nl-NL"/>
            </a:p>
          </p:txBody>
        </p:sp>
        <p:sp>
          <p:nvSpPr>
            <p:cNvPr id="70" name="Freeform: Shape 69">
              <a:extLst>
                <a:ext uri="{FF2B5EF4-FFF2-40B4-BE49-F238E27FC236}">
                  <a16:creationId xmlns:a16="http://schemas.microsoft.com/office/drawing/2014/main" id="{C8AECFC2-68C3-4E15-82FB-9E78A54D4E81}"/>
                </a:ext>
              </a:extLst>
            </p:cNvPr>
            <p:cNvSpPr/>
            <p:nvPr/>
          </p:nvSpPr>
          <p:spPr>
            <a:xfrm>
              <a:off x="1740373" y="2284258"/>
              <a:ext cx="533669" cy="594104"/>
            </a:xfrm>
            <a:custGeom>
              <a:avLst/>
              <a:gdLst>
                <a:gd name="connsiteX0" fmla="*/ 1321588 w 1346002"/>
                <a:gd name="connsiteY0" fmla="*/ 1549911 h 1638947"/>
                <a:gd name="connsiteX1" fmla="*/ 1343813 w 1346002"/>
                <a:gd name="connsiteY1" fmla="*/ 1610236 h 1638947"/>
                <a:gd name="connsiteX2" fmla="*/ 1273963 w 1346002"/>
                <a:gd name="connsiteY2" fmla="*/ 1629286 h 1638947"/>
                <a:gd name="connsiteX3" fmla="*/ 988213 w 1346002"/>
                <a:gd name="connsiteY3" fmla="*/ 1457836 h 1638947"/>
                <a:gd name="connsiteX4" fmla="*/ 845338 w 1346002"/>
                <a:gd name="connsiteY4" fmla="*/ 1426086 h 1638947"/>
                <a:gd name="connsiteX5" fmla="*/ 162713 w 1346002"/>
                <a:gd name="connsiteY5" fmla="*/ 1324486 h 1638947"/>
                <a:gd name="connsiteX6" fmla="*/ 67463 w 1346002"/>
                <a:gd name="connsiteY6" fmla="*/ 1045086 h 1638947"/>
                <a:gd name="connsiteX7" fmla="*/ 10313 w 1346002"/>
                <a:gd name="connsiteY7" fmla="*/ 108461 h 1638947"/>
                <a:gd name="connsiteX8" fmla="*/ 283363 w 1346002"/>
                <a:gd name="connsiteY8" fmla="*/ 57661 h 1638947"/>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845338 w 1346002"/>
                <a:gd name="connsiteY4" fmla="*/ 142608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55485"/>
                <a:gd name="connsiteY0" fmla="*/ 1549911 h 1641478"/>
                <a:gd name="connsiteX1" fmla="*/ 1343813 w 1355485"/>
                <a:gd name="connsiteY1" fmla="*/ 1610236 h 1641478"/>
                <a:gd name="connsiteX2" fmla="*/ 1137438 w 1355485"/>
                <a:gd name="connsiteY2" fmla="*/ 1629286 h 1641478"/>
                <a:gd name="connsiteX3" fmla="*/ 943763 w 1355485"/>
                <a:gd name="connsiteY3" fmla="*/ 1422911 h 1641478"/>
                <a:gd name="connsiteX4" fmla="*/ 762788 w 1355485"/>
                <a:gd name="connsiteY4" fmla="*/ 1394336 h 1641478"/>
                <a:gd name="connsiteX5" fmla="*/ 162713 w 1355485"/>
                <a:gd name="connsiteY5" fmla="*/ 1324486 h 1641478"/>
                <a:gd name="connsiteX6" fmla="*/ 67463 w 1355485"/>
                <a:gd name="connsiteY6" fmla="*/ 1045086 h 1641478"/>
                <a:gd name="connsiteX7" fmla="*/ 10313 w 1355485"/>
                <a:gd name="connsiteY7" fmla="*/ 108461 h 1641478"/>
                <a:gd name="connsiteX8" fmla="*/ 283363 w 1355485"/>
                <a:gd name="connsiteY8" fmla="*/ 57661 h 1641478"/>
                <a:gd name="connsiteX0" fmla="*/ 1331113 w 1358225"/>
                <a:gd name="connsiteY0" fmla="*/ 1534036 h 1641946"/>
                <a:gd name="connsiteX1" fmla="*/ 1343813 w 1358225"/>
                <a:gd name="connsiteY1" fmla="*/ 1610236 h 1641946"/>
                <a:gd name="connsiteX2" fmla="*/ 1137438 w 1358225"/>
                <a:gd name="connsiteY2" fmla="*/ 1629286 h 1641946"/>
                <a:gd name="connsiteX3" fmla="*/ 943763 w 1358225"/>
                <a:gd name="connsiteY3" fmla="*/ 1422911 h 1641946"/>
                <a:gd name="connsiteX4" fmla="*/ 762788 w 1358225"/>
                <a:gd name="connsiteY4" fmla="*/ 1394336 h 1641946"/>
                <a:gd name="connsiteX5" fmla="*/ 162713 w 1358225"/>
                <a:gd name="connsiteY5" fmla="*/ 1324486 h 1641946"/>
                <a:gd name="connsiteX6" fmla="*/ 67463 w 1358225"/>
                <a:gd name="connsiteY6" fmla="*/ 1045086 h 1641946"/>
                <a:gd name="connsiteX7" fmla="*/ 10313 w 1358225"/>
                <a:gd name="connsiteY7" fmla="*/ 108461 h 1641946"/>
                <a:gd name="connsiteX8" fmla="*/ 283363 w 1358225"/>
                <a:gd name="connsiteY8" fmla="*/ 57661 h 1641946"/>
                <a:gd name="connsiteX0" fmla="*/ 1315238 w 1353973"/>
                <a:gd name="connsiteY0" fmla="*/ 1540386 h 1641755"/>
                <a:gd name="connsiteX1" fmla="*/ 1343813 w 1353973"/>
                <a:gd name="connsiteY1" fmla="*/ 1610236 h 1641755"/>
                <a:gd name="connsiteX2" fmla="*/ 1137438 w 1353973"/>
                <a:gd name="connsiteY2" fmla="*/ 1629286 h 1641755"/>
                <a:gd name="connsiteX3" fmla="*/ 943763 w 1353973"/>
                <a:gd name="connsiteY3" fmla="*/ 1422911 h 1641755"/>
                <a:gd name="connsiteX4" fmla="*/ 762788 w 1353973"/>
                <a:gd name="connsiteY4" fmla="*/ 1394336 h 1641755"/>
                <a:gd name="connsiteX5" fmla="*/ 162713 w 1353973"/>
                <a:gd name="connsiteY5" fmla="*/ 1324486 h 1641755"/>
                <a:gd name="connsiteX6" fmla="*/ 67463 w 1353973"/>
                <a:gd name="connsiteY6" fmla="*/ 1045086 h 1641755"/>
                <a:gd name="connsiteX7" fmla="*/ 10313 w 1353973"/>
                <a:gd name="connsiteY7" fmla="*/ 108461 h 1641755"/>
                <a:gd name="connsiteX8" fmla="*/ 283363 w 1353973"/>
                <a:gd name="connsiteY8" fmla="*/ 57661 h 1641755"/>
                <a:gd name="connsiteX0" fmla="*/ 1321588 w 1355485"/>
                <a:gd name="connsiteY0" fmla="*/ 1534036 h 1641946"/>
                <a:gd name="connsiteX1" fmla="*/ 1343813 w 1355485"/>
                <a:gd name="connsiteY1" fmla="*/ 1610236 h 1641946"/>
                <a:gd name="connsiteX2" fmla="*/ 1137438 w 1355485"/>
                <a:gd name="connsiteY2" fmla="*/ 1629286 h 1641946"/>
                <a:gd name="connsiteX3" fmla="*/ 943763 w 1355485"/>
                <a:gd name="connsiteY3" fmla="*/ 1422911 h 1641946"/>
                <a:gd name="connsiteX4" fmla="*/ 762788 w 1355485"/>
                <a:gd name="connsiteY4" fmla="*/ 1394336 h 1641946"/>
                <a:gd name="connsiteX5" fmla="*/ 162713 w 1355485"/>
                <a:gd name="connsiteY5" fmla="*/ 1324486 h 1641946"/>
                <a:gd name="connsiteX6" fmla="*/ 67463 w 1355485"/>
                <a:gd name="connsiteY6" fmla="*/ 1045086 h 1641946"/>
                <a:gd name="connsiteX7" fmla="*/ 10313 w 1355485"/>
                <a:gd name="connsiteY7" fmla="*/ 108461 h 1641946"/>
                <a:gd name="connsiteX8" fmla="*/ 283363 w 1355485"/>
                <a:gd name="connsiteY8" fmla="*/ 57661 h 1641946"/>
                <a:gd name="connsiteX0" fmla="*/ 1333495 w 1359016"/>
                <a:gd name="connsiteY0" fmla="*/ 1555467 h 1641320"/>
                <a:gd name="connsiteX1" fmla="*/ 1343813 w 1359016"/>
                <a:gd name="connsiteY1" fmla="*/ 1610236 h 1641320"/>
                <a:gd name="connsiteX2" fmla="*/ 1137438 w 1359016"/>
                <a:gd name="connsiteY2" fmla="*/ 1629286 h 1641320"/>
                <a:gd name="connsiteX3" fmla="*/ 943763 w 1359016"/>
                <a:gd name="connsiteY3" fmla="*/ 1422911 h 1641320"/>
                <a:gd name="connsiteX4" fmla="*/ 762788 w 1359016"/>
                <a:gd name="connsiteY4" fmla="*/ 1394336 h 1641320"/>
                <a:gd name="connsiteX5" fmla="*/ 162713 w 1359016"/>
                <a:gd name="connsiteY5" fmla="*/ 1324486 h 1641320"/>
                <a:gd name="connsiteX6" fmla="*/ 67463 w 1359016"/>
                <a:gd name="connsiteY6" fmla="*/ 1045086 h 1641320"/>
                <a:gd name="connsiteX7" fmla="*/ 10313 w 1359016"/>
                <a:gd name="connsiteY7" fmla="*/ 108461 h 1641320"/>
                <a:gd name="connsiteX8" fmla="*/ 283363 w 1359016"/>
                <a:gd name="connsiteY8" fmla="*/ 57661 h 1641320"/>
                <a:gd name="connsiteX0" fmla="*/ 1333495 w 1359016"/>
                <a:gd name="connsiteY0" fmla="*/ 1516775 h 1602628"/>
                <a:gd name="connsiteX1" fmla="*/ 1343813 w 1359016"/>
                <a:gd name="connsiteY1" fmla="*/ 1571544 h 1602628"/>
                <a:gd name="connsiteX2" fmla="*/ 1137438 w 1359016"/>
                <a:gd name="connsiteY2" fmla="*/ 1590594 h 1602628"/>
                <a:gd name="connsiteX3" fmla="*/ 943763 w 1359016"/>
                <a:gd name="connsiteY3" fmla="*/ 1384219 h 1602628"/>
                <a:gd name="connsiteX4" fmla="*/ 762788 w 1359016"/>
                <a:gd name="connsiteY4" fmla="*/ 1355644 h 1602628"/>
                <a:gd name="connsiteX5" fmla="*/ 162713 w 1359016"/>
                <a:gd name="connsiteY5" fmla="*/ 1285794 h 1602628"/>
                <a:gd name="connsiteX6" fmla="*/ 67463 w 1359016"/>
                <a:gd name="connsiteY6" fmla="*/ 1006394 h 1602628"/>
                <a:gd name="connsiteX7" fmla="*/ 10313 w 1359016"/>
                <a:gd name="connsiteY7" fmla="*/ 200738 h 1602628"/>
                <a:gd name="connsiteX8" fmla="*/ 283363 w 1359016"/>
                <a:gd name="connsiteY8" fmla="*/ 18969 h 1602628"/>
                <a:gd name="connsiteX0" fmla="*/ 1337729 w 1363250"/>
                <a:gd name="connsiteY0" fmla="*/ 1412283 h 1498136"/>
                <a:gd name="connsiteX1" fmla="*/ 1348047 w 1363250"/>
                <a:gd name="connsiteY1" fmla="*/ 1467052 h 1498136"/>
                <a:gd name="connsiteX2" fmla="*/ 1141672 w 1363250"/>
                <a:gd name="connsiteY2" fmla="*/ 1486102 h 1498136"/>
                <a:gd name="connsiteX3" fmla="*/ 947997 w 1363250"/>
                <a:gd name="connsiteY3" fmla="*/ 1279727 h 1498136"/>
                <a:gd name="connsiteX4" fmla="*/ 767022 w 1363250"/>
                <a:gd name="connsiteY4" fmla="*/ 1251152 h 1498136"/>
                <a:gd name="connsiteX5" fmla="*/ 166947 w 1363250"/>
                <a:gd name="connsiteY5" fmla="*/ 1181302 h 1498136"/>
                <a:gd name="connsiteX6" fmla="*/ 71697 w 1363250"/>
                <a:gd name="connsiteY6" fmla="*/ 901902 h 1498136"/>
                <a:gd name="connsiteX7" fmla="*/ 14547 w 1363250"/>
                <a:gd name="connsiteY7" fmla="*/ 96246 h 1498136"/>
                <a:gd name="connsiteX8" fmla="*/ 351890 w 1363250"/>
                <a:gd name="connsiteY8" fmla="*/ 52590 h 1498136"/>
                <a:gd name="connsiteX0" fmla="*/ 1337729 w 1347815"/>
                <a:gd name="connsiteY0" fmla="*/ 1412283 h 1500196"/>
                <a:gd name="connsiteX1" fmla="*/ 1321097 w 1347815"/>
                <a:gd name="connsiteY1" fmla="*/ 1474239 h 1500196"/>
                <a:gd name="connsiteX2" fmla="*/ 1141672 w 1347815"/>
                <a:gd name="connsiteY2" fmla="*/ 1486102 h 1500196"/>
                <a:gd name="connsiteX3" fmla="*/ 947997 w 1347815"/>
                <a:gd name="connsiteY3" fmla="*/ 1279727 h 1500196"/>
                <a:gd name="connsiteX4" fmla="*/ 767022 w 1347815"/>
                <a:gd name="connsiteY4" fmla="*/ 1251152 h 1500196"/>
                <a:gd name="connsiteX5" fmla="*/ 166947 w 1347815"/>
                <a:gd name="connsiteY5" fmla="*/ 1181302 h 1500196"/>
                <a:gd name="connsiteX6" fmla="*/ 71697 w 1347815"/>
                <a:gd name="connsiteY6" fmla="*/ 901902 h 1500196"/>
                <a:gd name="connsiteX7" fmla="*/ 14547 w 1347815"/>
                <a:gd name="connsiteY7" fmla="*/ 96246 h 1500196"/>
                <a:gd name="connsiteX8" fmla="*/ 351890 w 1347815"/>
                <a:gd name="connsiteY8" fmla="*/ 52590 h 1500196"/>
                <a:gd name="connsiteX0" fmla="*/ 1344915 w 1352986"/>
                <a:gd name="connsiteY0" fmla="*/ 1408690 h 1500321"/>
                <a:gd name="connsiteX1" fmla="*/ 1321097 w 1352986"/>
                <a:gd name="connsiteY1" fmla="*/ 1474239 h 1500321"/>
                <a:gd name="connsiteX2" fmla="*/ 1141672 w 1352986"/>
                <a:gd name="connsiteY2" fmla="*/ 1486102 h 1500321"/>
                <a:gd name="connsiteX3" fmla="*/ 947997 w 1352986"/>
                <a:gd name="connsiteY3" fmla="*/ 1279727 h 1500321"/>
                <a:gd name="connsiteX4" fmla="*/ 767022 w 1352986"/>
                <a:gd name="connsiteY4" fmla="*/ 1251152 h 1500321"/>
                <a:gd name="connsiteX5" fmla="*/ 166947 w 1352986"/>
                <a:gd name="connsiteY5" fmla="*/ 1181302 h 1500321"/>
                <a:gd name="connsiteX6" fmla="*/ 71697 w 1352986"/>
                <a:gd name="connsiteY6" fmla="*/ 901902 h 1500321"/>
                <a:gd name="connsiteX7" fmla="*/ 14547 w 1352986"/>
                <a:gd name="connsiteY7" fmla="*/ 96246 h 1500321"/>
                <a:gd name="connsiteX8" fmla="*/ 351890 w 1352986"/>
                <a:gd name="connsiteY8" fmla="*/ 52590 h 1500321"/>
                <a:gd name="connsiteX0" fmla="*/ 1339525 w 1349050"/>
                <a:gd name="connsiteY0" fmla="*/ 1408690 h 1500321"/>
                <a:gd name="connsiteX1" fmla="*/ 1321097 w 1349050"/>
                <a:gd name="connsiteY1" fmla="*/ 1474239 h 1500321"/>
                <a:gd name="connsiteX2" fmla="*/ 1141672 w 1349050"/>
                <a:gd name="connsiteY2" fmla="*/ 1486102 h 1500321"/>
                <a:gd name="connsiteX3" fmla="*/ 947997 w 1349050"/>
                <a:gd name="connsiteY3" fmla="*/ 1279727 h 1500321"/>
                <a:gd name="connsiteX4" fmla="*/ 767022 w 1349050"/>
                <a:gd name="connsiteY4" fmla="*/ 1251152 h 1500321"/>
                <a:gd name="connsiteX5" fmla="*/ 166947 w 1349050"/>
                <a:gd name="connsiteY5" fmla="*/ 1181302 h 1500321"/>
                <a:gd name="connsiteX6" fmla="*/ 71697 w 1349050"/>
                <a:gd name="connsiteY6" fmla="*/ 901902 h 1500321"/>
                <a:gd name="connsiteX7" fmla="*/ 14547 w 1349050"/>
                <a:gd name="connsiteY7" fmla="*/ 96246 h 1500321"/>
                <a:gd name="connsiteX8" fmla="*/ 351890 w 1349050"/>
                <a:gd name="connsiteY8" fmla="*/ 52590 h 1500321"/>
                <a:gd name="connsiteX0" fmla="*/ 1337729 w 1347815"/>
                <a:gd name="connsiteY0" fmla="*/ 1405097 h 1500447"/>
                <a:gd name="connsiteX1" fmla="*/ 1321097 w 1347815"/>
                <a:gd name="connsiteY1" fmla="*/ 1474239 h 1500447"/>
                <a:gd name="connsiteX2" fmla="*/ 1141672 w 1347815"/>
                <a:gd name="connsiteY2" fmla="*/ 1486102 h 1500447"/>
                <a:gd name="connsiteX3" fmla="*/ 947997 w 1347815"/>
                <a:gd name="connsiteY3" fmla="*/ 1279727 h 1500447"/>
                <a:gd name="connsiteX4" fmla="*/ 767022 w 1347815"/>
                <a:gd name="connsiteY4" fmla="*/ 1251152 h 1500447"/>
                <a:gd name="connsiteX5" fmla="*/ 166947 w 1347815"/>
                <a:gd name="connsiteY5" fmla="*/ 1181302 h 1500447"/>
                <a:gd name="connsiteX6" fmla="*/ 71697 w 1347815"/>
                <a:gd name="connsiteY6" fmla="*/ 901902 h 1500447"/>
                <a:gd name="connsiteX7" fmla="*/ 14547 w 1347815"/>
                <a:gd name="connsiteY7" fmla="*/ 96246 h 1500447"/>
                <a:gd name="connsiteX8" fmla="*/ 351890 w 1347815"/>
                <a:gd name="connsiteY8" fmla="*/ 52590 h 150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815" h="1500447">
                  <a:moveTo>
                    <a:pt x="1337729" y="1405097"/>
                  </a:moveTo>
                  <a:cubicBezTo>
                    <a:pt x="1352810" y="1428645"/>
                    <a:pt x="1353773" y="1460738"/>
                    <a:pt x="1321097" y="1474239"/>
                  </a:cubicBezTo>
                  <a:cubicBezTo>
                    <a:pt x="1288421" y="1487740"/>
                    <a:pt x="1203855" y="1518521"/>
                    <a:pt x="1141672" y="1486102"/>
                  </a:cubicBezTo>
                  <a:cubicBezTo>
                    <a:pt x="1079489" y="1453683"/>
                    <a:pt x="1010439" y="1318885"/>
                    <a:pt x="947997" y="1279727"/>
                  </a:cubicBezTo>
                  <a:cubicBezTo>
                    <a:pt x="885555" y="1240569"/>
                    <a:pt x="906722" y="1254856"/>
                    <a:pt x="767022" y="1251152"/>
                  </a:cubicBezTo>
                  <a:cubicBezTo>
                    <a:pt x="627322" y="1247448"/>
                    <a:pt x="282834" y="1239510"/>
                    <a:pt x="166947" y="1181302"/>
                  </a:cubicBezTo>
                  <a:cubicBezTo>
                    <a:pt x="51060" y="1123094"/>
                    <a:pt x="97097" y="1082745"/>
                    <a:pt x="71697" y="901902"/>
                  </a:cubicBezTo>
                  <a:cubicBezTo>
                    <a:pt x="46297" y="721059"/>
                    <a:pt x="-32152" y="237798"/>
                    <a:pt x="14547" y="96246"/>
                  </a:cubicBezTo>
                  <a:cubicBezTo>
                    <a:pt x="61246" y="-45306"/>
                    <a:pt x="233356" y="-4296"/>
                    <a:pt x="351890" y="52590"/>
                  </a:cubicBezTo>
                </a:path>
              </a:pathLst>
            </a:custGeom>
            <a:noFill/>
            <a:ln w="34925">
              <a:solidFill>
                <a:schemeClr val="accent2"/>
              </a:solidFill>
            </a:ln>
          </p:spPr>
          <p:txBody>
            <a:bodyPr rtlCol="0" anchor="ctr"/>
            <a:lstStyle/>
            <a:p>
              <a:pPr algn="ctr"/>
              <a:endParaRPr lang="nl-NL"/>
            </a:p>
          </p:txBody>
        </p:sp>
        <p:sp>
          <p:nvSpPr>
            <p:cNvPr id="71" name="Freeform: Shape 70">
              <a:extLst>
                <a:ext uri="{FF2B5EF4-FFF2-40B4-BE49-F238E27FC236}">
                  <a16:creationId xmlns:a16="http://schemas.microsoft.com/office/drawing/2014/main" id="{74C9CCEE-F4C8-486B-AF97-3CE2EC9B013A}"/>
                </a:ext>
              </a:extLst>
            </p:cNvPr>
            <p:cNvSpPr/>
            <p:nvPr/>
          </p:nvSpPr>
          <p:spPr>
            <a:xfrm>
              <a:off x="2047276" y="2489403"/>
              <a:ext cx="86112" cy="288662"/>
            </a:xfrm>
            <a:custGeom>
              <a:avLst/>
              <a:gdLst>
                <a:gd name="connsiteX0" fmla="*/ 50155 w 128736"/>
                <a:gd name="connsiteY0" fmla="*/ 738187 h 762256"/>
                <a:gd name="connsiteX1" fmla="*/ 90636 w 128736"/>
                <a:gd name="connsiteY1" fmla="*/ 707231 h 762256"/>
                <a:gd name="connsiteX2" fmla="*/ 31105 w 128736"/>
                <a:gd name="connsiteY2" fmla="*/ 254794 h 762256"/>
                <a:gd name="connsiteX3" fmla="*/ 4911 w 128736"/>
                <a:gd name="connsiteY3" fmla="*/ 52387 h 762256"/>
                <a:gd name="connsiteX4" fmla="*/ 128736 w 128736"/>
                <a:gd name="connsiteY4" fmla="*/ 0 h 762256"/>
                <a:gd name="connsiteX0" fmla="*/ 57109 w 236304"/>
                <a:gd name="connsiteY0" fmla="*/ 707241 h 731310"/>
                <a:gd name="connsiteX1" fmla="*/ 97590 w 236304"/>
                <a:gd name="connsiteY1" fmla="*/ 676285 h 731310"/>
                <a:gd name="connsiteX2" fmla="*/ 38059 w 236304"/>
                <a:gd name="connsiteY2" fmla="*/ 223848 h 731310"/>
                <a:gd name="connsiteX3" fmla="*/ 11865 w 236304"/>
                <a:gd name="connsiteY3" fmla="*/ 21441 h 731310"/>
                <a:gd name="connsiteX4" fmla="*/ 236303 w 236304"/>
                <a:gd name="connsiteY4" fmla="*/ 2592 h 731310"/>
                <a:gd name="connsiteX0" fmla="*/ 56877 w 236072"/>
                <a:gd name="connsiteY0" fmla="*/ 707241 h 718450"/>
                <a:gd name="connsiteX1" fmla="*/ 87776 w 236072"/>
                <a:gd name="connsiteY1" fmla="*/ 637956 h 718450"/>
                <a:gd name="connsiteX2" fmla="*/ 37827 w 236072"/>
                <a:gd name="connsiteY2" fmla="*/ 223848 h 718450"/>
                <a:gd name="connsiteX3" fmla="*/ 11633 w 236072"/>
                <a:gd name="connsiteY3" fmla="*/ 21441 h 718450"/>
                <a:gd name="connsiteX4" fmla="*/ 236071 w 236072"/>
                <a:gd name="connsiteY4" fmla="*/ 2592 h 718450"/>
                <a:gd name="connsiteX0" fmla="*/ 56202 w 225814"/>
                <a:gd name="connsiteY0" fmla="*/ 709953 h 721162"/>
                <a:gd name="connsiteX1" fmla="*/ 87101 w 225814"/>
                <a:gd name="connsiteY1" fmla="*/ 640668 h 721162"/>
                <a:gd name="connsiteX2" fmla="*/ 37152 w 225814"/>
                <a:gd name="connsiteY2" fmla="*/ 226560 h 721162"/>
                <a:gd name="connsiteX3" fmla="*/ 10958 w 225814"/>
                <a:gd name="connsiteY3" fmla="*/ 24153 h 721162"/>
                <a:gd name="connsiteX4" fmla="*/ 225814 w 225814"/>
                <a:gd name="connsiteY4" fmla="*/ 513 h 721162"/>
                <a:gd name="connsiteX0" fmla="*/ 55194 w 210433"/>
                <a:gd name="connsiteY0" fmla="*/ 714231 h 725440"/>
                <a:gd name="connsiteX1" fmla="*/ 86093 w 210433"/>
                <a:gd name="connsiteY1" fmla="*/ 644946 h 725440"/>
                <a:gd name="connsiteX2" fmla="*/ 36144 w 210433"/>
                <a:gd name="connsiteY2" fmla="*/ 230838 h 725440"/>
                <a:gd name="connsiteX3" fmla="*/ 9950 w 210433"/>
                <a:gd name="connsiteY3" fmla="*/ 28431 h 725440"/>
                <a:gd name="connsiteX4" fmla="*/ 210433 w 210433"/>
                <a:gd name="connsiteY4" fmla="*/ 0 h 725440"/>
                <a:gd name="connsiteX0" fmla="*/ 54526 w 200183"/>
                <a:gd name="connsiteY0" fmla="*/ 728604 h 739813"/>
                <a:gd name="connsiteX1" fmla="*/ 85425 w 200183"/>
                <a:gd name="connsiteY1" fmla="*/ 659319 h 739813"/>
                <a:gd name="connsiteX2" fmla="*/ 35476 w 200183"/>
                <a:gd name="connsiteY2" fmla="*/ 245211 h 739813"/>
                <a:gd name="connsiteX3" fmla="*/ 9282 w 200183"/>
                <a:gd name="connsiteY3" fmla="*/ 42804 h 739813"/>
                <a:gd name="connsiteX4" fmla="*/ 200183 w 200183"/>
                <a:gd name="connsiteY4" fmla="*/ 0 h 739813"/>
                <a:gd name="connsiteX0" fmla="*/ 55654 w 217482"/>
                <a:gd name="connsiteY0" fmla="*/ 709590 h 720799"/>
                <a:gd name="connsiteX1" fmla="*/ 86553 w 217482"/>
                <a:gd name="connsiteY1" fmla="*/ 640305 h 720799"/>
                <a:gd name="connsiteX2" fmla="*/ 36604 w 217482"/>
                <a:gd name="connsiteY2" fmla="*/ 226197 h 720799"/>
                <a:gd name="connsiteX3" fmla="*/ 10410 w 217482"/>
                <a:gd name="connsiteY3" fmla="*/ 23790 h 720799"/>
                <a:gd name="connsiteX4" fmla="*/ 217482 w 217482"/>
                <a:gd name="connsiteY4" fmla="*/ 749 h 720799"/>
                <a:gd name="connsiteX0" fmla="*/ 55654 w 217482"/>
                <a:gd name="connsiteY0" fmla="*/ 717824 h 729033"/>
                <a:gd name="connsiteX1" fmla="*/ 86553 w 217482"/>
                <a:gd name="connsiteY1" fmla="*/ 648539 h 729033"/>
                <a:gd name="connsiteX2" fmla="*/ 36604 w 217482"/>
                <a:gd name="connsiteY2" fmla="*/ 234431 h 729033"/>
                <a:gd name="connsiteX3" fmla="*/ 10410 w 217482"/>
                <a:gd name="connsiteY3" fmla="*/ 32024 h 729033"/>
                <a:gd name="connsiteX4" fmla="*/ 217482 w 217482"/>
                <a:gd name="connsiteY4" fmla="*/ 0 h 729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82" h="729033">
                  <a:moveTo>
                    <a:pt x="55654" y="717824"/>
                  </a:moveTo>
                  <a:cubicBezTo>
                    <a:pt x="77482" y="742628"/>
                    <a:pt x="89728" y="729104"/>
                    <a:pt x="86553" y="648539"/>
                  </a:cubicBezTo>
                  <a:cubicBezTo>
                    <a:pt x="83378" y="567974"/>
                    <a:pt x="49295" y="337184"/>
                    <a:pt x="36604" y="234431"/>
                  </a:cubicBezTo>
                  <a:cubicBezTo>
                    <a:pt x="23914" y="131679"/>
                    <a:pt x="-19736" y="71096"/>
                    <a:pt x="10410" y="32024"/>
                  </a:cubicBezTo>
                  <a:cubicBezTo>
                    <a:pt x="40556" y="-7048"/>
                    <a:pt x="163705" y="4960"/>
                    <a:pt x="217482" y="0"/>
                  </a:cubicBezTo>
                </a:path>
              </a:pathLst>
            </a:custGeom>
            <a:noFill/>
            <a:ln w="34925">
              <a:solidFill>
                <a:schemeClr val="accent2"/>
              </a:solidFill>
            </a:ln>
          </p:spPr>
          <p:txBody>
            <a:bodyPr rtlCol="0" anchor="ctr"/>
            <a:lstStyle/>
            <a:p>
              <a:pPr algn="ctr"/>
              <a:endParaRPr lang="nl-NL"/>
            </a:p>
          </p:txBody>
        </p:sp>
        <p:sp>
          <p:nvSpPr>
            <p:cNvPr id="72" name="Freeform: Shape 71">
              <a:extLst>
                <a:ext uri="{FF2B5EF4-FFF2-40B4-BE49-F238E27FC236}">
                  <a16:creationId xmlns:a16="http://schemas.microsoft.com/office/drawing/2014/main" id="{AAFE89EA-F76D-428F-9641-5F541E16B59F}"/>
                </a:ext>
              </a:extLst>
            </p:cNvPr>
            <p:cNvSpPr/>
            <p:nvPr/>
          </p:nvSpPr>
          <p:spPr>
            <a:xfrm>
              <a:off x="2132078" y="2278053"/>
              <a:ext cx="243886" cy="212457"/>
            </a:xfrm>
            <a:custGeom>
              <a:avLst/>
              <a:gdLst>
                <a:gd name="connsiteX0" fmla="*/ 0 w 615950"/>
                <a:gd name="connsiteY0" fmla="*/ 536575 h 536575"/>
                <a:gd name="connsiteX1" fmla="*/ 457200 w 615950"/>
                <a:gd name="connsiteY1" fmla="*/ 273050 h 536575"/>
                <a:gd name="connsiteX2" fmla="*/ 615950 w 615950"/>
                <a:gd name="connsiteY2" fmla="*/ 0 h 536575"/>
              </a:gdLst>
              <a:ahLst/>
              <a:cxnLst>
                <a:cxn ang="0">
                  <a:pos x="connsiteX0" y="connsiteY0"/>
                </a:cxn>
                <a:cxn ang="0">
                  <a:pos x="connsiteX1" y="connsiteY1"/>
                </a:cxn>
                <a:cxn ang="0">
                  <a:pos x="connsiteX2" y="connsiteY2"/>
                </a:cxn>
              </a:cxnLst>
              <a:rect l="l" t="t" r="r" b="b"/>
              <a:pathLst>
                <a:path w="615950" h="536575">
                  <a:moveTo>
                    <a:pt x="0" y="536575"/>
                  </a:moveTo>
                  <a:cubicBezTo>
                    <a:pt x="177271" y="449527"/>
                    <a:pt x="354542" y="362479"/>
                    <a:pt x="457200" y="273050"/>
                  </a:cubicBezTo>
                  <a:cubicBezTo>
                    <a:pt x="559858" y="183621"/>
                    <a:pt x="587904" y="91810"/>
                    <a:pt x="615950" y="0"/>
                  </a:cubicBezTo>
                </a:path>
              </a:pathLst>
            </a:custGeom>
            <a:noFill/>
            <a:ln w="34925">
              <a:solidFill>
                <a:schemeClr val="accent2"/>
              </a:solidFill>
            </a:ln>
          </p:spPr>
          <p:txBody>
            <a:bodyPr rtlCol="0" anchor="ctr"/>
            <a:lstStyle/>
            <a:p>
              <a:pPr algn="ctr"/>
              <a:endParaRPr lang="nl-NL" dirty="0"/>
            </a:p>
          </p:txBody>
        </p:sp>
        <p:sp>
          <p:nvSpPr>
            <p:cNvPr id="73" name="Freeform: Shape 72">
              <a:extLst>
                <a:ext uri="{FF2B5EF4-FFF2-40B4-BE49-F238E27FC236}">
                  <a16:creationId xmlns:a16="http://schemas.microsoft.com/office/drawing/2014/main" id="{4437A6E6-59D8-453D-B8C1-F39470BDE234}"/>
                </a:ext>
              </a:extLst>
            </p:cNvPr>
            <p:cNvSpPr/>
            <p:nvPr/>
          </p:nvSpPr>
          <p:spPr>
            <a:xfrm>
              <a:off x="666748" y="2076910"/>
              <a:ext cx="1071845" cy="1352091"/>
            </a:xfrm>
            <a:custGeom>
              <a:avLst/>
              <a:gdLst>
                <a:gd name="connsiteX0" fmla="*/ 736610 w 1359086"/>
                <a:gd name="connsiteY0" fmla="*/ 0 h 1714433"/>
                <a:gd name="connsiteX1" fmla="*/ 841581 w 1359086"/>
                <a:gd name="connsiteY1" fmla="*/ 27320 h 1714433"/>
                <a:gd name="connsiteX2" fmla="*/ 778597 w 1359086"/>
                <a:gd name="connsiteY2" fmla="*/ 327866 h 1714433"/>
                <a:gd name="connsiteX3" fmla="*/ 953553 w 1359086"/>
                <a:gd name="connsiteY3" fmla="*/ 368852 h 1714433"/>
                <a:gd name="connsiteX4" fmla="*/ 960550 w 1359086"/>
                <a:gd name="connsiteY4" fmla="*/ 546447 h 1714433"/>
                <a:gd name="connsiteX5" fmla="*/ 960434 w 1359086"/>
                <a:gd name="connsiteY5" fmla="*/ 546560 h 1714433"/>
                <a:gd name="connsiteX6" fmla="*/ 979817 w 1359086"/>
                <a:gd name="connsiteY6" fmla="*/ 597005 h 1714433"/>
                <a:gd name="connsiteX7" fmla="*/ 951723 w 1359086"/>
                <a:gd name="connsiteY7" fmla="*/ 747829 h 1714433"/>
                <a:gd name="connsiteX8" fmla="*/ 958745 w 1359086"/>
                <a:gd name="connsiteY8" fmla="*/ 775248 h 1714433"/>
                <a:gd name="connsiteX9" fmla="*/ 1176475 w 1359086"/>
                <a:gd name="connsiteY9" fmla="*/ 919211 h 1714433"/>
                <a:gd name="connsiteX10" fmla="*/ 1225640 w 1359086"/>
                <a:gd name="connsiteY10" fmla="*/ 987766 h 1714433"/>
                <a:gd name="connsiteX11" fmla="*/ 1345037 w 1359086"/>
                <a:gd name="connsiteY11" fmla="*/ 1070029 h 1714433"/>
                <a:gd name="connsiteX12" fmla="*/ 1359086 w 1359086"/>
                <a:gd name="connsiteY12" fmla="*/ 1097454 h 1714433"/>
                <a:gd name="connsiteX13" fmla="*/ 1338015 w 1359086"/>
                <a:gd name="connsiteY13" fmla="*/ 1227704 h 1714433"/>
                <a:gd name="connsiteX14" fmla="*/ 1295875 w 1359086"/>
                <a:gd name="connsiteY14" fmla="*/ 1282548 h 1714433"/>
                <a:gd name="connsiteX15" fmla="*/ 1204569 w 1359086"/>
                <a:gd name="connsiteY15" fmla="*/ 1344247 h 1714433"/>
                <a:gd name="connsiteX16" fmla="*/ 1169452 w 1359086"/>
                <a:gd name="connsiteY16" fmla="*/ 1447078 h 1714433"/>
                <a:gd name="connsiteX17" fmla="*/ 1106240 w 1359086"/>
                <a:gd name="connsiteY17" fmla="*/ 1508774 h 1714433"/>
                <a:gd name="connsiteX18" fmla="*/ 1014934 w 1359086"/>
                <a:gd name="connsiteY18" fmla="*/ 1570473 h 1714433"/>
                <a:gd name="connsiteX19" fmla="*/ 895533 w 1359086"/>
                <a:gd name="connsiteY19" fmla="*/ 1618461 h 1714433"/>
                <a:gd name="connsiteX20" fmla="*/ 846367 w 1359086"/>
                <a:gd name="connsiteY20" fmla="*/ 1659593 h 1714433"/>
                <a:gd name="connsiteX21" fmla="*/ 783156 w 1359086"/>
                <a:gd name="connsiteY21" fmla="*/ 1687016 h 1714433"/>
                <a:gd name="connsiteX22" fmla="*/ 758189 w 1359086"/>
                <a:gd name="connsiteY22" fmla="*/ 1714433 h 1714433"/>
                <a:gd name="connsiteX23" fmla="*/ 142366 w 1359086"/>
                <a:gd name="connsiteY23" fmla="*/ 1714433 h 1714433"/>
                <a:gd name="connsiteX24" fmla="*/ 0 w 1359086"/>
                <a:gd name="connsiteY24" fmla="*/ 1572067 h 1714433"/>
                <a:gd name="connsiteX25" fmla="*/ 0 w 1359086"/>
                <a:gd name="connsiteY25" fmla="*/ 1264471 h 1714433"/>
                <a:gd name="connsiteX26" fmla="*/ 45688 w 1359086"/>
                <a:gd name="connsiteY26" fmla="*/ 1207136 h 1714433"/>
                <a:gd name="connsiteX27" fmla="*/ 45688 w 1359086"/>
                <a:gd name="connsiteY27" fmla="*/ 1076886 h 1714433"/>
                <a:gd name="connsiteX28" fmla="*/ 80805 w 1359086"/>
                <a:gd name="connsiteY28" fmla="*/ 1008330 h 1714433"/>
                <a:gd name="connsiteX29" fmla="*/ 165089 w 1359086"/>
                <a:gd name="connsiteY29" fmla="*/ 953491 h 1714433"/>
                <a:gd name="connsiteX30" fmla="*/ 284486 w 1359086"/>
                <a:gd name="connsiteY30" fmla="*/ 926066 h 1714433"/>
                <a:gd name="connsiteX31" fmla="*/ 446030 w 1359086"/>
                <a:gd name="connsiteY31" fmla="*/ 816380 h 1714433"/>
                <a:gd name="connsiteX32" fmla="*/ 460074 w 1359086"/>
                <a:gd name="connsiteY32" fmla="*/ 768393 h 1714433"/>
                <a:gd name="connsiteX33" fmla="*/ 431980 w 1359086"/>
                <a:gd name="connsiteY33" fmla="*/ 610718 h 1714433"/>
                <a:gd name="connsiteX34" fmla="*/ 446030 w 1359086"/>
                <a:gd name="connsiteY34" fmla="*/ 576442 h 1714433"/>
                <a:gd name="connsiteX35" fmla="*/ 474124 w 1359086"/>
                <a:gd name="connsiteY35" fmla="*/ 555874 h 1714433"/>
                <a:gd name="connsiteX36" fmla="*/ 600520 w 1359086"/>
                <a:gd name="connsiteY36" fmla="*/ 520234 h 1714433"/>
                <a:gd name="connsiteX37" fmla="*/ 449687 w 1359086"/>
                <a:gd name="connsiteY37" fmla="*/ 560108 h 1714433"/>
                <a:gd name="connsiteX38" fmla="*/ 505668 w 1359086"/>
                <a:gd name="connsiteY38" fmla="*/ 505463 h 1714433"/>
                <a:gd name="connsiteX39" fmla="*/ 512669 w 1359086"/>
                <a:gd name="connsiteY39" fmla="*/ 457650 h 1714433"/>
                <a:gd name="connsiteX40" fmla="*/ 484677 w 1359086"/>
                <a:gd name="connsiteY40" fmla="*/ 450818 h 1714433"/>
                <a:gd name="connsiteX41" fmla="*/ 477679 w 1359086"/>
                <a:gd name="connsiteY41" fmla="*/ 430324 h 1714433"/>
                <a:gd name="connsiteX42" fmla="*/ 456683 w 1359086"/>
                <a:gd name="connsiteY42" fmla="*/ 437156 h 1714433"/>
                <a:gd name="connsiteX43" fmla="*/ 435688 w 1359086"/>
                <a:gd name="connsiteY43" fmla="*/ 423493 h 1714433"/>
                <a:gd name="connsiteX44" fmla="*/ 428691 w 1359086"/>
                <a:gd name="connsiteY44" fmla="*/ 396173 h 1714433"/>
                <a:gd name="connsiteX45" fmla="*/ 463681 w 1359086"/>
                <a:gd name="connsiteY45" fmla="*/ 341528 h 1714433"/>
                <a:gd name="connsiteX46" fmla="*/ 400698 w 1359086"/>
                <a:gd name="connsiteY46" fmla="*/ 321039 h 1714433"/>
                <a:gd name="connsiteX47" fmla="*/ 400698 w 1359086"/>
                <a:gd name="connsiteY47" fmla="*/ 293715 h 1714433"/>
                <a:gd name="connsiteX48" fmla="*/ 435688 w 1359086"/>
                <a:gd name="connsiteY48" fmla="*/ 266390 h 1714433"/>
                <a:gd name="connsiteX49" fmla="*/ 421693 w 1359086"/>
                <a:gd name="connsiteY49" fmla="*/ 239070 h 1714433"/>
                <a:gd name="connsiteX50" fmla="*/ 442685 w 1359086"/>
                <a:gd name="connsiteY50" fmla="*/ 239070 h 1714433"/>
                <a:gd name="connsiteX51" fmla="*/ 477679 w 1359086"/>
                <a:gd name="connsiteY51" fmla="*/ 211749 h 1714433"/>
                <a:gd name="connsiteX52" fmla="*/ 603646 w 1359086"/>
                <a:gd name="connsiteY52" fmla="*/ 81965 h 1714433"/>
                <a:gd name="connsiteX53" fmla="*/ 666629 w 1359086"/>
                <a:gd name="connsiteY53" fmla="*/ 54645 h 1714433"/>
                <a:gd name="connsiteX54" fmla="*/ 736610 w 1359086"/>
                <a:gd name="connsiteY54" fmla="*/ 0 h 1714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359086" h="1714433">
                  <a:moveTo>
                    <a:pt x="736610" y="0"/>
                  </a:moveTo>
                  <a:lnTo>
                    <a:pt x="841581" y="27320"/>
                  </a:lnTo>
                  <a:lnTo>
                    <a:pt x="778597" y="327866"/>
                  </a:lnTo>
                  <a:lnTo>
                    <a:pt x="953553" y="368852"/>
                  </a:lnTo>
                  <a:lnTo>
                    <a:pt x="960550" y="546447"/>
                  </a:lnTo>
                  <a:lnTo>
                    <a:pt x="960434" y="546560"/>
                  </a:lnTo>
                  <a:lnTo>
                    <a:pt x="979817" y="597005"/>
                  </a:lnTo>
                  <a:lnTo>
                    <a:pt x="951723" y="747829"/>
                  </a:lnTo>
                  <a:lnTo>
                    <a:pt x="958745" y="775248"/>
                  </a:lnTo>
                  <a:lnTo>
                    <a:pt x="1176475" y="919211"/>
                  </a:lnTo>
                  <a:lnTo>
                    <a:pt x="1225640" y="987766"/>
                  </a:lnTo>
                  <a:lnTo>
                    <a:pt x="1345037" y="1070029"/>
                  </a:lnTo>
                  <a:lnTo>
                    <a:pt x="1359086" y="1097454"/>
                  </a:lnTo>
                  <a:lnTo>
                    <a:pt x="1338015" y="1227704"/>
                  </a:lnTo>
                  <a:lnTo>
                    <a:pt x="1295875" y="1282548"/>
                  </a:lnTo>
                  <a:lnTo>
                    <a:pt x="1204569" y="1344247"/>
                  </a:lnTo>
                  <a:lnTo>
                    <a:pt x="1169452" y="1447078"/>
                  </a:lnTo>
                  <a:lnTo>
                    <a:pt x="1106240" y="1508774"/>
                  </a:lnTo>
                  <a:lnTo>
                    <a:pt x="1014934" y="1570473"/>
                  </a:lnTo>
                  <a:lnTo>
                    <a:pt x="895533" y="1618461"/>
                  </a:lnTo>
                  <a:lnTo>
                    <a:pt x="846367" y="1659593"/>
                  </a:lnTo>
                  <a:lnTo>
                    <a:pt x="783156" y="1687016"/>
                  </a:lnTo>
                  <a:lnTo>
                    <a:pt x="758189" y="1714433"/>
                  </a:lnTo>
                  <a:lnTo>
                    <a:pt x="142366" y="1714433"/>
                  </a:lnTo>
                  <a:cubicBezTo>
                    <a:pt x="63739" y="1714433"/>
                    <a:pt x="0" y="1650694"/>
                    <a:pt x="0" y="1572067"/>
                  </a:cubicBezTo>
                  <a:lnTo>
                    <a:pt x="0" y="1264471"/>
                  </a:lnTo>
                  <a:lnTo>
                    <a:pt x="45688" y="1207136"/>
                  </a:lnTo>
                  <a:lnTo>
                    <a:pt x="45688" y="1076886"/>
                  </a:lnTo>
                  <a:lnTo>
                    <a:pt x="80805" y="1008330"/>
                  </a:lnTo>
                  <a:lnTo>
                    <a:pt x="165089" y="953491"/>
                  </a:lnTo>
                  <a:lnTo>
                    <a:pt x="284486" y="926066"/>
                  </a:lnTo>
                  <a:lnTo>
                    <a:pt x="446030" y="816380"/>
                  </a:lnTo>
                  <a:lnTo>
                    <a:pt x="460074" y="768393"/>
                  </a:lnTo>
                  <a:lnTo>
                    <a:pt x="431980" y="610718"/>
                  </a:lnTo>
                  <a:lnTo>
                    <a:pt x="446030" y="576442"/>
                  </a:lnTo>
                  <a:lnTo>
                    <a:pt x="474124" y="555874"/>
                  </a:lnTo>
                  <a:lnTo>
                    <a:pt x="600520" y="520234"/>
                  </a:lnTo>
                  <a:lnTo>
                    <a:pt x="449687" y="560108"/>
                  </a:lnTo>
                  <a:lnTo>
                    <a:pt x="505668" y="505463"/>
                  </a:lnTo>
                  <a:lnTo>
                    <a:pt x="512669" y="457650"/>
                  </a:lnTo>
                  <a:lnTo>
                    <a:pt x="484677" y="450818"/>
                  </a:lnTo>
                  <a:lnTo>
                    <a:pt x="477679" y="430324"/>
                  </a:lnTo>
                  <a:lnTo>
                    <a:pt x="456683" y="437156"/>
                  </a:lnTo>
                  <a:lnTo>
                    <a:pt x="435688" y="423493"/>
                  </a:lnTo>
                  <a:lnTo>
                    <a:pt x="428691" y="396173"/>
                  </a:lnTo>
                  <a:lnTo>
                    <a:pt x="463681" y="341528"/>
                  </a:lnTo>
                  <a:lnTo>
                    <a:pt x="400698" y="321039"/>
                  </a:lnTo>
                  <a:lnTo>
                    <a:pt x="400698" y="293715"/>
                  </a:lnTo>
                  <a:lnTo>
                    <a:pt x="435688" y="266390"/>
                  </a:lnTo>
                  <a:lnTo>
                    <a:pt x="421693" y="239070"/>
                  </a:lnTo>
                  <a:lnTo>
                    <a:pt x="442685" y="239070"/>
                  </a:lnTo>
                  <a:lnTo>
                    <a:pt x="477679" y="211749"/>
                  </a:lnTo>
                  <a:lnTo>
                    <a:pt x="603646" y="81965"/>
                  </a:lnTo>
                  <a:lnTo>
                    <a:pt x="666629" y="54645"/>
                  </a:lnTo>
                  <a:lnTo>
                    <a:pt x="736610" y="0"/>
                  </a:lnTo>
                  <a:close/>
                </a:path>
              </a:pathLst>
            </a:custGeom>
            <a:solidFill>
              <a:schemeClr val="bg1">
                <a:lumMod val="85000"/>
                <a:alpha val="80000"/>
              </a:schemeClr>
            </a:solidFill>
            <a:ln w="1905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endParaRPr>
            </a:p>
          </p:txBody>
        </p:sp>
        <p:pic>
          <p:nvPicPr>
            <p:cNvPr id="74" name="Graphic 73" descr="Airplane">
              <a:extLst>
                <a:ext uri="{FF2B5EF4-FFF2-40B4-BE49-F238E27FC236}">
                  <a16:creationId xmlns:a16="http://schemas.microsoft.com/office/drawing/2014/main" id="{312BE3FB-B8F8-4E6C-81F9-ADBEF4F4973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7771695">
              <a:off x="1369347" y="2772227"/>
              <a:ext cx="147591" cy="147591"/>
            </a:xfrm>
            <a:prstGeom prst="rect">
              <a:avLst/>
            </a:prstGeom>
          </p:spPr>
        </p:pic>
        <p:sp>
          <p:nvSpPr>
            <p:cNvPr id="75" name="TextBox 74">
              <a:extLst>
                <a:ext uri="{FF2B5EF4-FFF2-40B4-BE49-F238E27FC236}">
                  <a16:creationId xmlns:a16="http://schemas.microsoft.com/office/drawing/2014/main" id="{C94A1A12-EC5F-44C4-9285-66C7DA176936}"/>
                </a:ext>
              </a:extLst>
            </p:cNvPr>
            <p:cNvSpPr txBox="1"/>
            <p:nvPr/>
          </p:nvSpPr>
          <p:spPr>
            <a:xfrm>
              <a:off x="1101018" y="2862849"/>
              <a:ext cx="431662" cy="180371"/>
            </a:xfrm>
            <a:prstGeom prst="rect">
              <a:avLst/>
            </a:prstGeom>
          </p:spPr>
          <p:txBody>
            <a:bodyPr vert="horz" wrap="square" lIns="0" tIns="45720" rIns="0" bIns="45720" rtlCol="0">
              <a:noAutofit/>
            </a:bodyPr>
            <a:lstStyle/>
            <a:p>
              <a:pPr marL="0" indent="0" algn="l">
                <a:buNone/>
              </a:pPr>
              <a:r>
                <a:rPr lang="nl-NL" sz="800" b="1" noProof="0" dirty="0">
                  <a:latin typeface="+mj-lt"/>
                </a:rPr>
                <a:t>Schiphol</a:t>
              </a:r>
            </a:p>
          </p:txBody>
        </p:sp>
        <p:sp>
          <p:nvSpPr>
            <p:cNvPr id="77" name="TextBox 76">
              <a:extLst>
                <a:ext uri="{FF2B5EF4-FFF2-40B4-BE49-F238E27FC236}">
                  <a16:creationId xmlns:a16="http://schemas.microsoft.com/office/drawing/2014/main" id="{364C0D24-80F7-4D5B-95E6-106D2E264E33}"/>
                </a:ext>
              </a:extLst>
            </p:cNvPr>
            <p:cNvSpPr txBox="1"/>
            <p:nvPr/>
          </p:nvSpPr>
          <p:spPr>
            <a:xfrm>
              <a:off x="1395859" y="2108918"/>
              <a:ext cx="769512" cy="180371"/>
            </a:xfrm>
            <a:prstGeom prst="rect">
              <a:avLst/>
            </a:prstGeom>
          </p:spPr>
          <p:txBody>
            <a:bodyPr vert="horz" wrap="square" lIns="0" tIns="45720" rIns="0" bIns="45720" rtlCol="0">
              <a:noAutofit/>
            </a:bodyPr>
            <a:lstStyle/>
            <a:p>
              <a:pPr marL="0" indent="0" algn="l">
                <a:buNone/>
              </a:pPr>
              <a:r>
                <a:rPr lang="x-none" sz="800" b="1" noProof="0" dirty="0">
                  <a:latin typeface="+mj-lt"/>
                </a:rPr>
                <a:t>H</a:t>
              </a:r>
              <a:r>
                <a:rPr lang="nl-NL" sz="800" b="1" noProof="0" dirty="0">
                  <a:latin typeface="+mj-lt"/>
                </a:rPr>
                <a:t>a</a:t>
              </a:r>
              <a:r>
                <a:rPr lang="x-none" sz="800" b="1" noProof="0" dirty="0">
                  <a:latin typeface="+mj-lt"/>
                </a:rPr>
                <a:t>v</a:t>
              </a:r>
              <a:r>
                <a:rPr lang="nl-NL" sz="800" b="1" noProof="0" dirty="0">
                  <a:latin typeface="+mj-lt"/>
                </a:rPr>
                <a:t>e</a:t>
              </a:r>
              <a:r>
                <a:rPr lang="x-none" sz="800" b="1" noProof="0" dirty="0">
                  <a:latin typeface="+mj-lt"/>
                </a:rPr>
                <a:t>n</a:t>
              </a:r>
              <a:r>
                <a:rPr lang="nl-NL" sz="800" b="1" noProof="0" dirty="0">
                  <a:latin typeface="+mj-lt"/>
                </a:rPr>
                <a:t>S</a:t>
              </a:r>
              <a:r>
                <a:rPr lang="x-none" sz="800" b="1" noProof="0" dirty="0">
                  <a:latin typeface="+mj-lt"/>
                </a:rPr>
                <a:t>t</a:t>
              </a:r>
              <a:r>
                <a:rPr lang="nl-NL" sz="800" b="1" noProof="0" dirty="0">
                  <a:latin typeface="+mj-lt"/>
                </a:rPr>
                <a:t>a</a:t>
              </a:r>
              <a:r>
                <a:rPr lang="x-none" sz="800" b="1" noProof="0" dirty="0">
                  <a:latin typeface="+mj-lt"/>
                </a:rPr>
                <a:t>d</a:t>
              </a:r>
              <a:endParaRPr lang="nl-NL" sz="800" b="1" noProof="0" dirty="0">
                <a:latin typeface="+mj-lt"/>
              </a:endParaRPr>
            </a:p>
          </p:txBody>
        </p:sp>
        <p:sp>
          <p:nvSpPr>
            <p:cNvPr id="78" name="Freeform: Shape 77">
              <a:extLst>
                <a:ext uri="{FF2B5EF4-FFF2-40B4-BE49-F238E27FC236}">
                  <a16:creationId xmlns:a16="http://schemas.microsoft.com/office/drawing/2014/main" id="{2CBDF56C-9BDD-4F20-ABDF-49CA7069172E}"/>
                </a:ext>
              </a:extLst>
            </p:cNvPr>
            <p:cNvSpPr/>
            <p:nvPr/>
          </p:nvSpPr>
          <p:spPr>
            <a:xfrm>
              <a:off x="1145308" y="2752348"/>
              <a:ext cx="835200" cy="389561"/>
            </a:xfrm>
            <a:custGeom>
              <a:avLst/>
              <a:gdLst>
                <a:gd name="connsiteX0" fmla="*/ 2328862 w 2328862"/>
                <a:gd name="connsiteY0" fmla="*/ 66513 h 871376"/>
                <a:gd name="connsiteX1" fmla="*/ 1909762 w 2328862"/>
                <a:gd name="connsiteY1" fmla="*/ 18888 h 871376"/>
                <a:gd name="connsiteX2" fmla="*/ 1724025 w 2328862"/>
                <a:gd name="connsiteY2" fmla="*/ 14126 h 871376"/>
                <a:gd name="connsiteX3" fmla="*/ 1443037 w 2328862"/>
                <a:gd name="connsiteY3" fmla="*/ 199863 h 871376"/>
                <a:gd name="connsiteX4" fmla="*/ 1081087 w 2328862"/>
                <a:gd name="connsiteY4" fmla="*/ 723738 h 871376"/>
                <a:gd name="connsiteX5" fmla="*/ 0 w 2328862"/>
                <a:gd name="connsiteY5" fmla="*/ 871376 h 871376"/>
                <a:gd name="connsiteX0" fmla="*/ 2259194 w 2259194"/>
                <a:gd name="connsiteY0" fmla="*/ 66513 h 993296"/>
                <a:gd name="connsiteX1" fmla="*/ 1840094 w 2259194"/>
                <a:gd name="connsiteY1" fmla="*/ 18888 h 993296"/>
                <a:gd name="connsiteX2" fmla="*/ 1654357 w 2259194"/>
                <a:gd name="connsiteY2" fmla="*/ 14126 h 993296"/>
                <a:gd name="connsiteX3" fmla="*/ 1373369 w 2259194"/>
                <a:gd name="connsiteY3" fmla="*/ 199863 h 993296"/>
                <a:gd name="connsiteX4" fmla="*/ 1011419 w 2259194"/>
                <a:gd name="connsiteY4" fmla="*/ 723738 h 993296"/>
                <a:gd name="connsiteX5" fmla="*/ 0 w 2259194"/>
                <a:gd name="connsiteY5" fmla="*/ 993296 h 993296"/>
                <a:gd name="connsiteX0" fmla="*/ 2259194 w 2259194"/>
                <a:gd name="connsiteY0" fmla="*/ 66513 h 993296"/>
                <a:gd name="connsiteX1" fmla="*/ 1840094 w 2259194"/>
                <a:gd name="connsiteY1" fmla="*/ 18888 h 993296"/>
                <a:gd name="connsiteX2" fmla="*/ 1654357 w 2259194"/>
                <a:gd name="connsiteY2" fmla="*/ 14126 h 993296"/>
                <a:gd name="connsiteX3" fmla="*/ 1373369 w 2259194"/>
                <a:gd name="connsiteY3" fmla="*/ 199863 h 993296"/>
                <a:gd name="connsiteX4" fmla="*/ 1011419 w 2259194"/>
                <a:gd name="connsiteY4" fmla="*/ 723738 h 993296"/>
                <a:gd name="connsiteX5" fmla="*/ 0 w 2259194"/>
                <a:gd name="connsiteY5" fmla="*/ 993296 h 993296"/>
                <a:gd name="connsiteX0" fmla="*/ 2111149 w 2111149"/>
                <a:gd name="connsiteY0" fmla="*/ 66513 h 984587"/>
                <a:gd name="connsiteX1" fmla="*/ 1692049 w 2111149"/>
                <a:gd name="connsiteY1" fmla="*/ 18888 h 984587"/>
                <a:gd name="connsiteX2" fmla="*/ 1506312 w 2111149"/>
                <a:gd name="connsiteY2" fmla="*/ 14126 h 984587"/>
                <a:gd name="connsiteX3" fmla="*/ 1225324 w 2111149"/>
                <a:gd name="connsiteY3" fmla="*/ 199863 h 984587"/>
                <a:gd name="connsiteX4" fmla="*/ 863374 w 2111149"/>
                <a:gd name="connsiteY4" fmla="*/ 723738 h 984587"/>
                <a:gd name="connsiteX5" fmla="*/ 0 w 2111149"/>
                <a:gd name="connsiteY5" fmla="*/ 984587 h 984587"/>
                <a:gd name="connsiteX0" fmla="*/ 2111149 w 2111149"/>
                <a:gd name="connsiteY0" fmla="*/ 66513 h 984587"/>
                <a:gd name="connsiteX1" fmla="*/ 1692049 w 2111149"/>
                <a:gd name="connsiteY1" fmla="*/ 18888 h 984587"/>
                <a:gd name="connsiteX2" fmla="*/ 1506312 w 2111149"/>
                <a:gd name="connsiteY2" fmla="*/ 14126 h 984587"/>
                <a:gd name="connsiteX3" fmla="*/ 1225324 w 2111149"/>
                <a:gd name="connsiteY3" fmla="*/ 199863 h 984587"/>
                <a:gd name="connsiteX4" fmla="*/ 863374 w 2111149"/>
                <a:gd name="connsiteY4" fmla="*/ 723738 h 984587"/>
                <a:gd name="connsiteX5" fmla="*/ 0 w 2111149"/>
                <a:gd name="connsiteY5" fmla="*/ 984587 h 984587"/>
                <a:gd name="connsiteX0" fmla="*/ 2111149 w 2111149"/>
                <a:gd name="connsiteY0" fmla="*/ 65529 h 983603"/>
                <a:gd name="connsiteX1" fmla="*/ 1878429 w 2111149"/>
                <a:gd name="connsiteY1" fmla="*/ 39039 h 983603"/>
                <a:gd name="connsiteX2" fmla="*/ 1692049 w 2111149"/>
                <a:gd name="connsiteY2" fmla="*/ 17904 h 983603"/>
                <a:gd name="connsiteX3" fmla="*/ 1506312 w 2111149"/>
                <a:gd name="connsiteY3" fmla="*/ 13142 h 983603"/>
                <a:gd name="connsiteX4" fmla="*/ 1225324 w 2111149"/>
                <a:gd name="connsiteY4" fmla="*/ 198879 h 983603"/>
                <a:gd name="connsiteX5" fmla="*/ 863374 w 2111149"/>
                <a:gd name="connsiteY5" fmla="*/ 722754 h 983603"/>
                <a:gd name="connsiteX6" fmla="*/ 0 w 2111149"/>
                <a:gd name="connsiteY6" fmla="*/ 983603 h 983603"/>
                <a:gd name="connsiteX0" fmla="*/ 2111149 w 2111149"/>
                <a:gd name="connsiteY0" fmla="*/ 65916 h 983990"/>
                <a:gd name="connsiteX1" fmla="*/ 1878429 w 2111149"/>
                <a:gd name="connsiteY1" fmla="*/ 50205 h 983990"/>
                <a:gd name="connsiteX2" fmla="*/ 1692049 w 2111149"/>
                <a:gd name="connsiteY2" fmla="*/ 18291 h 983990"/>
                <a:gd name="connsiteX3" fmla="*/ 1506312 w 2111149"/>
                <a:gd name="connsiteY3" fmla="*/ 13529 h 983990"/>
                <a:gd name="connsiteX4" fmla="*/ 1225324 w 2111149"/>
                <a:gd name="connsiteY4" fmla="*/ 199266 h 983990"/>
                <a:gd name="connsiteX5" fmla="*/ 863374 w 2111149"/>
                <a:gd name="connsiteY5" fmla="*/ 723141 h 983990"/>
                <a:gd name="connsiteX6" fmla="*/ 0 w 2111149"/>
                <a:gd name="connsiteY6" fmla="*/ 983990 h 983990"/>
                <a:gd name="connsiteX0" fmla="*/ 2111149 w 2111149"/>
                <a:gd name="connsiteY0" fmla="*/ 65721 h 983795"/>
                <a:gd name="connsiteX1" fmla="*/ 1878429 w 2111149"/>
                <a:gd name="connsiteY1" fmla="*/ 44620 h 983795"/>
                <a:gd name="connsiteX2" fmla="*/ 1692049 w 2111149"/>
                <a:gd name="connsiteY2" fmla="*/ 18096 h 983795"/>
                <a:gd name="connsiteX3" fmla="*/ 1506312 w 2111149"/>
                <a:gd name="connsiteY3" fmla="*/ 13334 h 983795"/>
                <a:gd name="connsiteX4" fmla="*/ 1225324 w 2111149"/>
                <a:gd name="connsiteY4" fmla="*/ 199071 h 983795"/>
                <a:gd name="connsiteX5" fmla="*/ 863374 w 2111149"/>
                <a:gd name="connsiteY5" fmla="*/ 722946 h 983795"/>
                <a:gd name="connsiteX6" fmla="*/ 0 w 2111149"/>
                <a:gd name="connsiteY6" fmla="*/ 983795 h 983795"/>
                <a:gd name="connsiteX0" fmla="*/ 2111149 w 2111149"/>
                <a:gd name="connsiteY0" fmla="*/ 65850 h 983924"/>
                <a:gd name="connsiteX1" fmla="*/ 1878429 w 2111149"/>
                <a:gd name="connsiteY1" fmla="*/ 48343 h 983924"/>
                <a:gd name="connsiteX2" fmla="*/ 1692049 w 2111149"/>
                <a:gd name="connsiteY2" fmla="*/ 18225 h 983924"/>
                <a:gd name="connsiteX3" fmla="*/ 1506312 w 2111149"/>
                <a:gd name="connsiteY3" fmla="*/ 13463 h 983924"/>
                <a:gd name="connsiteX4" fmla="*/ 1225324 w 2111149"/>
                <a:gd name="connsiteY4" fmla="*/ 199200 h 983924"/>
                <a:gd name="connsiteX5" fmla="*/ 863374 w 2111149"/>
                <a:gd name="connsiteY5" fmla="*/ 723075 h 983924"/>
                <a:gd name="connsiteX6" fmla="*/ 0 w 2111149"/>
                <a:gd name="connsiteY6" fmla="*/ 983924 h 983924"/>
                <a:gd name="connsiteX0" fmla="*/ 2109352 w 2109352"/>
                <a:gd name="connsiteY0" fmla="*/ 62256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5850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3859 h 983730"/>
                <a:gd name="connsiteX1" fmla="*/ 1878429 w 2109352"/>
                <a:gd name="connsiteY1" fmla="*/ 42760 h 983730"/>
                <a:gd name="connsiteX2" fmla="*/ 1692049 w 2109352"/>
                <a:gd name="connsiteY2" fmla="*/ 18031 h 983730"/>
                <a:gd name="connsiteX3" fmla="*/ 1506312 w 2109352"/>
                <a:gd name="connsiteY3" fmla="*/ 13269 h 983730"/>
                <a:gd name="connsiteX4" fmla="*/ 1225324 w 2109352"/>
                <a:gd name="connsiteY4" fmla="*/ 199006 h 983730"/>
                <a:gd name="connsiteX5" fmla="*/ 863374 w 2109352"/>
                <a:gd name="connsiteY5" fmla="*/ 722881 h 983730"/>
                <a:gd name="connsiteX6" fmla="*/ 0 w 2109352"/>
                <a:gd name="connsiteY6" fmla="*/ 983730 h 983730"/>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9352" h="983859">
                  <a:moveTo>
                    <a:pt x="2109352" y="63988"/>
                  </a:moveTo>
                  <a:cubicBezTo>
                    <a:pt x="2032378" y="58153"/>
                    <a:pt x="1955403" y="55911"/>
                    <a:pt x="1878429" y="46482"/>
                  </a:cubicBezTo>
                  <a:cubicBezTo>
                    <a:pt x="1816302" y="41233"/>
                    <a:pt x="1754069" y="23674"/>
                    <a:pt x="1692049" y="18160"/>
                  </a:cubicBezTo>
                  <a:cubicBezTo>
                    <a:pt x="1630029" y="12646"/>
                    <a:pt x="1584099" y="-16765"/>
                    <a:pt x="1506312" y="13398"/>
                  </a:cubicBezTo>
                  <a:cubicBezTo>
                    <a:pt x="1428524" y="43560"/>
                    <a:pt x="1332480" y="80866"/>
                    <a:pt x="1225324" y="199135"/>
                  </a:cubicBezTo>
                  <a:cubicBezTo>
                    <a:pt x="1118168" y="317404"/>
                    <a:pt x="1067594" y="592223"/>
                    <a:pt x="863374" y="723010"/>
                  </a:cubicBezTo>
                  <a:cubicBezTo>
                    <a:pt x="659154" y="853797"/>
                    <a:pt x="263535" y="965999"/>
                    <a:pt x="0" y="983859"/>
                  </a:cubicBezTo>
                </a:path>
              </a:pathLst>
            </a:custGeom>
            <a:noFill/>
            <a:ln w="34925">
              <a:solidFill>
                <a:schemeClr val="accent2"/>
              </a:solidFill>
              <a:prstDash val="sysDot"/>
            </a:ln>
          </p:spPr>
          <p:txBody>
            <a:bodyPr rtlCol="0" anchor="ctr"/>
            <a:lstStyle/>
            <a:p>
              <a:pPr algn="ctr"/>
              <a:endParaRPr lang="nl-NL"/>
            </a:p>
          </p:txBody>
        </p:sp>
        <p:sp>
          <p:nvSpPr>
            <p:cNvPr id="79" name="Freeform: Shape 78">
              <a:extLst>
                <a:ext uri="{FF2B5EF4-FFF2-40B4-BE49-F238E27FC236}">
                  <a16:creationId xmlns:a16="http://schemas.microsoft.com/office/drawing/2014/main" id="{FC0E7892-D7F9-489E-BDC6-0040BC1188B9}"/>
                </a:ext>
              </a:extLst>
            </p:cNvPr>
            <p:cNvSpPr/>
            <p:nvPr/>
          </p:nvSpPr>
          <p:spPr>
            <a:xfrm>
              <a:off x="1866894" y="2300276"/>
              <a:ext cx="266419" cy="189126"/>
            </a:xfrm>
            <a:custGeom>
              <a:avLst/>
              <a:gdLst>
                <a:gd name="connsiteX0" fmla="*/ 0 w 914400"/>
                <a:gd name="connsiteY0" fmla="*/ 47101 h 685276"/>
                <a:gd name="connsiteX1" fmla="*/ 647700 w 914400"/>
                <a:gd name="connsiteY1" fmla="*/ 66151 h 685276"/>
                <a:gd name="connsiteX2" fmla="*/ 914400 w 914400"/>
                <a:gd name="connsiteY2" fmla="*/ 685276 h 685276"/>
                <a:gd name="connsiteX0" fmla="*/ 0 w 914400"/>
                <a:gd name="connsiteY0" fmla="*/ 4556 h 642731"/>
                <a:gd name="connsiteX1" fmla="*/ 512343 w 914400"/>
                <a:gd name="connsiteY1" fmla="*/ 349096 h 642731"/>
                <a:gd name="connsiteX2" fmla="*/ 914400 w 914400"/>
                <a:gd name="connsiteY2" fmla="*/ 642731 h 642731"/>
              </a:gdLst>
              <a:ahLst/>
              <a:cxnLst>
                <a:cxn ang="0">
                  <a:pos x="connsiteX0" y="connsiteY0"/>
                </a:cxn>
                <a:cxn ang="0">
                  <a:pos x="connsiteX1" y="connsiteY1"/>
                </a:cxn>
                <a:cxn ang="0">
                  <a:pos x="connsiteX2" y="connsiteY2"/>
                </a:cxn>
              </a:cxnLst>
              <a:rect l="l" t="t" r="r" b="b"/>
              <a:pathLst>
                <a:path w="914400" h="642731">
                  <a:moveTo>
                    <a:pt x="0" y="4556"/>
                  </a:moveTo>
                  <a:cubicBezTo>
                    <a:pt x="247650" y="-39101"/>
                    <a:pt x="359943" y="242733"/>
                    <a:pt x="512343" y="349096"/>
                  </a:cubicBezTo>
                  <a:cubicBezTo>
                    <a:pt x="664743" y="455459"/>
                    <a:pt x="857250" y="386350"/>
                    <a:pt x="914400" y="642731"/>
                  </a:cubicBezTo>
                </a:path>
              </a:pathLst>
            </a:custGeom>
            <a:noFill/>
            <a:ln w="34925">
              <a:solidFill>
                <a:schemeClr val="accent2"/>
              </a:solidFill>
              <a:prstDash val="sysDot"/>
            </a:ln>
          </p:spPr>
          <p:txBody>
            <a:bodyPr rtlCol="0" anchor="ctr"/>
            <a:lstStyle/>
            <a:p>
              <a:pPr algn="ctr"/>
              <a:endParaRPr lang="nl-NL"/>
            </a:p>
          </p:txBody>
        </p:sp>
      </p:grpSp>
      <p:sp>
        <p:nvSpPr>
          <p:cNvPr id="25" name="Rectangle 24">
            <a:extLst>
              <a:ext uri="{FF2B5EF4-FFF2-40B4-BE49-F238E27FC236}">
                <a16:creationId xmlns:a16="http://schemas.microsoft.com/office/drawing/2014/main" id="{83B88D9F-66BC-4F3A-A90A-3D1398A8FB62}"/>
              </a:ext>
            </a:extLst>
          </p:cNvPr>
          <p:cNvSpPr/>
          <p:nvPr/>
        </p:nvSpPr>
        <p:spPr>
          <a:xfrm>
            <a:off x="666747" y="3458969"/>
            <a:ext cx="2611324" cy="2867328"/>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sz="1000" dirty="0"/>
              <a:t>Verschillende partijen (Vervoerregio Amsterdam, gemeente Amsterdam, gemeente Haarlemmermeer, Provincie Noord-Holland, KLM, NS en Schiphol) hebben onderzocht of het doortrekken van </a:t>
            </a:r>
            <a:r>
              <a:rPr lang="nl-NL" sz="1000"/>
              <a:t>de Noord</a:t>
            </a:r>
            <a:r>
              <a:rPr lang="en-NL" sz="1000"/>
              <a:t>/Z</a:t>
            </a:r>
            <a:r>
              <a:rPr lang="nl-NL" sz="1000"/>
              <a:t>uidlijn </a:t>
            </a:r>
            <a:r>
              <a:rPr lang="nl-NL" sz="1000" dirty="0"/>
              <a:t>naar Schiphol-Hoofddorp en het sluiten van de Ringlijn financieel haalbaar is. Daarnaast is onderzocht of deze beoogde uitbreiding een oplossing is voor </a:t>
            </a:r>
          </a:p>
          <a:p>
            <a:pPr marL="228600" indent="-228600" algn="l">
              <a:buClr>
                <a:schemeClr val="tx2"/>
              </a:buClr>
              <a:buFont typeface="+mj-lt"/>
              <a:buAutoNum type="arabicPeriod"/>
            </a:pPr>
            <a:r>
              <a:rPr lang="nl-NL" sz="1000" dirty="0"/>
              <a:t>(</a:t>
            </a:r>
            <a:r>
              <a:rPr lang="nl-NL" sz="1000" dirty="0" err="1"/>
              <a:t>Inter</a:t>
            </a:r>
            <a:r>
              <a:rPr lang="nl-NL" sz="1000" dirty="0"/>
              <a:t>)nationale OV-bereikbaarheid, opvangen van groei en ontwikkelingen </a:t>
            </a:r>
          </a:p>
          <a:p>
            <a:pPr marL="228600" indent="-228600" algn="l">
              <a:buClr>
                <a:schemeClr val="tx2"/>
              </a:buClr>
              <a:buFont typeface="+mj-lt"/>
              <a:buAutoNum type="arabicPeriod"/>
            </a:pPr>
            <a:r>
              <a:rPr lang="nl-NL" sz="1000" dirty="0"/>
              <a:t>Capaciteitsknelpunt station Schiphol </a:t>
            </a:r>
          </a:p>
          <a:p>
            <a:pPr marL="228600" indent="-228600" algn="l">
              <a:buClr>
                <a:schemeClr val="tx2"/>
              </a:buClr>
              <a:buFont typeface="+mj-lt"/>
              <a:buAutoNum type="arabicPeriod"/>
            </a:pPr>
            <a:r>
              <a:rPr lang="nl-NL" sz="1000" dirty="0"/>
              <a:t>Ontsluiting bestaande en nieuwe gebieds- en woningbouwontwikkeling in </a:t>
            </a:r>
            <a:r>
              <a:rPr lang="nl-NL" sz="1000"/>
              <a:t>de MRA</a:t>
            </a:r>
            <a:endParaRPr lang="nl-NL" sz="1000" dirty="0"/>
          </a:p>
        </p:txBody>
      </p:sp>
      <p:sp>
        <p:nvSpPr>
          <p:cNvPr id="105" name="Rectangle 104">
            <a:extLst>
              <a:ext uri="{FF2B5EF4-FFF2-40B4-BE49-F238E27FC236}">
                <a16:creationId xmlns:a16="http://schemas.microsoft.com/office/drawing/2014/main" id="{5EB72B90-8E7B-403F-95E2-FCAAE44AA0E8}"/>
              </a:ext>
            </a:extLst>
          </p:cNvPr>
          <p:cNvSpPr/>
          <p:nvPr/>
        </p:nvSpPr>
        <p:spPr>
          <a:xfrm>
            <a:off x="5155491" y="2073955"/>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Aanleg infrastructuur</a:t>
            </a:r>
          </a:p>
        </p:txBody>
      </p:sp>
      <p:sp>
        <p:nvSpPr>
          <p:cNvPr id="106" name="Rectangle 105">
            <a:extLst>
              <a:ext uri="{FF2B5EF4-FFF2-40B4-BE49-F238E27FC236}">
                <a16:creationId xmlns:a16="http://schemas.microsoft.com/office/drawing/2014/main" id="{497179BC-68C9-4DA5-A5BA-DF3961A8932E}"/>
              </a:ext>
            </a:extLst>
          </p:cNvPr>
          <p:cNvSpPr/>
          <p:nvPr/>
        </p:nvSpPr>
        <p:spPr>
          <a:xfrm>
            <a:off x="5155491" y="2317202"/>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Onvoorziene kosten bij aanleg</a:t>
            </a:r>
          </a:p>
        </p:txBody>
      </p:sp>
      <p:sp>
        <p:nvSpPr>
          <p:cNvPr id="107" name="Rectangle 106">
            <a:extLst>
              <a:ext uri="{FF2B5EF4-FFF2-40B4-BE49-F238E27FC236}">
                <a16:creationId xmlns:a16="http://schemas.microsoft.com/office/drawing/2014/main" id="{36C22804-C655-4A11-98F8-CF5F7ADC2F57}"/>
              </a:ext>
            </a:extLst>
          </p:cNvPr>
          <p:cNvSpPr/>
          <p:nvPr/>
        </p:nvSpPr>
        <p:spPr>
          <a:xfrm>
            <a:off x="5155491" y="2560449"/>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Aanleg werkplaats</a:t>
            </a:r>
          </a:p>
        </p:txBody>
      </p:sp>
      <p:sp>
        <p:nvSpPr>
          <p:cNvPr id="110" name="Rectangle 109">
            <a:extLst>
              <a:ext uri="{FF2B5EF4-FFF2-40B4-BE49-F238E27FC236}">
                <a16:creationId xmlns:a16="http://schemas.microsoft.com/office/drawing/2014/main" id="{04151E06-4D58-466B-A04D-EAC3E281CF09}"/>
              </a:ext>
            </a:extLst>
          </p:cNvPr>
          <p:cNvSpPr/>
          <p:nvPr/>
        </p:nvSpPr>
        <p:spPr>
          <a:xfrm>
            <a:off x="7123005" y="1840370"/>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b="1" dirty="0">
                <a:sym typeface="Corbel" panose="020B0503020204020204" pitchFamily="34" charset="0"/>
              </a:rPr>
              <a:t>O</a:t>
            </a:r>
            <a:r>
              <a:rPr kumimoji="0" lang="nl-NL" sz="1000" b="1" i="0" u="none" strike="noStrike" kern="1200" cap="none" spc="0" normalizeH="0" baseline="0" noProof="0" dirty="0" err="1">
                <a:ln>
                  <a:noFill/>
                </a:ln>
                <a:effectLst/>
                <a:uLnTx/>
                <a:uFillTx/>
                <a:sym typeface="Corbel" panose="020B0503020204020204" pitchFamily="34" charset="0"/>
              </a:rPr>
              <a:t>pbrengsten</a:t>
            </a:r>
            <a:endParaRPr kumimoji="0" lang="nl-NL" sz="1000" b="1" i="0" u="none" strike="noStrike" kern="1200" cap="none" spc="0" normalizeH="0" baseline="0" noProof="0" dirty="0">
              <a:ln>
                <a:noFill/>
              </a:ln>
              <a:effectLst/>
              <a:uLnTx/>
              <a:uFillTx/>
              <a:sym typeface="Corbel" panose="020B0503020204020204" pitchFamily="34" charset="0"/>
            </a:endParaRPr>
          </a:p>
        </p:txBody>
      </p:sp>
      <p:sp>
        <p:nvSpPr>
          <p:cNvPr id="111" name="Speech Bubble: Rectangle 110">
            <a:extLst>
              <a:ext uri="{FF2B5EF4-FFF2-40B4-BE49-F238E27FC236}">
                <a16:creationId xmlns:a16="http://schemas.microsoft.com/office/drawing/2014/main" id="{AAAF7B5D-8098-44C5-9FFA-8C8E7E6DFACC}"/>
              </a:ext>
            </a:extLst>
          </p:cNvPr>
          <p:cNvSpPr/>
          <p:nvPr/>
        </p:nvSpPr>
        <p:spPr>
          <a:xfrm>
            <a:off x="3743325" y="5991225"/>
            <a:ext cx="1638300" cy="247647"/>
          </a:xfrm>
          <a:prstGeom prst="wedgeRectCallout">
            <a:avLst>
              <a:gd name="adj1" fmla="val -24321"/>
              <a:gd name="adj2" fmla="val -168272"/>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1556B91A-E1B8-426D-B55A-3282BD42D044}"/>
              </a:ext>
            </a:extLst>
          </p:cNvPr>
          <p:cNvSpPr/>
          <p:nvPr/>
        </p:nvSpPr>
        <p:spPr>
          <a:xfrm>
            <a:off x="9090521" y="1840370"/>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Operationele kosten</a:t>
            </a:r>
          </a:p>
        </p:txBody>
      </p:sp>
      <p:grpSp>
        <p:nvGrpSpPr>
          <p:cNvPr id="2" name="Group 1">
            <a:extLst>
              <a:ext uri="{FF2B5EF4-FFF2-40B4-BE49-F238E27FC236}">
                <a16:creationId xmlns:a16="http://schemas.microsoft.com/office/drawing/2014/main" id="{EAC28337-ECE1-44AD-8F28-8D4F07E14EA6}"/>
              </a:ext>
            </a:extLst>
          </p:cNvPr>
          <p:cNvGrpSpPr/>
          <p:nvPr/>
        </p:nvGrpSpPr>
        <p:grpSpPr>
          <a:xfrm>
            <a:off x="9090521" y="2073955"/>
            <a:ext cx="1824933" cy="912893"/>
            <a:chOff x="9090521" y="2073955"/>
            <a:chExt cx="1824933" cy="912893"/>
          </a:xfrm>
        </p:grpSpPr>
        <p:sp>
          <p:nvSpPr>
            <p:cNvPr id="120" name="Rectangle 119">
              <a:extLst>
                <a:ext uri="{FF2B5EF4-FFF2-40B4-BE49-F238E27FC236}">
                  <a16:creationId xmlns:a16="http://schemas.microsoft.com/office/drawing/2014/main" id="{67B070AC-A11D-4A82-A3F9-B85213F11AF8}"/>
                </a:ext>
              </a:extLst>
            </p:cNvPr>
            <p:cNvSpPr/>
            <p:nvPr/>
          </p:nvSpPr>
          <p:spPr>
            <a:xfrm>
              <a:off x="9090521" y="2073955"/>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Exploitatiekosten </a:t>
              </a:r>
            </a:p>
          </p:txBody>
        </p:sp>
        <p:sp>
          <p:nvSpPr>
            <p:cNvPr id="121" name="Rectangle 120">
              <a:extLst>
                <a:ext uri="{FF2B5EF4-FFF2-40B4-BE49-F238E27FC236}">
                  <a16:creationId xmlns:a16="http://schemas.microsoft.com/office/drawing/2014/main" id="{49051571-0748-4F9E-99AC-9A7D8C3A5D8F}"/>
                </a:ext>
              </a:extLst>
            </p:cNvPr>
            <p:cNvSpPr/>
            <p:nvPr/>
          </p:nvSpPr>
          <p:spPr>
            <a:xfrm>
              <a:off x="9090521" y="2318609"/>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Aanschaf metro’s</a:t>
              </a:r>
            </a:p>
          </p:txBody>
        </p:sp>
        <p:sp>
          <p:nvSpPr>
            <p:cNvPr id="122" name="Rectangle 121">
              <a:extLst>
                <a:ext uri="{FF2B5EF4-FFF2-40B4-BE49-F238E27FC236}">
                  <a16:creationId xmlns:a16="http://schemas.microsoft.com/office/drawing/2014/main" id="{A7202E59-E486-4B3B-8C9B-A69137FE8E92}"/>
                </a:ext>
              </a:extLst>
            </p:cNvPr>
            <p:cNvSpPr/>
            <p:nvPr/>
          </p:nvSpPr>
          <p:spPr>
            <a:xfrm>
              <a:off x="9090521" y="2563263"/>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Groot onderhoud metro’s</a:t>
              </a:r>
            </a:p>
          </p:txBody>
        </p:sp>
        <p:sp>
          <p:nvSpPr>
            <p:cNvPr id="123" name="Rectangle 122">
              <a:extLst>
                <a:ext uri="{FF2B5EF4-FFF2-40B4-BE49-F238E27FC236}">
                  <a16:creationId xmlns:a16="http://schemas.microsoft.com/office/drawing/2014/main" id="{4F1BC62A-9E19-4D00-BF7C-D0AE5D9BFAF2}"/>
                </a:ext>
              </a:extLst>
            </p:cNvPr>
            <p:cNvSpPr/>
            <p:nvPr/>
          </p:nvSpPr>
          <p:spPr>
            <a:xfrm>
              <a:off x="9090521" y="2807918"/>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Beheer en onderhoud infra</a:t>
              </a:r>
            </a:p>
          </p:txBody>
        </p:sp>
      </p:grpSp>
      <p:sp>
        <p:nvSpPr>
          <p:cNvPr id="124" name="Rectangle 123">
            <a:extLst>
              <a:ext uri="{FF2B5EF4-FFF2-40B4-BE49-F238E27FC236}">
                <a16:creationId xmlns:a16="http://schemas.microsoft.com/office/drawing/2014/main" id="{F683F4B4-E533-4FDE-B8B1-2F883345B5C6}"/>
              </a:ext>
            </a:extLst>
          </p:cNvPr>
          <p:cNvSpPr/>
          <p:nvPr/>
        </p:nvSpPr>
        <p:spPr>
          <a:xfrm>
            <a:off x="5155491" y="3163758"/>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directe kosten</a:t>
            </a:r>
          </a:p>
        </p:txBody>
      </p:sp>
      <p:sp>
        <p:nvSpPr>
          <p:cNvPr id="125" name="Rectangle 124">
            <a:extLst>
              <a:ext uri="{FF2B5EF4-FFF2-40B4-BE49-F238E27FC236}">
                <a16:creationId xmlns:a16="http://schemas.microsoft.com/office/drawing/2014/main" id="{EC4E3D97-8F15-4556-AD98-1814A3A70F82}"/>
              </a:ext>
            </a:extLst>
          </p:cNvPr>
          <p:cNvSpPr/>
          <p:nvPr/>
        </p:nvSpPr>
        <p:spPr>
          <a:xfrm>
            <a:off x="7123004" y="3163758"/>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Indirecte baten</a:t>
            </a:r>
          </a:p>
        </p:txBody>
      </p:sp>
      <p:sp>
        <p:nvSpPr>
          <p:cNvPr id="31" name="Oval 30">
            <a:extLst>
              <a:ext uri="{FF2B5EF4-FFF2-40B4-BE49-F238E27FC236}">
                <a16:creationId xmlns:a16="http://schemas.microsoft.com/office/drawing/2014/main" id="{59206175-FCA7-46DE-86A6-E18E14FEF904}"/>
              </a:ext>
            </a:extLst>
          </p:cNvPr>
          <p:cNvSpPr/>
          <p:nvPr/>
        </p:nvSpPr>
        <p:spPr>
          <a:xfrm>
            <a:off x="3620994" y="2362384"/>
            <a:ext cx="144000" cy="144000"/>
          </a:xfrm>
          <a:prstGeom prst="ellipse">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28" name="Oval 127">
            <a:extLst>
              <a:ext uri="{FF2B5EF4-FFF2-40B4-BE49-F238E27FC236}">
                <a16:creationId xmlns:a16="http://schemas.microsoft.com/office/drawing/2014/main" id="{CC3A74F6-DBA4-4495-BE68-D2E6D635DE2F}"/>
              </a:ext>
            </a:extLst>
          </p:cNvPr>
          <p:cNvSpPr/>
          <p:nvPr/>
        </p:nvSpPr>
        <p:spPr>
          <a:xfrm>
            <a:off x="3620994" y="3709045"/>
            <a:ext cx="144000" cy="144000"/>
          </a:xfrm>
          <a:prstGeom prst="ellipse">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sp>
        <p:nvSpPr>
          <p:cNvPr id="129" name="Oval 128">
            <a:extLst>
              <a:ext uri="{FF2B5EF4-FFF2-40B4-BE49-F238E27FC236}">
                <a16:creationId xmlns:a16="http://schemas.microsoft.com/office/drawing/2014/main" id="{8DE91955-02C0-4DDC-8AEB-1574B36CA297}"/>
              </a:ext>
            </a:extLst>
          </p:cNvPr>
          <p:cNvSpPr/>
          <p:nvPr/>
        </p:nvSpPr>
        <p:spPr>
          <a:xfrm>
            <a:off x="3620994" y="5037418"/>
            <a:ext cx="144000" cy="144000"/>
          </a:xfrm>
          <a:prstGeom prst="ellipse">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3</a:t>
            </a:r>
          </a:p>
        </p:txBody>
      </p:sp>
      <p:sp>
        <p:nvSpPr>
          <p:cNvPr id="30" name="Speech Bubble: Rectangle 29">
            <a:extLst>
              <a:ext uri="{FF2B5EF4-FFF2-40B4-BE49-F238E27FC236}">
                <a16:creationId xmlns:a16="http://schemas.microsoft.com/office/drawing/2014/main" id="{3DDCB055-370E-4A72-958D-C243002EC010}"/>
              </a:ext>
            </a:extLst>
          </p:cNvPr>
          <p:cNvSpPr/>
          <p:nvPr/>
        </p:nvSpPr>
        <p:spPr>
          <a:xfrm>
            <a:off x="3743325" y="5991225"/>
            <a:ext cx="7779516" cy="247647"/>
          </a:xfrm>
          <a:prstGeom prst="wedgeRectCallout">
            <a:avLst>
              <a:gd name="adj1" fmla="val -20833"/>
              <a:gd name="adj2" fmla="val -10578"/>
            </a:avLst>
          </a:prstGeom>
          <a:solidFill>
            <a:srgbClr val="22777B"/>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 de volgende 3 slides wordt </a:t>
            </a:r>
            <a:r>
              <a:rPr kumimoji="0" lang="nl-NL" sz="10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een voorbeeld</a:t>
            </a:r>
            <a:r>
              <a:rPr kumimoji="0" lang="en-NL" sz="10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u</a:t>
            </a:r>
            <a:r>
              <a:rPr kumimoji="0" lang="nl-NL" sz="10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itwerking </a:t>
            </a:r>
            <a:r>
              <a:rPr kumimoji="0" lang="nl-NL" sz="10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geven van de verschillende typen kosten en baten</a:t>
            </a:r>
          </a:p>
        </p:txBody>
      </p:sp>
      <p:sp>
        <p:nvSpPr>
          <p:cNvPr id="131" name="Rectangle 130">
            <a:extLst>
              <a:ext uri="{FF2B5EF4-FFF2-40B4-BE49-F238E27FC236}">
                <a16:creationId xmlns:a16="http://schemas.microsoft.com/office/drawing/2014/main" id="{AE7AEBE1-1C7D-4FAB-84AA-A795AE865B52}"/>
              </a:ext>
            </a:extLst>
          </p:cNvPr>
          <p:cNvSpPr/>
          <p:nvPr/>
        </p:nvSpPr>
        <p:spPr>
          <a:xfrm>
            <a:off x="5155491" y="3402328"/>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Verminderde opbrengsten trein</a:t>
            </a:r>
          </a:p>
        </p:txBody>
      </p:sp>
      <p:sp>
        <p:nvSpPr>
          <p:cNvPr id="132" name="Rectangle 131">
            <a:extLst>
              <a:ext uri="{FF2B5EF4-FFF2-40B4-BE49-F238E27FC236}">
                <a16:creationId xmlns:a16="http://schemas.microsoft.com/office/drawing/2014/main" id="{0BA0FB9A-38B9-406D-B0B6-A91697D67852}"/>
              </a:ext>
            </a:extLst>
          </p:cNvPr>
          <p:cNvSpPr/>
          <p:nvPr/>
        </p:nvSpPr>
        <p:spPr>
          <a:xfrm>
            <a:off x="5155491" y="3645575"/>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Verminderde opbrengsten bus</a:t>
            </a:r>
          </a:p>
        </p:txBody>
      </p:sp>
      <p:sp>
        <p:nvSpPr>
          <p:cNvPr id="133" name="Rectangle 132">
            <a:extLst>
              <a:ext uri="{FF2B5EF4-FFF2-40B4-BE49-F238E27FC236}">
                <a16:creationId xmlns:a16="http://schemas.microsoft.com/office/drawing/2014/main" id="{BFF32C66-31B9-40F3-BB27-599597C3420C}"/>
              </a:ext>
            </a:extLst>
          </p:cNvPr>
          <p:cNvSpPr/>
          <p:nvPr/>
        </p:nvSpPr>
        <p:spPr>
          <a:xfrm>
            <a:off x="5155491" y="3888822"/>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Verminderde opbrengsten tram</a:t>
            </a:r>
          </a:p>
        </p:txBody>
      </p:sp>
      <p:sp>
        <p:nvSpPr>
          <p:cNvPr id="134" name="Rectangle 133">
            <a:extLst>
              <a:ext uri="{FF2B5EF4-FFF2-40B4-BE49-F238E27FC236}">
                <a16:creationId xmlns:a16="http://schemas.microsoft.com/office/drawing/2014/main" id="{EDE7248A-4C75-445E-8E02-B57C9DA0F8A3}"/>
              </a:ext>
            </a:extLst>
          </p:cNvPr>
          <p:cNvSpPr/>
          <p:nvPr/>
        </p:nvSpPr>
        <p:spPr>
          <a:xfrm>
            <a:off x="7123006" y="3402328"/>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Extra ruimte op het spoor</a:t>
            </a:r>
            <a:endParaRPr kumimoji="0" lang="nl-NL" sz="1000" i="0" u="none" strike="noStrike" kern="1200" cap="none" spc="0" normalizeH="0" baseline="0" noProof="0" dirty="0">
              <a:ln>
                <a:noFill/>
              </a:ln>
              <a:effectLst/>
              <a:uLnTx/>
              <a:uFillTx/>
              <a:sym typeface="Corbel" panose="020B0503020204020204" pitchFamily="34" charset="0"/>
            </a:endParaRPr>
          </a:p>
        </p:txBody>
      </p:sp>
      <p:sp>
        <p:nvSpPr>
          <p:cNvPr id="135" name="Speech Bubble: Rectangle 134">
            <a:extLst>
              <a:ext uri="{FF2B5EF4-FFF2-40B4-BE49-F238E27FC236}">
                <a16:creationId xmlns:a16="http://schemas.microsoft.com/office/drawing/2014/main" id="{D41A2789-9748-4A7D-BA32-CC636E9FCE4F}"/>
              </a:ext>
            </a:extLst>
          </p:cNvPr>
          <p:cNvSpPr/>
          <p:nvPr/>
        </p:nvSpPr>
        <p:spPr>
          <a:xfrm>
            <a:off x="9308655" y="3297288"/>
            <a:ext cx="2007045" cy="727998"/>
          </a:xfrm>
          <a:prstGeom prst="wedgeRectCallout">
            <a:avLst>
              <a:gd name="adj1" fmla="val -66881"/>
              <a:gd name="adj2" fmla="val -24643"/>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000" b="0" i="0" u="none" strike="noStrike" kern="1200" cap="none" spc="0" normalizeH="0" baseline="0" dirty="0">
                <a:ln>
                  <a:noFill/>
                </a:ln>
                <a:effectLst/>
                <a:uLnTx/>
                <a:uFillTx/>
                <a:latin typeface="Corbel" panose="020B0503020204020204" pitchFamily="34" charset="0"/>
                <a:ea typeface="+mn-ea"/>
                <a:cs typeface="+mn-cs"/>
              </a:rPr>
              <a:t>Complex om financieel te maken, ook belangrijk om op te focussen bij de maatschappelijke baten gegeven duurzaamheidswinst</a:t>
            </a:r>
          </a:p>
        </p:txBody>
      </p:sp>
      <p:sp>
        <p:nvSpPr>
          <p:cNvPr id="66" name="Rectangle 65">
            <a:extLst>
              <a:ext uri="{FF2B5EF4-FFF2-40B4-BE49-F238E27FC236}">
                <a16:creationId xmlns:a16="http://schemas.microsoft.com/office/drawing/2014/main" id="{CAA8B21B-9E9B-4114-BDF2-18F3FD67A889}"/>
              </a:ext>
            </a:extLst>
          </p:cNvPr>
          <p:cNvSpPr/>
          <p:nvPr/>
        </p:nvSpPr>
        <p:spPr>
          <a:xfrm>
            <a:off x="5155491" y="4526388"/>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Maatschappelijke lasten</a:t>
            </a:r>
          </a:p>
        </p:txBody>
      </p:sp>
      <p:sp>
        <p:nvSpPr>
          <p:cNvPr id="67" name="Rectangle 66">
            <a:extLst>
              <a:ext uri="{FF2B5EF4-FFF2-40B4-BE49-F238E27FC236}">
                <a16:creationId xmlns:a16="http://schemas.microsoft.com/office/drawing/2014/main" id="{013F0CFC-375E-4CF9-A90E-4769F5390B50}"/>
              </a:ext>
            </a:extLst>
          </p:cNvPr>
          <p:cNvSpPr/>
          <p:nvPr/>
        </p:nvSpPr>
        <p:spPr>
          <a:xfrm>
            <a:off x="8035470" y="4526388"/>
            <a:ext cx="1824933" cy="178930"/>
          </a:xfrm>
          <a:prstGeom prst="rect">
            <a:avLst/>
          </a:prstGeom>
          <a:noFill/>
          <a:ln w="12700">
            <a:noFill/>
          </a:ln>
          <a:extLst>
            <a:ext uri="{909E8E84-426E-40DD-AFC4-6F175D3DCCD1}">
              <a14:hiddenFill xmlns:a14="http://schemas.microsoft.com/office/drawing/2010/main">
                <a:solidFill>
                  <a:srgbClr val="FFF3F3"/>
                </a:solidFill>
              </a14:hiddenFill>
            </a:ext>
            <a:ext uri="{91240B29-F687-4F45-9708-019B960494DF}">
              <a14:hiddenLine xmlns:a14="http://schemas.microsoft.com/office/drawing/2010/main" w="12700">
                <a:solidFill>
                  <a:srgbClr val="C00000"/>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b="1" i="0" u="none" strike="noStrike" kern="1200" cap="none" spc="0" normalizeH="0" baseline="0" noProof="0" dirty="0">
                <a:ln>
                  <a:noFill/>
                </a:ln>
                <a:effectLst/>
                <a:uLnTx/>
                <a:uFillTx/>
                <a:sym typeface="Corbel" panose="020B0503020204020204" pitchFamily="34" charset="0"/>
              </a:rPr>
              <a:t>Maatschappelijke baten</a:t>
            </a:r>
          </a:p>
        </p:txBody>
      </p:sp>
      <p:sp>
        <p:nvSpPr>
          <p:cNvPr id="81" name="Rectangle 80">
            <a:extLst>
              <a:ext uri="{FF2B5EF4-FFF2-40B4-BE49-F238E27FC236}">
                <a16:creationId xmlns:a16="http://schemas.microsoft.com/office/drawing/2014/main" id="{D33A9B2B-9052-44E4-B981-B078C932F0FB}"/>
              </a:ext>
            </a:extLst>
          </p:cNvPr>
          <p:cNvSpPr/>
          <p:nvPr/>
        </p:nvSpPr>
        <p:spPr>
          <a:xfrm>
            <a:off x="5155490" y="4762659"/>
            <a:ext cx="1824933" cy="178930"/>
          </a:xfrm>
          <a:prstGeom prst="rect">
            <a:avLst/>
          </a:prstGeom>
          <a:solidFill>
            <a:srgbClr val="FFF3F3"/>
          </a:solidFill>
          <a:ln w="12700">
            <a:solidFill>
              <a:srgbClr val="C00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00" i="0" u="none" strike="noStrike" kern="1200" cap="none" spc="0" normalizeH="0" baseline="0" noProof="0" dirty="0">
                <a:ln>
                  <a:noFill/>
                </a:ln>
                <a:effectLst/>
                <a:uLnTx/>
                <a:uFillTx/>
                <a:sym typeface="Corbel" panose="020B0503020204020204" pitchFamily="34" charset="0"/>
              </a:rPr>
              <a:t>Vermindering accijnzen benzine </a:t>
            </a:r>
          </a:p>
        </p:txBody>
      </p:sp>
      <p:sp>
        <p:nvSpPr>
          <p:cNvPr id="86" name="Rectangle 85">
            <a:extLst>
              <a:ext uri="{FF2B5EF4-FFF2-40B4-BE49-F238E27FC236}">
                <a16:creationId xmlns:a16="http://schemas.microsoft.com/office/drawing/2014/main" id="{6D432730-D7CD-40BA-AE5B-EE344A408B90}"/>
              </a:ext>
            </a:extLst>
          </p:cNvPr>
          <p:cNvSpPr/>
          <p:nvPr/>
        </p:nvSpPr>
        <p:spPr>
          <a:xfrm>
            <a:off x="7123004" y="4762659"/>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Vermindering geluidsoverlast</a:t>
            </a:r>
          </a:p>
        </p:txBody>
      </p:sp>
      <p:sp>
        <p:nvSpPr>
          <p:cNvPr id="88" name="Rectangle 87">
            <a:extLst>
              <a:ext uri="{FF2B5EF4-FFF2-40B4-BE49-F238E27FC236}">
                <a16:creationId xmlns:a16="http://schemas.microsoft.com/office/drawing/2014/main" id="{D80F5856-61BC-4740-A37F-86F5A953ED0B}"/>
              </a:ext>
            </a:extLst>
          </p:cNvPr>
          <p:cNvSpPr/>
          <p:nvPr/>
        </p:nvSpPr>
        <p:spPr>
          <a:xfrm>
            <a:off x="7123004" y="5007313"/>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Vermindering CO2 uitstoot</a:t>
            </a:r>
          </a:p>
        </p:txBody>
      </p:sp>
      <p:sp>
        <p:nvSpPr>
          <p:cNvPr id="89" name="Rectangle 88">
            <a:extLst>
              <a:ext uri="{FF2B5EF4-FFF2-40B4-BE49-F238E27FC236}">
                <a16:creationId xmlns:a16="http://schemas.microsoft.com/office/drawing/2014/main" id="{8D1625F4-0AFC-4EF2-8746-86AD14CE6DE3}"/>
              </a:ext>
            </a:extLst>
          </p:cNvPr>
          <p:cNvSpPr/>
          <p:nvPr/>
        </p:nvSpPr>
        <p:spPr>
          <a:xfrm>
            <a:off x="7123004" y="5251967"/>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a:sym typeface="Corbel" panose="020B0503020204020204" pitchFamily="34" charset="0"/>
              </a:rPr>
              <a:t>Betere luchtkwaliteit</a:t>
            </a:r>
            <a:endParaRPr lang="nl-NL" sz="1000" dirty="0">
              <a:sym typeface="Corbel" panose="020B0503020204020204" pitchFamily="34" charset="0"/>
            </a:endParaRPr>
          </a:p>
        </p:txBody>
      </p:sp>
      <p:sp>
        <p:nvSpPr>
          <p:cNvPr id="90" name="Rectangle 89">
            <a:extLst>
              <a:ext uri="{FF2B5EF4-FFF2-40B4-BE49-F238E27FC236}">
                <a16:creationId xmlns:a16="http://schemas.microsoft.com/office/drawing/2014/main" id="{7FE9BFA0-324F-436F-B621-439B92040C7F}"/>
              </a:ext>
            </a:extLst>
          </p:cNvPr>
          <p:cNvSpPr/>
          <p:nvPr/>
        </p:nvSpPr>
        <p:spPr>
          <a:xfrm>
            <a:off x="7123004" y="5496622"/>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Vermeden investeringen</a:t>
            </a:r>
          </a:p>
        </p:txBody>
      </p:sp>
      <p:sp>
        <p:nvSpPr>
          <p:cNvPr id="97" name="Rectangle 96">
            <a:extLst>
              <a:ext uri="{FF2B5EF4-FFF2-40B4-BE49-F238E27FC236}">
                <a16:creationId xmlns:a16="http://schemas.microsoft.com/office/drawing/2014/main" id="{F575F154-CCB9-41C4-8E9C-C6AC1F17D3C5}"/>
              </a:ext>
            </a:extLst>
          </p:cNvPr>
          <p:cNvSpPr/>
          <p:nvPr/>
        </p:nvSpPr>
        <p:spPr>
          <a:xfrm>
            <a:off x="9090518" y="4762659"/>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a:sym typeface="Corbel" panose="020B0503020204020204" pitchFamily="34" charset="0"/>
              </a:rPr>
              <a:t>Extra banen</a:t>
            </a:r>
            <a:endParaRPr lang="nl-NL" sz="1000" dirty="0">
              <a:sym typeface="Corbel" panose="020B0503020204020204" pitchFamily="34" charset="0"/>
            </a:endParaRPr>
          </a:p>
        </p:txBody>
      </p:sp>
      <p:sp>
        <p:nvSpPr>
          <p:cNvPr id="98" name="Rectangle 97">
            <a:extLst>
              <a:ext uri="{FF2B5EF4-FFF2-40B4-BE49-F238E27FC236}">
                <a16:creationId xmlns:a16="http://schemas.microsoft.com/office/drawing/2014/main" id="{DFACECD1-5854-4926-B3BA-DDCD07D546A8}"/>
              </a:ext>
            </a:extLst>
          </p:cNvPr>
          <p:cNvSpPr/>
          <p:nvPr/>
        </p:nvSpPr>
        <p:spPr>
          <a:xfrm>
            <a:off x="9090518" y="5007313"/>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Winst grondexploitatie</a:t>
            </a:r>
          </a:p>
        </p:txBody>
      </p:sp>
      <p:sp>
        <p:nvSpPr>
          <p:cNvPr id="99" name="Rectangle 98">
            <a:extLst>
              <a:ext uri="{FF2B5EF4-FFF2-40B4-BE49-F238E27FC236}">
                <a16:creationId xmlns:a16="http://schemas.microsoft.com/office/drawing/2014/main" id="{6D8CA1AA-710C-4FF7-8264-C8D0C688E74B}"/>
              </a:ext>
            </a:extLst>
          </p:cNvPr>
          <p:cNvSpPr/>
          <p:nvPr/>
        </p:nvSpPr>
        <p:spPr>
          <a:xfrm>
            <a:off x="9090518" y="5251967"/>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Waardestijging vastgoed</a:t>
            </a:r>
          </a:p>
        </p:txBody>
      </p:sp>
      <p:sp>
        <p:nvSpPr>
          <p:cNvPr id="100" name="Rectangle 99">
            <a:extLst>
              <a:ext uri="{FF2B5EF4-FFF2-40B4-BE49-F238E27FC236}">
                <a16:creationId xmlns:a16="http://schemas.microsoft.com/office/drawing/2014/main" id="{93570B99-C1FB-45D9-BDC0-C8B68670D919}"/>
              </a:ext>
            </a:extLst>
          </p:cNvPr>
          <p:cNvSpPr/>
          <p:nvPr/>
        </p:nvSpPr>
        <p:spPr>
          <a:xfrm>
            <a:off x="9090518" y="5496622"/>
            <a:ext cx="1824933" cy="178930"/>
          </a:xfrm>
          <a:prstGeom prst="rect">
            <a:avLst/>
          </a:prstGeom>
          <a:solidFill>
            <a:srgbClr val="F2FAEA"/>
          </a:solidFill>
          <a:ln w="12700">
            <a:solidFill>
              <a:srgbClr val="17722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00" dirty="0">
                <a:sym typeface="Corbel" panose="020B0503020204020204" pitchFamily="34" charset="0"/>
              </a:rPr>
              <a:t>Vermindering reistijd</a:t>
            </a:r>
          </a:p>
        </p:txBody>
      </p:sp>
      <p:sp>
        <p:nvSpPr>
          <p:cNvPr id="80" name="Footer Placeholder 6">
            <a:extLst>
              <a:ext uri="{FF2B5EF4-FFF2-40B4-BE49-F238E27FC236}">
                <a16:creationId xmlns:a16="http://schemas.microsoft.com/office/drawing/2014/main" id="{EA6AC202-AADA-4BEB-86D0-810FCA7EB7A0}"/>
              </a:ext>
            </a:extLst>
          </p:cNvPr>
          <p:cNvSpPr txBox="1">
            <a:spLocks/>
          </p:cNvSpPr>
          <p:nvPr/>
        </p:nvSpPr>
        <p:spPr>
          <a:xfrm>
            <a:off x="658813" y="6619875"/>
            <a:ext cx="9799639" cy="163512"/>
          </a:xfrm>
          <a:prstGeom prst="rect">
            <a:avLst/>
          </a:prstGeom>
        </p:spPr>
        <p:txBody>
          <a:bodyPr/>
          <a:ls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sz="800" dirty="0"/>
              <a:t>B</a:t>
            </a:r>
            <a:r>
              <a:rPr lang="en-NL" sz="800" dirty="0" err="1"/>
              <a:t>ron</a:t>
            </a:r>
            <a:r>
              <a:rPr lang="en-NL" sz="800" dirty="0"/>
              <a:t>: it’s public analyse</a:t>
            </a:r>
            <a:endParaRPr lang="nl-NL" sz="800" dirty="0"/>
          </a:p>
        </p:txBody>
      </p:sp>
    </p:spTree>
    <p:extLst>
      <p:ext uri="{BB962C8B-B14F-4D97-AF65-F5344CB8AC3E}">
        <p14:creationId xmlns:p14="http://schemas.microsoft.com/office/powerpoint/2010/main" val="24457036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E42C93B-719D-4E70-B85C-6F089EA5EE8D}"/>
              </a:ext>
            </a:extLst>
          </p:cNvPr>
          <p:cNvGraphicFramePr>
            <a:graphicFrameLocks noChangeAspect="1"/>
          </p:cNvGraphicFramePr>
          <p:nvPr>
            <p:custDataLst>
              <p:tags r:id="rId1"/>
            </p:custDataLst>
            <p:extLst>
              <p:ext uri="{D42A27DB-BD31-4B8C-83A1-F6EECF244321}">
                <p14:modId xmlns:p14="http://schemas.microsoft.com/office/powerpoint/2010/main" val="183491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1" imgW="347" imgH="348" progId="TCLayout.ActiveDocument.1">
                  <p:embed/>
                </p:oleObj>
              </mc:Choice>
              <mc:Fallback>
                <p:oleObj name="think-cell Slide" r:id="rId51" imgW="347" imgH="348" progId="TCLayout.ActiveDocument.1">
                  <p:embed/>
                  <p:pic>
                    <p:nvPicPr>
                      <p:cNvPr id="6" name="Object 5" hidden="1">
                        <a:extLst>
                          <a:ext uri="{FF2B5EF4-FFF2-40B4-BE49-F238E27FC236}">
                            <a16:creationId xmlns:a16="http://schemas.microsoft.com/office/drawing/2014/main" id="{EE42C93B-719D-4E70-B85C-6F089EA5EE8D}"/>
                          </a:ext>
                        </a:extLst>
                      </p:cNvPr>
                      <p:cNvPicPr/>
                      <p:nvPr/>
                    </p:nvPicPr>
                    <p:blipFill>
                      <a:blip r:embed="rId52"/>
                      <a:stretch>
                        <a:fillRect/>
                      </a:stretch>
                    </p:blipFill>
                    <p:spPr>
                      <a:xfrm>
                        <a:off x="1588" y="1588"/>
                        <a:ext cx="1588" cy="1588"/>
                      </a:xfrm>
                      <a:prstGeom prst="rect">
                        <a:avLst/>
                      </a:prstGeom>
                    </p:spPr>
                  </p:pic>
                </p:oleObj>
              </mc:Fallback>
            </mc:AlternateContent>
          </a:graphicData>
        </a:graphic>
      </p:graphicFrame>
      <p:sp>
        <p:nvSpPr>
          <p:cNvPr id="121" name="Rectangle 120">
            <a:extLst>
              <a:ext uri="{FF2B5EF4-FFF2-40B4-BE49-F238E27FC236}">
                <a16:creationId xmlns:a16="http://schemas.microsoft.com/office/drawing/2014/main" id="{F2856B80-41CE-48D1-A35A-65C5D6F42E33}"/>
              </a:ext>
            </a:extLst>
          </p:cNvPr>
          <p:cNvSpPr/>
          <p:nvPr/>
        </p:nvSpPr>
        <p:spPr>
          <a:xfrm>
            <a:off x="669942" y="1592264"/>
            <a:ext cx="3209886" cy="2217634"/>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3" name="Rectangle 82">
            <a:extLst>
              <a:ext uri="{FF2B5EF4-FFF2-40B4-BE49-F238E27FC236}">
                <a16:creationId xmlns:a16="http://schemas.microsoft.com/office/drawing/2014/main" id="{1D6F2D64-9CA0-4B67-B8E6-85E983627354}"/>
              </a:ext>
            </a:extLst>
          </p:cNvPr>
          <p:cNvSpPr/>
          <p:nvPr/>
        </p:nvSpPr>
        <p:spPr>
          <a:xfrm>
            <a:off x="4015947" y="4514576"/>
            <a:ext cx="7520614" cy="1274513"/>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lang="en-NL" sz="1000" b="1">
                <a:solidFill>
                  <a:srgbClr val="000000"/>
                </a:solidFill>
                <a:latin typeface="Corbel" panose="020B0503020204020204" pitchFamily="34" charset="0"/>
                <a:cs typeface="+mn-cs"/>
              </a:rPr>
              <a:t>Saldo aanlegkosten</a:t>
            </a:r>
            <a:r>
              <a:rPr lang="nl-NL" sz="1000" b="1">
                <a:solidFill>
                  <a:srgbClr val="000000"/>
                </a:solidFill>
                <a:latin typeface="Corbel" panose="020B0503020204020204" pitchFamily="34" charset="0"/>
                <a:cs typeface="+mn-cs"/>
              </a:rPr>
              <a:t>, o</a:t>
            </a:r>
            <a:r>
              <a:rPr lang="en-NL" sz="1000" b="1" dirty="0">
                <a:solidFill>
                  <a:srgbClr val="000000"/>
                </a:solidFill>
                <a:latin typeface="Corbel" panose="020B0503020204020204" pitchFamily="34" charset="0"/>
                <a:cs typeface="+mn-cs"/>
              </a:rPr>
              <a:t>p</a:t>
            </a:r>
            <a:r>
              <a:rPr lang="nl-NL" sz="1000" b="1" dirty="0">
                <a:solidFill>
                  <a:srgbClr val="000000"/>
                </a:solidFill>
                <a:latin typeface="Corbel" panose="020B0503020204020204" pitchFamily="34" charset="0"/>
                <a:cs typeface="+mn-cs"/>
              </a:rPr>
              <a:t>b</a:t>
            </a:r>
            <a:r>
              <a:rPr lang="en-NL" sz="1000" b="1" dirty="0">
                <a:solidFill>
                  <a:srgbClr val="000000"/>
                </a:solidFill>
                <a:latin typeface="Corbel" panose="020B0503020204020204" pitchFamily="34" charset="0"/>
                <a:cs typeface="+mn-cs"/>
              </a:rPr>
              <a:t>r</a:t>
            </a:r>
            <a:r>
              <a:rPr lang="nl-NL" sz="1000" b="1" dirty="0">
                <a:solidFill>
                  <a:srgbClr val="000000"/>
                </a:solidFill>
                <a:latin typeface="Corbel" panose="020B0503020204020204" pitchFamily="34" charset="0"/>
                <a:cs typeface="+mn-cs"/>
              </a:rPr>
              <a:t>e</a:t>
            </a:r>
            <a:r>
              <a:rPr lang="en-NL" sz="1000" b="1" dirty="0">
                <a:solidFill>
                  <a:srgbClr val="000000"/>
                </a:solidFill>
                <a:latin typeface="Corbel" panose="020B0503020204020204" pitchFamily="34" charset="0"/>
                <a:cs typeface="+mn-cs"/>
              </a:rPr>
              <a:t>n</a:t>
            </a:r>
            <a:r>
              <a:rPr lang="nl-NL" sz="1000" b="1" dirty="0">
                <a:solidFill>
                  <a:srgbClr val="000000"/>
                </a:solidFill>
                <a:latin typeface="Corbel" panose="020B0503020204020204" pitchFamily="34" charset="0"/>
                <a:cs typeface="+mn-cs"/>
              </a:rPr>
              <a:t>g</a:t>
            </a:r>
            <a:r>
              <a:rPr lang="en-NL" sz="1000" b="1" dirty="0">
                <a:solidFill>
                  <a:srgbClr val="000000"/>
                </a:solidFill>
                <a:latin typeface="Corbel" panose="020B0503020204020204" pitchFamily="34" charset="0"/>
                <a:cs typeface="+mn-cs"/>
              </a:rPr>
              <a:t>s</a:t>
            </a:r>
            <a:r>
              <a:rPr lang="nl-NL" sz="1000" b="1" dirty="0">
                <a:solidFill>
                  <a:srgbClr val="000000"/>
                </a:solidFill>
                <a:latin typeface="Corbel" panose="020B0503020204020204" pitchFamily="34" charset="0"/>
                <a:cs typeface="+mn-cs"/>
              </a:rPr>
              <a:t>t</a:t>
            </a:r>
            <a:r>
              <a:rPr lang="en-NL" sz="1000" b="1" dirty="0">
                <a:solidFill>
                  <a:srgbClr val="000000"/>
                </a:solidFill>
                <a:latin typeface="Corbel" panose="020B0503020204020204" pitchFamily="34" charset="0"/>
                <a:cs typeface="+mn-cs"/>
              </a:rPr>
              <a:t>e</a:t>
            </a:r>
            <a:r>
              <a:rPr lang="nl-NL" sz="1000" b="1" dirty="0">
                <a:solidFill>
                  <a:srgbClr val="000000"/>
                </a:solidFill>
                <a:latin typeface="Corbel" panose="020B0503020204020204" pitchFamily="34" charset="0"/>
                <a:cs typeface="+mn-cs"/>
              </a:rPr>
              <a:t>n</a:t>
            </a:r>
            <a:r>
              <a:rPr lang="en-NL" sz="1000" b="1" dirty="0">
                <a:solidFill>
                  <a:srgbClr val="000000"/>
                </a:solidFill>
                <a:latin typeface="Corbel" panose="020B0503020204020204" pitchFamily="34" charset="0"/>
                <a:cs typeface="+mn-cs"/>
              </a:rPr>
              <a:t> </a:t>
            </a:r>
            <a:r>
              <a:rPr lang="nl-NL" sz="1000" b="1" dirty="0">
                <a:solidFill>
                  <a:srgbClr val="000000"/>
                </a:solidFill>
                <a:latin typeface="Corbel" panose="020B0503020204020204" pitchFamily="34" charset="0"/>
                <a:cs typeface="+mn-cs"/>
              </a:rPr>
              <a:t>e</a:t>
            </a:r>
            <a:r>
              <a:rPr lang="en-NL" sz="1000" b="1">
                <a:solidFill>
                  <a:srgbClr val="000000"/>
                </a:solidFill>
                <a:latin typeface="Corbel" panose="020B0503020204020204" pitchFamily="34" charset="0"/>
                <a:cs typeface="+mn-cs"/>
              </a:rPr>
              <a:t>n </a:t>
            </a:r>
            <a:r>
              <a:rPr lang="nl-NL" sz="1000" b="1">
                <a:solidFill>
                  <a:srgbClr val="000000"/>
                </a:solidFill>
                <a:latin typeface="Corbel" panose="020B0503020204020204" pitchFamily="34" charset="0"/>
                <a:cs typeface="+mn-cs"/>
              </a:rPr>
              <a:t>o</a:t>
            </a:r>
            <a:r>
              <a:rPr lang="en-NL" sz="1000" b="1">
                <a:solidFill>
                  <a:srgbClr val="000000"/>
                </a:solidFill>
                <a:latin typeface="Corbel" panose="020B0503020204020204" pitchFamily="34" charset="0"/>
                <a:cs typeface="+mn-cs"/>
              </a:rPr>
              <a:t>p</a:t>
            </a:r>
            <a:r>
              <a:rPr lang="nl-NL" sz="1000" b="1">
                <a:solidFill>
                  <a:srgbClr val="000000"/>
                </a:solidFill>
                <a:latin typeface="Corbel" panose="020B0503020204020204" pitchFamily="34" charset="0"/>
                <a:cs typeface="+mn-cs"/>
              </a:rPr>
              <a:t>e</a:t>
            </a:r>
            <a:r>
              <a:rPr lang="en-NL" sz="1000" b="1">
                <a:solidFill>
                  <a:srgbClr val="000000"/>
                </a:solidFill>
                <a:latin typeface="Corbel" panose="020B0503020204020204" pitchFamily="34" charset="0"/>
                <a:cs typeface="+mn-cs"/>
              </a:rPr>
              <a:t>r</a:t>
            </a:r>
            <a:r>
              <a:rPr lang="nl-NL" sz="1000" b="1">
                <a:solidFill>
                  <a:srgbClr val="000000"/>
                </a:solidFill>
                <a:latin typeface="Corbel" panose="020B0503020204020204" pitchFamily="34" charset="0"/>
                <a:cs typeface="+mn-cs"/>
              </a:rPr>
              <a:t>a</a:t>
            </a:r>
            <a:r>
              <a:rPr lang="en-NL" sz="1000" b="1">
                <a:solidFill>
                  <a:srgbClr val="000000"/>
                </a:solidFill>
                <a:latin typeface="Corbel" panose="020B0503020204020204" pitchFamily="34" charset="0"/>
                <a:cs typeface="+mn-cs"/>
              </a:rPr>
              <a:t>t</a:t>
            </a:r>
            <a:r>
              <a:rPr lang="nl-NL" sz="1000" b="1">
                <a:solidFill>
                  <a:srgbClr val="000000"/>
                </a:solidFill>
                <a:latin typeface="Corbel" panose="020B0503020204020204" pitchFamily="34" charset="0"/>
                <a:cs typeface="+mn-cs"/>
              </a:rPr>
              <a:t>i</a:t>
            </a:r>
            <a:r>
              <a:rPr lang="en-NL" sz="1000" b="1">
                <a:solidFill>
                  <a:srgbClr val="000000"/>
                </a:solidFill>
                <a:latin typeface="Corbel" panose="020B0503020204020204" pitchFamily="34" charset="0"/>
                <a:cs typeface="+mn-cs"/>
              </a:rPr>
              <a:t>o</a:t>
            </a:r>
            <a:r>
              <a:rPr lang="nl-NL" sz="1000" b="1">
                <a:solidFill>
                  <a:srgbClr val="000000"/>
                </a:solidFill>
                <a:latin typeface="Corbel" panose="020B0503020204020204" pitchFamily="34" charset="0"/>
                <a:cs typeface="+mn-cs"/>
              </a:rPr>
              <a:t>n</a:t>
            </a:r>
            <a:r>
              <a:rPr lang="en-NL" sz="1000" b="1">
                <a:solidFill>
                  <a:srgbClr val="000000"/>
                </a:solidFill>
                <a:latin typeface="Corbel" panose="020B0503020204020204" pitchFamily="34" charset="0"/>
                <a:cs typeface="+mn-cs"/>
              </a:rPr>
              <a:t>e</a:t>
            </a:r>
            <a:r>
              <a:rPr lang="nl-NL" sz="1000" b="1">
                <a:solidFill>
                  <a:srgbClr val="000000"/>
                </a:solidFill>
                <a:latin typeface="Corbel" panose="020B0503020204020204" pitchFamily="34" charset="0"/>
                <a:cs typeface="+mn-cs"/>
              </a:rPr>
              <a:t>l</a:t>
            </a:r>
            <a:r>
              <a:rPr lang="en-NL" sz="1000" b="1">
                <a:solidFill>
                  <a:srgbClr val="000000"/>
                </a:solidFill>
                <a:latin typeface="Corbel" panose="020B0503020204020204" pitchFamily="34" charset="0"/>
                <a:cs typeface="+mn-cs"/>
              </a:rPr>
              <a:t>e </a:t>
            </a:r>
            <a:r>
              <a:rPr lang="nl-NL" sz="1000" b="1">
                <a:solidFill>
                  <a:srgbClr val="000000"/>
                </a:solidFill>
                <a:latin typeface="Corbel" panose="020B0503020204020204" pitchFamily="34" charset="0"/>
                <a:cs typeface="+mn-cs"/>
              </a:rPr>
              <a:t>k</a:t>
            </a:r>
            <a:r>
              <a:rPr lang="en-NL" sz="1000" b="1">
                <a:solidFill>
                  <a:srgbClr val="000000"/>
                </a:solidFill>
                <a:latin typeface="Corbel" panose="020B0503020204020204" pitchFamily="34" charset="0"/>
                <a:cs typeface="+mn-cs"/>
              </a:rPr>
              <a:t>o</a:t>
            </a:r>
            <a:r>
              <a:rPr lang="nl-NL" sz="1000" b="1">
                <a:solidFill>
                  <a:srgbClr val="000000"/>
                </a:solidFill>
                <a:latin typeface="Corbel" panose="020B0503020204020204" pitchFamily="34" charset="0"/>
                <a:cs typeface="+mn-cs"/>
              </a:rPr>
              <a:t>s</a:t>
            </a:r>
            <a:r>
              <a:rPr lang="en-NL" sz="1000" b="1">
                <a:solidFill>
                  <a:srgbClr val="000000"/>
                </a:solidFill>
                <a:latin typeface="Corbel" panose="020B0503020204020204" pitchFamily="34" charset="0"/>
                <a:cs typeface="+mn-cs"/>
              </a:rPr>
              <a:t>t</a:t>
            </a:r>
            <a:r>
              <a:rPr lang="nl-NL" sz="1000" b="1">
                <a:solidFill>
                  <a:srgbClr val="000000"/>
                </a:solidFill>
                <a:latin typeface="Corbel" panose="020B0503020204020204" pitchFamily="34" charset="0"/>
                <a:cs typeface="+mn-cs"/>
              </a:rPr>
              <a:t>e</a:t>
            </a:r>
            <a:r>
              <a:rPr lang="en-NL" sz="1000" b="1">
                <a:solidFill>
                  <a:srgbClr val="000000"/>
                </a:solidFill>
                <a:latin typeface="Corbel" panose="020B0503020204020204" pitchFamily="34" charset="0"/>
                <a:cs typeface="+mn-cs"/>
              </a:rPr>
              <a:t>n</a:t>
            </a:r>
            <a:endParaRPr lang="nl-NL" sz="1000" b="1" dirty="0">
              <a:solidFill>
                <a:srgbClr val="000000"/>
              </a:solidFill>
              <a:latin typeface="Corbel" panose="020B0503020204020204" pitchFamily="34" charset="0"/>
              <a:cs typeface="+mn-cs"/>
            </a:endParaRPr>
          </a:p>
        </p:txBody>
      </p:sp>
      <p:sp>
        <p:nvSpPr>
          <p:cNvPr id="232" name="Rectangle 231">
            <a:extLst>
              <a:ext uri="{FF2B5EF4-FFF2-40B4-BE49-F238E27FC236}">
                <a16:creationId xmlns:a16="http://schemas.microsoft.com/office/drawing/2014/main" id="{5A12EB88-A698-45BC-9099-3020E28F6C37}"/>
              </a:ext>
            </a:extLst>
          </p:cNvPr>
          <p:cNvSpPr/>
          <p:nvPr/>
        </p:nvSpPr>
        <p:spPr>
          <a:xfrm>
            <a:off x="669942" y="3880699"/>
            <a:ext cx="3209886" cy="2438503"/>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Rectangle 1" hidden="1">
            <a:extLst>
              <a:ext uri="{FF2B5EF4-FFF2-40B4-BE49-F238E27FC236}">
                <a16:creationId xmlns:a16="http://schemas.microsoft.com/office/drawing/2014/main" id="{B4125802-925A-43D9-9C6A-1BFC0789790D}"/>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vert="horz" wrap="none" lIns="0" tIns="0" rIns="0" bIns="0" numCol="1" spcCol="0" rtlCol="0" anchor="t" anchorCtr="0">
            <a:noAutofit/>
          </a:bodyPr>
          <a:lstStyle/>
          <a:p>
            <a:pPr defTabSz="685800">
              <a:lnSpc>
                <a:spcPct val="90000"/>
              </a:lnSpc>
              <a:spcBef>
                <a:spcPts val="750"/>
              </a:spcBef>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6" name="Rectangle 65">
            <a:extLst>
              <a:ext uri="{FF2B5EF4-FFF2-40B4-BE49-F238E27FC236}">
                <a16:creationId xmlns:a16="http://schemas.microsoft.com/office/drawing/2014/main" id="{96384FC5-55A8-41FF-9B76-86CA261940C3}"/>
              </a:ext>
            </a:extLst>
          </p:cNvPr>
          <p:cNvSpPr/>
          <p:nvPr/>
        </p:nvSpPr>
        <p:spPr>
          <a:xfrm>
            <a:off x="669159" y="3979202"/>
            <a:ext cx="3210691" cy="2340000"/>
          </a:xfrm>
          <a:prstGeom prst="rect">
            <a:avLst/>
          </a:prstGeom>
          <a:noFill/>
          <a:extLst>
            <a:ext uri="{909E8E84-426E-40DD-AFC4-6F175D3DCCD1}">
              <a14:hiddenFill xmlns:a14="http://schemas.microsoft.com/office/drawing/2010/main">
                <a:solidFill>
                  <a:srgbClr val="FFFFFF"/>
                </a:solidFill>
              </a14:hiddenFill>
            </a:ext>
          </a:extLst>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lang="nl-NL" sz="1000" b="1" dirty="0">
                <a:solidFill>
                  <a:srgbClr val="000000"/>
                </a:solidFill>
                <a:latin typeface="Corbel" panose="020B0503020204020204" pitchFamily="34" charset="0"/>
                <a:cs typeface="+mn-cs"/>
              </a:rPr>
              <a:t>Aantal </a:t>
            </a:r>
            <a:r>
              <a:rPr lang="nl-NL" sz="1000" b="1" dirty="0" err="1">
                <a:solidFill>
                  <a:srgbClr val="000000"/>
                </a:solidFill>
                <a:latin typeface="Corbel" panose="020B0503020204020204" pitchFamily="34" charset="0"/>
                <a:cs typeface="+mn-cs"/>
              </a:rPr>
              <a:t>reizigerskm</a:t>
            </a:r>
            <a:r>
              <a:rPr lang="nl-NL" sz="1000" b="1" dirty="0">
                <a:solidFill>
                  <a:srgbClr val="000000"/>
                </a:solidFill>
                <a:latin typeface="Corbel" panose="020B0503020204020204" pitchFamily="34" charset="0"/>
                <a:cs typeface="+mn-cs"/>
              </a:rPr>
              <a:t> </a:t>
            </a:r>
            <a:r>
              <a:rPr lang="en-NL" sz="1000" b="1" dirty="0" err="1">
                <a:solidFill>
                  <a:srgbClr val="000000"/>
                </a:solidFill>
                <a:latin typeface="Corbel" panose="020B0503020204020204" pitchFamily="34" charset="0"/>
                <a:cs typeface="+mn-cs"/>
              </a:rPr>
              <a:t>nieuw</a:t>
            </a:r>
            <a:r>
              <a:rPr lang="en-NL" sz="1000" b="1" dirty="0">
                <a:solidFill>
                  <a:srgbClr val="000000"/>
                </a:solidFill>
                <a:latin typeface="Corbel" panose="020B0503020204020204" pitchFamily="34" charset="0"/>
                <a:cs typeface="+mn-cs"/>
              </a:rPr>
              <a:t> </a:t>
            </a:r>
            <a:r>
              <a:rPr lang="nl-NL" sz="1000" b="1" dirty="0">
                <a:solidFill>
                  <a:srgbClr val="000000"/>
                </a:solidFill>
                <a:latin typeface="Corbel" panose="020B0503020204020204" pitchFamily="34" charset="0"/>
                <a:cs typeface="+mn-cs"/>
              </a:rPr>
              <a:t>t</a:t>
            </a:r>
            <a:r>
              <a:rPr lang="en-NL" sz="1000" b="1" dirty="0">
                <a:solidFill>
                  <a:srgbClr val="000000"/>
                </a:solidFill>
                <a:latin typeface="Corbel" panose="020B0503020204020204" pitchFamily="34" charset="0"/>
                <a:cs typeface="+mn-cs"/>
              </a:rPr>
              <a:t>r</a:t>
            </a:r>
            <a:r>
              <a:rPr lang="nl-NL" sz="1000" b="1" dirty="0">
                <a:solidFill>
                  <a:srgbClr val="000000"/>
                </a:solidFill>
                <a:latin typeface="Corbel" panose="020B0503020204020204" pitchFamily="34" charset="0"/>
                <a:cs typeface="+mn-cs"/>
              </a:rPr>
              <a:t>a</a:t>
            </a:r>
            <a:r>
              <a:rPr lang="en-NL" sz="1000" b="1" dirty="0" err="1">
                <a:solidFill>
                  <a:srgbClr val="000000"/>
                </a:solidFill>
                <a:latin typeface="Corbel" panose="020B0503020204020204" pitchFamily="34" charset="0"/>
                <a:cs typeface="+mn-cs"/>
              </a:rPr>
              <a:t>cé</a:t>
            </a:r>
            <a:r>
              <a:rPr lang="nl-NL" sz="1000" b="1" dirty="0">
                <a:solidFill>
                  <a:srgbClr val="000000"/>
                </a:solidFill>
                <a:latin typeface="Corbel" panose="020B0503020204020204" pitchFamily="34" charset="0"/>
                <a:cs typeface="+mn-cs"/>
              </a:rPr>
              <a:t> </a:t>
            </a:r>
            <a:r>
              <a:rPr lang="nl-NL" sz="1000" dirty="0">
                <a:solidFill>
                  <a:srgbClr val="000000"/>
                </a:solidFill>
                <a:latin typeface="Corbel" panose="020B0503020204020204" pitchFamily="34" charset="0"/>
                <a:cs typeface="+mn-cs"/>
              </a:rPr>
              <a:t>(mln)</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 name="Title 2">
            <a:extLst>
              <a:ext uri="{FF2B5EF4-FFF2-40B4-BE49-F238E27FC236}">
                <a16:creationId xmlns:a16="http://schemas.microsoft.com/office/drawing/2014/main" id="{092211F7-7C55-415A-9B1B-B18C9E0DF6AC}"/>
              </a:ext>
            </a:extLst>
          </p:cNvPr>
          <p:cNvSpPr>
            <a:spLocks noGrp="1"/>
          </p:cNvSpPr>
          <p:nvPr>
            <p:ph type="title"/>
          </p:nvPr>
        </p:nvSpPr>
        <p:spPr/>
        <p:txBody>
          <a:bodyPr vert="horz"/>
          <a:lstStyle/>
          <a:p>
            <a:r>
              <a:rPr lang="nl-NL"/>
              <a:t>Casus metro</a:t>
            </a:r>
            <a:r>
              <a:rPr lang="en-NL"/>
              <a:t>-</a:t>
            </a:r>
            <a:r>
              <a:rPr lang="nl-NL"/>
              <a:t>uitbreiding – </a:t>
            </a:r>
            <a:r>
              <a:rPr lang="en-NL"/>
              <a:t>D</a:t>
            </a:r>
            <a:r>
              <a:rPr lang="nl-NL"/>
              <a:t>irecte </a:t>
            </a:r>
            <a:r>
              <a:rPr lang="nl-NL" dirty="0"/>
              <a:t>baten zijn reizigersopbrengsten, directe kosten aanleg van de infrastructuur en operationele kosten</a:t>
            </a:r>
          </a:p>
        </p:txBody>
      </p:sp>
      <p:sp>
        <p:nvSpPr>
          <p:cNvPr id="12" name="Text Placeholder 11">
            <a:extLst>
              <a:ext uri="{FF2B5EF4-FFF2-40B4-BE49-F238E27FC236}">
                <a16:creationId xmlns:a16="http://schemas.microsoft.com/office/drawing/2014/main" id="{56DC66BD-487B-456C-8485-9320AE9F5307}"/>
              </a:ext>
            </a:extLst>
          </p:cNvPr>
          <p:cNvSpPr>
            <a:spLocks noGrp="1"/>
          </p:cNvSpPr>
          <p:nvPr>
            <p:ph type="body" sz="quarter" idx="21"/>
          </p:nvPr>
        </p:nvSpPr>
        <p:spPr/>
        <p:txBody>
          <a:bodyPr/>
          <a:lstStyle/>
          <a:p>
            <a:pPr marL="0" indent="0">
              <a:buNone/>
            </a:pPr>
            <a:r>
              <a:rPr lang="en-GB" dirty="0"/>
              <a:t>1 De</a:t>
            </a:r>
            <a:r>
              <a:rPr lang="en-NL" dirty="0"/>
              <a:t>z</a:t>
            </a:r>
            <a:r>
              <a:rPr lang="nl-NL" dirty="0"/>
              <a:t>e</a:t>
            </a:r>
            <a:r>
              <a:rPr lang="en-NL" dirty="0"/>
              <a:t> </a:t>
            </a:r>
            <a:r>
              <a:rPr lang="en-GB" dirty="0" err="1"/>
              <a:t>bevatten</a:t>
            </a:r>
            <a:r>
              <a:rPr lang="en-GB" dirty="0"/>
              <a:t> </a:t>
            </a:r>
            <a:r>
              <a:rPr lang="en-NL" dirty="0"/>
              <a:t>n</a:t>
            </a:r>
            <a:r>
              <a:rPr lang="nl-NL" dirty="0"/>
              <a:t>a</a:t>
            </a:r>
            <a:r>
              <a:rPr lang="en-NL" dirty="0"/>
              <a:t>a</a:t>
            </a:r>
            <a:r>
              <a:rPr lang="nl-NL" dirty="0"/>
              <a:t>s</a:t>
            </a:r>
            <a:r>
              <a:rPr lang="en-NL" dirty="0"/>
              <a:t>t </a:t>
            </a:r>
            <a:r>
              <a:rPr lang="nl-NL" dirty="0"/>
              <a:t>d</a:t>
            </a:r>
            <a:r>
              <a:rPr lang="en-NL" dirty="0"/>
              <a:t>e </a:t>
            </a:r>
            <a:r>
              <a:rPr lang="nl-NL" dirty="0"/>
              <a:t>e</a:t>
            </a:r>
            <a:r>
              <a:rPr lang="en-NL" dirty="0"/>
              <a:t>x</a:t>
            </a:r>
            <a:r>
              <a:rPr lang="nl-NL" dirty="0"/>
              <a:t>p</a:t>
            </a:r>
            <a:r>
              <a:rPr lang="en-NL" dirty="0"/>
              <a:t>l</a:t>
            </a:r>
            <a:r>
              <a:rPr lang="nl-NL" dirty="0"/>
              <a:t>o</a:t>
            </a:r>
            <a:r>
              <a:rPr lang="en-NL" dirty="0" err="1"/>
              <a:t>i</a:t>
            </a:r>
            <a:r>
              <a:rPr lang="nl-NL" dirty="0"/>
              <a:t>t</a:t>
            </a:r>
            <a:r>
              <a:rPr lang="en-NL" dirty="0"/>
              <a:t>a</a:t>
            </a:r>
            <a:r>
              <a:rPr lang="nl-NL" dirty="0"/>
              <a:t>t</a:t>
            </a:r>
            <a:r>
              <a:rPr lang="en-NL" dirty="0" err="1"/>
              <a:t>i</a:t>
            </a:r>
            <a:r>
              <a:rPr lang="nl-NL" dirty="0"/>
              <a:t>e</a:t>
            </a:r>
            <a:r>
              <a:rPr lang="en-NL" dirty="0"/>
              <a:t>k</a:t>
            </a:r>
            <a:r>
              <a:rPr lang="nl-NL" dirty="0"/>
              <a:t>o</a:t>
            </a:r>
            <a:r>
              <a:rPr lang="en-NL" dirty="0"/>
              <a:t>s</a:t>
            </a:r>
            <a:r>
              <a:rPr lang="nl-NL" dirty="0"/>
              <a:t>t</a:t>
            </a:r>
            <a:r>
              <a:rPr lang="en-NL" dirty="0"/>
              <a:t>e</a:t>
            </a:r>
            <a:r>
              <a:rPr lang="nl-NL" dirty="0"/>
              <a:t>n</a:t>
            </a:r>
            <a:r>
              <a:rPr lang="en-NL" dirty="0"/>
              <a:t> </a:t>
            </a:r>
            <a:r>
              <a:rPr lang="de-DE" dirty="0" err="1"/>
              <a:t>ook</a:t>
            </a:r>
            <a:r>
              <a:rPr lang="de-DE" dirty="0"/>
              <a:t> de kosten voor onderhoud en </a:t>
            </a:r>
            <a:r>
              <a:rPr lang="de-DE" dirty="0" err="1"/>
              <a:t>vervangingsinvesteringen</a:t>
            </a:r>
            <a:br>
              <a:rPr lang="de-DE" dirty="0"/>
            </a:br>
            <a:r>
              <a:rPr lang="nl-NL" sz="800" dirty="0"/>
              <a:t>B</a:t>
            </a:r>
            <a:r>
              <a:rPr lang="en-NL" sz="800" dirty="0" err="1"/>
              <a:t>ron</a:t>
            </a:r>
            <a:r>
              <a:rPr lang="en-NL" sz="800" dirty="0"/>
              <a:t>: it’s public analyse</a:t>
            </a:r>
            <a:endParaRPr lang="nl-NL" sz="800" dirty="0"/>
          </a:p>
          <a:p>
            <a:pPr marL="0" indent="0">
              <a:buNone/>
            </a:pPr>
            <a:endParaRPr lang="nl-NL" dirty="0"/>
          </a:p>
        </p:txBody>
      </p:sp>
      <p:sp>
        <p:nvSpPr>
          <p:cNvPr id="79" name="Rectangle 78">
            <a:extLst>
              <a:ext uri="{FF2B5EF4-FFF2-40B4-BE49-F238E27FC236}">
                <a16:creationId xmlns:a16="http://schemas.microsoft.com/office/drawing/2014/main" id="{5ECBB0BE-A2FC-458C-8478-CC604A25CFCC}"/>
              </a:ext>
            </a:extLst>
          </p:cNvPr>
          <p:cNvSpPr/>
          <p:nvPr/>
        </p:nvSpPr>
        <p:spPr>
          <a:xfrm>
            <a:off x="669942" y="1839939"/>
            <a:ext cx="3209886" cy="610624"/>
          </a:xfrm>
          <a:prstGeom prst="rect">
            <a:avLst/>
          </a:prstGeom>
          <a:noFill/>
          <a:ln>
            <a:noFill/>
          </a:ln>
          <a:extLst>
            <a:ext uri="{909E8E84-426E-40DD-AFC4-6F175D3DCCD1}">
              <a14:hiddenFill xmlns:a14="http://schemas.microsoft.com/office/drawing/2010/main">
                <a:solidFill>
                  <a:schemeClr val="bg1">
                    <a:lumMod val="95000"/>
                  </a:schemeClr>
                </a:solidFill>
              </a14:hiddenFill>
            </a:ext>
            <a:ext uri="{91240B29-F687-4F45-9708-019B960494DF}">
              <a14:hiddenLine xmlns:a14="http://schemas.microsoft.com/office/drawing/2010/main">
                <a:solidFill>
                  <a:schemeClr val="bg1">
                    <a:lumMod val="65000"/>
                  </a:schemeClr>
                </a:solidFill>
              </a14:hiddenLine>
            </a:ext>
          </a:extLst>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lang="nl-NL" sz="1000" b="1" dirty="0">
                <a:solidFill>
                  <a:srgbClr val="000000"/>
                </a:solidFill>
                <a:latin typeface="Corbel" panose="020B0503020204020204" pitchFamily="34" charset="0"/>
                <a:cs typeface="+mn-cs"/>
              </a:rPr>
              <a:t>Aanlegkosten</a:t>
            </a:r>
          </a:p>
          <a:p>
            <a:pPr marL="0" marR="0" indent="0" defTabSz="685800" rtl="0" eaLnBrk="1" fontAlgn="auto" latinLnBrk="0" hangingPunct="1">
              <a:lnSpc>
                <a:spcPct val="90000"/>
              </a:lnSpc>
              <a:spcBef>
                <a:spcPts val="750"/>
              </a:spcBef>
              <a:spcAft>
                <a:spcPts val="0"/>
              </a:spcAft>
              <a:buClr>
                <a:srgbClr val="FF0000"/>
              </a:buClr>
              <a:buSzTx/>
              <a:buFontTx/>
              <a:buNone/>
              <a:tabLst/>
            </a:pPr>
            <a:r>
              <a:rPr kumimoji="0" lang="nl-NL" sz="1000" i="0" u="none" strike="noStrike" kern="1200" cap="none" spc="0" normalizeH="0" baseline="0" noProof="0" dirty="0">
                <a:ln>
                  <a:noFill/>
                </a:ln>
                <a:solidFill>
                  <a:srgbClr val="000000"/>
                </a:solidFill>
                <a:effectLst/>
                <a:uLnTx/>
                <a:uFillTx/>
                <a:latin typeface="Corbel" panose="020B0503020204020204" pitchFamily="34" charset="0"/>
                <a:cs typeface="+mn-cs"/>
              </a:rPr>
              <a:t>De aanlegkosten zijn het grootste gedeelte van de kosten. Daarnaast wegen ze ook zwaar voor de Netto Contante Waarde omdat de aanlegkosten over geen of een beperkt aantal jaren worden verdisconteerd.</a:t>
            </a: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84" name="Rectangle 83">
            <a:extLst>
              <a:ext uri="{FF2B5EF4-FFF2-40B4-BE49-F238E27FC236}">
                <a16:creationId xmlns:a16="http://schemas.microsoft.com/office/drawing/2014/main" id="{92F46DF7-A3E0-4C3A-8E0E-8FFECCE059EC}"/>
              </a:ext>
            </a:extLst>
          </p:cNvPr>
          <p:cNvSpPr/>
          <p:nvPr/>
        </p:nvSpPr>
        <p:spPr>
          <a:xfrm>
            <a:off x="4015947" y="3176514"/>
            <a:ext cx="7520614" cy="1255491"/>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lang="nl-NL" sz="1000" b="1" dirty="0">
                <a:solidFill>
                  <a:srgbClr val="000000"/>
                </a:solidFill>
                <a:latin typeface="Corbel" panose="020B0503020204020204" pitchFamily="34" charset="0"/>
                <a:cs typeface="+mn-cs"/>
              </a:rPr>
              <a:t>O</a:t>
            </a:r>
            <a:r>
              <a:rPr lang="en-NL" sz="1000" b="1" dirty="0">
                <a:solidFill>
                  <a:srgbClr val="000000"/>
                </a:solidFill>
                <a:latin typeface="Corbel" panose="020B0503020204020204" pitchFamily="34" charset="0"/>
                <a:cs typeface="+mn-cs"/>
              </a:rPr>
              <a:t>p</a:t>
            </a:r>
            <a:r>
              <a:rPr lang="nl-NL" sz="1000" b="1" dirty="0">
                <a:solidFill>
                  <a:srgbClr val="000000"/>
                </a:solidFill>
                <a:latin typeface="Corbel" panose="020B0503020204020204" pitchFamily="34" charset="0"/>
                <a:cs typeface="+mn-cs"/>
              </a:rPr>
              <a:t>e</a:t>
            </a:r>
            <a:r>
              <a:rPr lang="en-NL" sz="1000" b="1" dirty="0">
                <a:solidFill>
                  <a:srgbClr val="000000"/>
                </a:solidFill>
                <a:latin typeface="Corbel" panose="020B0503020204020204" pitchFamily="34" charset="0"/>
                <a:cs typeface="+mn-cs"/>
              </a:rPr>
              <a:t>r</a:t>
            </a:r>
            <a:r>
              <a:rPr lang="nl-NL" sz="1000" b="1" dirty="0">
                <a:solidFill>
                  <a:srgbClr val="000000"/>
                </a:solidFill>
                <a:latin typeface="Corbel" panose="020B0503020204020204" pitchFamily="34" charset="0"/>
                <a:cs typeface="+mn-cs"/>
              </a:rPr>
              <a:t>a</a:t>
            </a:r>
            <a:r>
              <a:rPr lang="en-NL" sz="1000" b="1" dirty="0">
                <a:solidFill>
                  <a:srgbClr val="000000"/>
                </a:solidFill>
                <a:latin typeface="Corbel" panose="020B0503020204020204" pitchFamily="34" charset="0"/>
                <a:cs typeface="+mn-cs"/>
              </a:rPr>
              <a:t>t</a:t>
            </a:r>
            <a:r>
              <a:rPr lang="nl-NL" sz="1000" b="1" dirty="0">
                <a:solidFill>
                  <a:srgbClr val="000000"/>
                </a:solidFill>
                <a:latin typeface="Corbel" panose="020B0503020204020204" pitchFamily="34" charset="0"/>
                <a:cs typeface="+mn-cs"/>
              </a:rPr>
              <a:t>i</a:t>
            </a:r>
            <a:r>
              <a:rPr lang="en-NL" sz="1000" b="1" dirty="0">
                <a:solidFill>
                  <a:srgbClr val="000000"/>
                </a:solidFill>
                <a:latin typeface="Corbel" panose="020B0503020204020204" pitchFamily="34" charset="0"/>
                <a:cs typeface="+mn-cs"/>
              </a:rPr>
              <a:t>o</a:t>
            </a:r>
            <a:r>
              <a:rPr lang="nl-NL" sz="1000" b="1" dirty="0">
                <a:solidFill>
                  <a:srgbClr val="000000"/>
                </a:solidFill>
                <a:latin typeface="Corbel" panose="020B0503020204020204" pitchFamily="34" charset="0"/>
                <a:cs typeface="+mn-cs"/>
              </a:rPr>
              <a:t>n</a:t>
            </a:r>
            <a:r>
              <a:rPr lang="en-NL" sz="1000" b="1" dirty="0" err="1">
                <a:solidFill>
                  <a:srgbClr val="000000"/>
                </a:solidFill>
                <a:latin typeface="Corbel" panose="020B0503020204020204" pitchFamily="34" charset="0"/>
                <a:cs typeface="+mn-cs"/>
              </a:rPr>
              <a:t>ele</a:t>
            </a:r>
            <a:r>
              <a:rPr lang="en-NL" sz="1000" b="1" dirty="0">
                <a:solidFill>
                  <a:srgbClr val="000000"/>
                </a:solidFill>
                <a:latin typeface="Corbel" panose="020B0503020204020204" pitchFamily="34" charset="0"/>
                <a:cs typeface="+mn-cs"/>
              </a:rPr>
              <a:t> </a:t>
            </a:r>
            <a:r>
              <a:rPr lang="en-NL" sz="1000" b="1" dirty="0" err="1">
                <a:solidFill>
                  <a:srgbClr val="000000"/>
                </a:solidFill>
                <a:latin typeface="Corbel" panose="020B0503020204020204" pitchFamily="34" charset="0"/>
                <a:cs typeface="+mn-cs"/>
              </a:rPr>
              <a:t>kosten</a:t>
            </a:r>
            <a:r>
              <a:rPr lang="nl-NL" sz="1000" b="1" baseline="30000" dirty="0"/>
              <a:t>1</a:t>
            </a:r>
            <a:endParaRPr lang="nl-NL" sz="1000" b="1" dirty="0">
              <a:solidFill>
                <a:srgbClr val="000000"/>
              </a:solidFill>
              <a:latin typeface="Corbel" panose="020B0503020204020204" pitchFamily="34" charset="0"/>
              <a:cs typeface="+mn-cs"/>
            </a:endParaRPr>
          </a:p>
        </p:txBody>
      </p:sp>
      <p:sp>
        <p:nvSpPr>
          <p:cNvPr id="85" name="Rectangle 84">
            <a:extLst>
              <a:ext uri="{FF2B5EF4-FFF2-40B4-BE49-F238E27FC236}">
                <a16:creationId xmlns:a16="http://schemas.microsoft.com/office/drawing/2014/main" id="{860FC691-19B1-4BD3-8605-24FC7C680402}"/>
              </a:ext>
            </a:extLst>
          </p:cNvPr>
          <p:cNvSpPr/>
          <p:nvPr/>
        </p:nvSpPr>
        <p:spPr>
          <a:xfrm>
            <a:off x="4012647" y="1840181"/>
            <a:ext cx="7520541" cy="1253762"/>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lang="nl-NL" sz="1000" b="1" dirty="0">
                <a:solidFill>
                  <a:srgbClr val="000000"/>
                </a:solidFill>
                <a:latin typeface="Corbel" panose="020B0503020204020204" pitchFamily="34" charset="0"/>
                <a:cs typeface="+mn-cs"/>
              </a:rPr>
              <a:t>Reizigersopbrengsten</a:t>
            </a:r>
            <a:endParaRPr lang="nl-NL" sz="1000" dirty="0">
              <a:solidFill>
                <a:srgbClr val="000000"/>
              </a:solidFill>
              <a:latin typeface="Corbel" panose="020B0503020204020204" pitchFamily="34" charset="0"/>
              <a:cs typeface="+mn-cs"/>
            </a:endParaRPr>
          </a:p>
        </p:txBody>
      </p:sp>
      <p:graphicFrame>
        <p:nvGraphicFramePr>
          <p:cNvPr id="311" name="Chart 310">
            <a:extLst>
              <a:ext uri="{FF2B5EF4-FFF2-40B4-BE49-F238E27FC236}">
                <a16:creationId xmlns:a16="http://schemas.microsoft.com/office/drawing/2014/main" id="{B3A27F3F-C8C8-482A-B33A-A1F8D83369A3}"/>
              </a:ext>
            </a:extLst>
          </p:cNvPr>
          <p:cNvGraphicFramePr/>
          <p:nvPr>
            <p:custDataLst>
              <p:tags r:id="rId3"/>
            </p:custDataLst>
            <p:extLst>
              <p:ext uri="{D42A27DB-BD31-4B8C-83A1-F6EECF244321}">
                <p14:modId xmlns:p14="http://schemas.microsoft.com/office/powerpoint/2010/main" val="393676334"/>
              </p:ext>
            </p:extLst>
          </p:nvPr>
        </p:nvGraphicFramePr>
        <p:xfrm>
          <a:off x="3957638" y="4718050"/>
          <a:ext cx="7656512" cy="831850"/>
        </p:xfrm>
        <a:graphic>
          <a:graphicData uri="http://schemas.openxmlformats.org/drawingml/2006/chart">
            <c:chart xmlns:c="http://schemas.openxmlformats.org/drawingml/2006/chart" xmlns:r="http://schemas.openxmlformats.org/officeDocument/2006/relationships" r:id="rId53"/>
          </a:graphicData>
        </a:graphic>
      </p:graphicFrame>
      <p:sp useBgFill="1">
        <p:nvSpPr>
          <p:cNvPr id="451" name="Freeform: Shape 450">
            <a:extLst>
              <a:ext uri="{FF2B5EF4-FFF2-40B4-BE49-F238E27FC236}">
                <a16:creationId xmlns:a16="http://schemas.microsoft.com/office/drawing/2014/main" id="{B54F463A-0ED9-4D1E-AB7F-33068702F47E}"/>
              </a:ext>
            </a:extLst>
          </p:cNvPr>
          <p:cNvSpPr/>
          <p:nvPr>
            <p:custDataLst>
              <p:tags r:id="rId4"/>
            </p:custDataLst>
          </p:nvPr>
        </p:nvSpPr>
        <p:spPr bwMode="auto">
          <a:xfrm>
            <a:off x="4057650" y="5337175"/>
            <a:ext cx="179389" cy="104776"/>
          </a:xfrm>
          <a:custGeom>
            <a:avLst/>
            <a:gdLst/>
            <a:ahLst/>
            <a:cxnLst/>
            <a:rect l="0" t="0" r="0" b="0"/>
            <a:pathLst>
              <a:path w="179389" h="104776">
                <a:moveTo>
                  <a:pt x="0" y="47625"/>
                </a:moveTo>
                <a:lnTo>
                  <a:pt x="179388" y="0"/>
                </a:lnTo>
                <a:lnTo>
                  <a:pt x="179388" y="57150"/>
                </a:lnTo>
                <a:lnTo>
                  <a:pt x="0" y="104775"/>
                </a:lnTo>
                <a:close/>
              </a:path>
            </a:pathLst>
          </a:custGeom>
          <a:ln>
            <a:noFill/>
          </a:ln>
          <a:extLst>
            <a:ext uri="{91240B29-F687-4F45-9708-019B960494DF}">
              <a14:hiddenLine xmlns:a14="http://schemas.microsoft.com/office/drawing/2010/main" w="9525" cap="flat" cmpd="sng" algn="ctr">
                <a:solidFill>
                  <a:schemeClr val="accent1"/>
                </a:solidFill>
                <a:prstDash val="solid"/>
                <a:round/>
                <a:headEnd type="none" w="med" len="med"/>
                <a:tailEnd type="none" w="med" len="med"/>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3" name="Freeform: Shape 62">
            <a:extLst>
              <a:ext uri="{FF2B5EF4-FFF2-40B4-BE49-F238E27FC236}">
                <a16:creationId xmlns:a16="http://schemas.microsoft.com/office/drawing/2014/main" id="{92D7C89D-939A-4E9C-8359-FAB220D65313}"/>
              </a:ext>
            </a:extLst>
          </p:cNvPr>
          <p:cNvSpPr/>
          <p:nvPr>
            <p:custDataLst>
              <p:tags r:id="rId5"/>
            </p:custDataLst>
          </p:nvPr>
        </p:nvSpPr>
        <p:spPr bwMode="auto">
          <a:xfrm>
            <a:off x="4057650" y="5337175"/>
            <a:ext cx="179389" cy="47626"/>
          </a:xfrm>
          <a:custGeom>
            <a:avLst/>
            <a:gdLst/>
            <a:ahLst/>
            <a:cxnLst/>
            <a:rect l="0" t="0" r="0" b="0"/>
            <a:pathLst>
              <a:path w="179389" h="47626">
                <a:moveTo>
                  <a:pt x="0" y="47625"/>
                </a:moveTo>
                <a:lnTo>
                  <a:pt x="17938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450" name="Freeform: Shape 449">
            <a:extLst>
              <a:ext uri="{FF2B5EF4-FFF2-40B4-BE49-F238E27FC236}">
                <a16:creationId xmlns:a16="http://schemas.microsoft.com/office/drawing/2014/main" id="{86C45751-9F50-4504-99AB-ABF641E935C9}"/>
              </a:ext>
            </a:extLst>
          </p:cNvPr>
          <p:cNvSpPr/>
          <p:nvPr>
            <p:custDataLst>
              <p:tags r:id="rId6"/>
            </p:custDataLst>
          </p:nvPr>
        </p:nvSpPr>
        <p:spPr bwMode="auto">
          <a:xfrm>
            <a:off x="4057650" y="5394325"/>
            <a:ext cx="179389" cy="47626"/>
          </a:xfrm>
          <a:custGeom>
            <a:avLst/>
            <a:gdLst/>
            <a:ahLst/>
            <a:cxnLst/>
            <a:rect l="0" t="0" r="0" b="0"/>
            <a:pathLst>
              <a:path w="179389" h="47626">
                <a:moveTo>
                  <a:pt x="0" y="47625"/>
                </a:moveTo>
                <a:lnTo>
                  <a:pt x="179388"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201" name="Text Placeholder 5">
            <a:extLst>
              <a:ext uri="{FF2B5EF4-FFF2-40B4-BE49-F238E27FC236}">
                <a16:creationId xmlns:a16="http://schemas.microsoft.com/office/drawing/2014/main" id="{4B9982FA-94CE-476E-98B9-AED20350F85D}"/>
              </a:ext>
            </a:extLst>
          </p:cNvPr>
          <p:cNvSpPr>
            <a:spLocks noGrp="1"/>
          </p:cNvSpPr>
          <p:nvPr>
            <p:custDataLst>
              <p:tags r:id="rId7"/>
            </p:custDataLst>
          </p:nvPr>
        </p:nvSpPr>
        <p:spPr bwMode="auto">
          <a:xfrm>
            <a:off x="6015038" y="5635625"/>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BD71078-DB61-40C6-928A-27C57B1B3775}" type="datetime'''''''''''''''''3''''''''''''''''''''''''''4'''''''">
              <a:rPr lang="en-US" altLang="en-US" sz="800" b="1" smtClean="0">
                <a:solidFill>
                  <a:schemeClr val="tx1"/>
                </a:solidFill>
              </a:rPr>
              <a:pPr/>
              <a:t>34</a:t>
            </a:fld>
            <a:endParaRPr lang="en-US" sz="800" b="1" dirty="0">
              <a:solidFill>
                <a:schemeClr val="tx1"/>
              </a:solidFill>
              <a:latin typeface="+mn-lt"/>
              <a:sym typeface="+mn-lt"/>
            </a:endParaRPr>
          </a:p>
        </p:txBody>
      </p:sp>
      <p:sp>
        <p:nvSpPr>
          <p:cNvPr id="212" name="Text Placeholder 5">
            <a:extLst>
              <a:ext uri="{FF2B5EF4-FFF2-40B4-BE49-F238E27FC236}">
                <a16:creationId xmlns:a16="http://schemas.microsoft.com/office/drawing/2014/main" id="{4B9982FA-94CE-476E-98B9-AED20350F85D}"/>
              </a:ext>
            </a:extLst>
          </p:cNvPr>
          <p:cNvSpPr>
            <a:spLocks noGrp="1"/>
          </p:cNvSpPr>
          <p:nvPr>
            <p:custDataLst>
              <p:tags r:id="rId8"/>
            </p:custDataLst>
          </p:nvPr>
        </p:nvSpPr>
        <p:spPr bwMode="auto">
          <a:xfrm>
            <a:off x="8369300" y="5635625"/>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5154E2F-1B82-40CB-99A5-9905B309E576}" type="datetime'''''''''''''4''''''''''''''''''5'">
              <a:rPr lang="en-US" altLang="en-US" sz="800" b="1" smtClean="0">
                <a:solidFill>
                  <a:schemeClr val="tx1"/>
                </a:solidFill>
              </a:rPr>
              <a:pPr/>
              <a:t>45</a:t>
            </a:fld>
            <a:endParaRPr lang="en-US" sz="800" b="1" dirty="0">
              <a:solidFill>
                <a:schemeClr val="tx1"/>
              </a:solidFill>
              <a:latin typeface="+mn-lt"/>
              <a:sym typeface="+mn-lt"/>
            </a:endParaRPr>
          </a:p>
        </p:txBody>
      </p:sp>
      <p:sp>
        <p:nvSpPr>
          <p:cNvPr id="334" name="Text Placeholder 5">
            <a:extLst>
              <a:ext uri="{FF2B5EF4-FFF2-40B4-BE49-F238E27FC236}">
                <a16:creationId xmlns:a16="http://schemas.microsoft.com/office/drawing/2014/main" id="{D607B30F-D83D-4A25-8DB8-17515B2C9625}"/>
              </a:ext>
            </a:extLst>
          </p:cNvPr>
          <p:cNvSpPr>
            <a:spLocks noGrp="1"/>
          </p:cNvSpPr>
          <p:nvPr>
            <p:custDataLst>
              <p:tags r:id="rId9"/>
            </p:custDataLst>
          </p:nvPr>
        </p:nvSpPr>
        <p:spPr bwMode="auto">
          <a:xfrm>
            <a:off x="4090988"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253C428-CC0B-411B-A3C6-AA557673FB54}" type="datetime'''''2''''''''''''''''''''''''''''''''''''''''5'''">
              <a:rPr lang="en-US" altLang="en-US" sz="800" b="1" smtClean="0">
                <a:solidFill>
                  <a:schemeClr val="tx1"/>
                </a:solidFill>
              </a:rPr>
              <a:pPr/>
              <a:t>25</a:t>
            </a:fld>
            <a:endParaRPr lang="en-US" sz="800" b="1" dirty="0">
              <a:solidFill>
                <a:schemeClr val="tx1"/>
              </a:solidFill>
              <a:latin typeface="+mn-lt"/>
              <a:sym typeface="+mn-lt"/>
            </a:endParaRPr>
          </a:p>
        </p:txBody>
      </p:sp>
      <p:sp>
        <p:nvSpPr>
          <p:cNvPr id="337" name="Text Placeholder 5">
            <a:extLst>
              <a:ext uri="{FF2B5EF4-FFF2-40B4-BE49-F238E27FC236}">
                <a16:creationId xmlns:a16="http://schemas.microsoft.com/office/drawing/2014/main" id="{1A147BAF-10B2-4145-86C5-095A0F2EB2D2}"/>
              </a:ext>
            </a:extLst>
          </p:cNvPr>
          <p:cNvSpPr>
            <a:spLocks noGrp="1"/>
          </p:cNvSpPr>
          <p:nvPr>
            <p:custDataLst>
              <p:tags r:id="rId10"/>
            </p:custDataLst>
          </p:nvPr>
        </p:nvSpPr>
        <p:spPr bwMode="auto">
          <a:xfrm>
            <a:off x="4302125" y="5635625"/>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64BBDDA-3B5B-44DA-B447-73B5F146AA7D}" type="datetime'''''''''''''2''''''''''''''''''''''''''''''''''''6'''''''">
              <a:rPr lang="en-US" altLang="en-US" sz="800" b="1" smtClean="0">
                <a:solidFill>
                  <a:schemeClr val="tx1"/>
                </a:solidFill>
              </a:rPr>
              <a:pPr/>
              <a:t>26</a:t>
            </a:fld>
            <a:endParaRPr lang="en-US" sz="800" b="1" dirty="0">
              <a:solidFill>
                <a:schemeClr val="tx1"/>
              </a:solidFill>
              <a:latin typeface="+mn-lt"/>
              <a:sym typeface="+mn-lt"/>
            </a:endParaRPr>
          </a:p>
        </p:txBody>
      </p:sp>
      <p:sp>
        <p:nvSpPr>
          <p:cNvPr id="338" name="Text Placeholder 5">
            <a:extLst>
              <a:ext uri="{FF2B5EF4-FFF2-40B4-BE49-F238E27FC236}">
                <a16:creationId xmlns:a16="http://schemas.microsoft.com/office/drawing/2014/main" id="{E1145945-B038-4FB2-A148-0AD982456E9B}"/>
              </a:ext>
            </a:extLst>
          </p:cNvPr>
          <p:cNvSpPr>
            <a:spLocks noGrp="1"/>
          </p:cNvSpPr>
          <p:nvPr>
            <p:custDataLst>
              <p:tags r:id="rId11"/>
            </p:custDataLst>
          </p:nvPr>
        </p:nvSpPr>
        <p:spPr bwMode="auto">
          <a:xfrm>
            <a:off x="4518025"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2AB7602-AA68-4EDB-9A04-C1F5E58749CE}" type="datetime'2''''''''''''''7'''''''''''''''''''''''''''''''">
              <a:rPr lang="en-US" altLang="en-US" sz="800" b="1" smtClean="0">
                <a:solidFill>
                  <a:schemeClr val="tx1"/>
                </a:solidFill>
              </a:rPr>
              <a:pPr/>
              <a:t>27</a:t>
            </a:fld>
            <a:endParaRPr lang="en-US" sz="800" b="1" dirty="0">
              <a:solidFill>
                <a:schemeClr val="tx1"/>
              </a:solidFill>
              <a:latin typeface="+mn-lt"/>
              <a:sym typeface="+mn-lt"/>
            </a:endParaRPr>
          </a:p>
        </p:txBody>
      </p:sp>
      <p:sp>
        <p:nvSpPr>
          <p:cNvPr id="339" name="Text Placeholder 5">
            <a:extLst>
              <a:ext uri="{FF2B5EF4-FFF2-40B4-BE49-F238E27FC236}">
                <a16:creationId xmlns:a16="http://schemas.microsoft.com/office/drawing/2014/main" id="{BE56D920-F070-4C5D-B503-3987E6140D0A}"/>
              </a:ext>
            </a:extLst>
          </p:cNvPr>
          <p:cNvSpPr>
            <a:spLocks noGrp="1"/>
          </p:cNvSpPr>
          <p:nvPr>
            <p:custDataLst>
              <p:tags r:id="rId12"/>
            </p:custDataLst>
          </p:nvPr>
        </p:nvSpPr>
        <p:spPr bwMode="auto">
          <a:xfrm>
            <a:off x="4727575" y="5635625"/>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4C5BCF8-4313-4790-855F-2AAA6511B849}" type="datetime'''2''''''''''''''''''''''''''''''''''''''''''''''''''8'''">
              <a:rPr lang="en-US" altLang="en-US" sz="800" b="1" smtClean="0">
                <a:solidFill>
                  <a:schemeClr val="tx1"/>
                </a:solidFill>
              </a:rPr>
              <a:pPr/>
              <a:t>28</a:t>
            </a:fld>
            <a:endParaRPr lang="en-US" sz="800" b="1" dirty="0">
              <a:solidFill>
                <a:schemeClr val="tx1"/>
              </a:solidFill>
              <a:latin typeface="+mn-lt"/>
              <a:sym typeface="+mn-lt"/>
            </a:endParaRPr>
          </a:p>
        </p:txBody>
      </p:sp>
      <p:sp>
        <p:nvSpPr>
          <p:cNvPr id="197" name="Text Placeholder 5">
            <a:extLst>
              <a:ext uri="{FF2B5EF4-FFF2-40B4-BE49-F238E27FC236}">
                <a16:creationId xmlns:a16="http://schemas.microsoft.com/office/drawing/2014/main" id="{4B9982FA-94CE-476E-98B9-AED20350F85D}"/>
              </a:ext>
            </a:extLst>
          </p:cNvPr>
          <p:cNvSpPr>
            <a:spLocks noGrp="1"/>
          </p:cNvSpPr>
          <p:nvPr>
            <p:custDataLst>
              <p:tags r:id="rId13"/>
            </p:custDataLst>
          </p:nvPr>
        </p:nvSpPr>
        <p:spPr bwMode="auto">
          <a:xfrm>
            <a:off x="5159375" y="5635625"/>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190F1B4-BE71-4F13-9381-0F11FF6DF37D}" type="datetime'''''3''''''''''''''''''''''''''0'''''''''''''''''''''">
              <a:rPr lang="en-US" altLang="en-US" sz="800" b="1" smtClean="0">
                <a:solidFill>
                  <a:schemeClr val="tx1"/>
                </a:solidFill>
              </a:rPr>
              <a:pPr/>
              <a:t>30</a:t>
            </a:fld>
            <a:endParaRPr lang="en-US" sz="800" b="1" dirty="0">
              <a:solidFill>
                <a:schemeClr val="tx1"/>
              </a:solidFill>
              <a:latin typeface="+mn-lt"/>
              <a:sym typeface="+mn-lt"/>
            </a:endParaRPr>
          </a:p>
        </p:txBody>
      </p:sp>
      <p:sp>
        <p:nvSpPr>
          <p:cNvPr id="207" name="Text Placeholder 5">
            <a:extLst>
              <a:ext uri="{FF2B5EF4-FFF2-40B4-BE49-F238E27FC236}">
                <a16:creationId xmlns:a16="http://schemas.microsoft.com/office/drawing/2014/main" id="{4B9982FA-94CE-476E-98B9-AED20350F85D}"/>
              </a:ext>
            </a:extLst>
          </p:cNvPr>
          <p:cNvSpPr>
            <a:spLocks noGrp="1"/>
          </p:cNvSpPr>
          <p:nvPr>
            <p:custDataLst>
              <p:tags r:id="rId14"/>
            </p:custDataLst>
          </p:nvPr>
        </p:nvSpPr>
        <p:spPr bwMode="auto">
          <a:xfrm>
            <a:off x="7297738" y="5635625"/>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2CDB5B1C-9D74-4D6C-BC6B-1AEEEB65264F}" type="datetime'''''''''''''4''''''''''''''''''''''''''''''0'''">
              <a:rPr lang="en-US" altLang="en-US" sz="800" b="1" smtClean="0">
                <a:solidFill>
                  <a:schemeClr val="tx1"/>
                </a:solidFill>
              </a:rPr>
              <a:pPr/>
              <a:t>40</a:t>
            </a:fld>
            <a:endParaRPr lang="en-US" sz="800" b="1" dirty="0">
              <a:solidFill>
                <a:schemeClr val="tx1"/>
              </a:solidFill>
              <a:latin typeface="+mn-lt"/>
              <a:sym typeface="+mn-lt"/>
            </a:endParaRPr>
          </a:p>
        </p:txBody>
      </p:sp>
      <p:sp>
        <p:nvSpPr>
          <p:cNvPr id="204" name="Text Placeholder 5">
            <a:extLst>
              <a:ext uri="{FF2B5EF4-FFF2-40B4-BE49-F238E27FC236}">
                <a16:creationId xmlns:a16="http://schemas.microsoft.com/office/drawing/2014/main" id="{4B9982FA-94CE-476E-98B9-AED20350F85D}"/>
              </a:ext>
            </a:extLst>
          </p:cNvPr>
          <p:cNvSpPr>
            <a:spLocks noGrp="1"/>
          </p:cNvSpPr>
          <p:nvPr>
            <p:custDataLst>
              <p:tags r:id="rId15"/>
            </p:custDataLst>
          </p:nvPr>
        </p:nvSpPr>
        <p:spPr bwMode="auto">
          <a:xfrm>
            <a:off x="6659563"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7E17728-D669-40C8-9732-07FCE2ED30FC}" type="datetime'''''''''''''3''''''''''''7'''''''">
              <a:rPr lang="en-US" altLang="en-US" sz="800" b="1" smtClean="0">
                <a:solidFill>
                  <a:schemeClr val="tx1"/>
                </a:solidFill>
              </a:rPr>
              <a:pPr/>
              <a:t>37</a:t>
            </a:fld>
            <a:endParaRPr lang="en-US" sz="800" b="1" dirty="0">
              <a:solidFill>
                <a:schemeClr val="tx1"/>
              </a:solidFill>
              <a:latin typeface="+mn-lt"/>
              <a:sym typeface="+mn-lt"/>
            </a:endParaRPr>
          </a:p>
        </p:txBody>
      </p:sp>
      <p:sp>
        <p:nvSpPr>
          <p:cNvPr id="198" name="Text Placeholder 5">
            <a:extLst>
              <a:ext uri="{FF2B5EF4-FFF2-40B4-BE49-F238E27FC236}">
                <a16:creationId xmlns:a16="http://schemas.microsoft.com/office/drawing/2014/main" id="{4B9982FA-94CE-476E-98B9-AED20350F85D}"/>
              </a:ext>
            </a:extLst>
          </p:cNvPr>
          <p:cNvSpPr>
            <a:spLocks noGrp="1"/>
          </p:cNvSpPr>
          <p:nvPr>
            <p:custDataLst>
              <p:tags r:id="rId16"/>
            </p:custDataLst>
          </p:nvPr>
        </p:nvSpPr>
        <p:spPr bwMode="auto">
          <a:xfrm>
            <a:off x="5375275"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F550F52-9485-4329-8BB1-3963A9288D5C}" type="datetime'''''''''''''''''''''''''3''''''''''''1'''''''''''''''''''''">
              <a:rPr lang="en-US" altLang="en-US" sz="800" b="1" smtClean="0">
                <a:solidFill>
                  <a:schemeClr val="tx1"/>
                </a:solidFill>
              </a:rPr>
              <a:pPr/>
              <a:t>31</a:t>
            </a:fld>
            <a:endParaRPr lang="en-US" sz="800" b="1" dirty="0">
              <a:solidFill>
                <a:schemeClr val="tx1"/>
              </a:solidFill>
              <a:latin typeface="+mn-lt"/>
              <a:sym typeface="+mn-lt"/>
            </a:endParaRPr>
          </a:p>
        </p:txBody>
      </p:sp>
      <p:sp>
        <p:nvSpPr>
          <p:cNvPr id="199" name="Text Placeholder 5">
            <a:extLst>
              <a:ext uri="{FF2B5EF4-FFF2-40B4-BE49-F238E27FC236}">
                <a16:creationId xmlns:a16="http://schemas.microsoft.com/office/drawing/2014/main" id="{4B9982FA-94CE-476E-98B9-AED20350F85D}"/>
              </a:ext>
            </a:extLst>
          </p:cNvPr>
          <p:cNvSpPr>
            <a:spLocks noGrp="1"/>
          </p:cNvSpPr>
          <p:nvPr>
            <p:custDataLst>
              <p:tags r:id="rId17"/>
            </p:custDataLst>
          </p:nvPr>
        </p:nvSpPr>
        <p:spPr bwMode="auto">
          <a:xfrm>
            <a:off x="5589588"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C47BD83-4C1B-4C2E-91C9-F58DFCE5E8A4}" type="datetime'''''3''''''''''''''''2'''">
              <a:rPr lang="en-US" altLang="en-US" sz="800" b="1" smtClean="0">
                <a:solidFill>
                  <a:schemeClr val="tx1"/>
                </a:solidFill>
              </a:rPr>
              <a:pPr/>
              <a:t>32</a:t>
            </a:fld>
            <a:endParaRPr lang="en-US" sz="800" b="1" dirty="0">
              <a:solidFill>
                <a:schemeClr val="tx1"/>
              </a:solidFill>
              <a:latin typeface="+mn-lt"/>
              <a:sym typeface="+mn-lt"/>
            </a:endParaRPr>
          </a:p>
        </p:txBody>
      </p:sp>
      <p:sp>
        <p:nvSpPr>
          <p:cNvPr id="219" name="Text Placeholder 5">
            <a:extLst>
              <a:ext uri="{FF2B5EF4-FFF2-40B4-BE49-F238E27FC236}">
                <a16:creationId xmlns:a16="http://schemas.microsoft.com/office/drawing/2014/main" id="{4B9982FA-94CE-476E-98B9-AED20350F85D}"/>
              </a:ext>
            </a:extLst>
          </p:cNvPr>
          <p:cNvSpPr>
            <a:spLocks noGrp="1"/>
          </p:cNvSpPr>
          <p:nvPr>
            <p:custDataLst>
              <p:tags r:id="rId18"/>
            </p:custDataLst>
          </p:nvPr>
        </p:nvSpPr>
        <p:spPr bwMode="auto">
          <a:xfrm>
            <a:off x="9869488"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737C6F2-BDB4-49B8-BCB3-009C3471B500}" type="datetime'''''''5''''''''''2'''''''''''''''''''''''''''''''''''''''''">
              <a:rPr lang="en-US" altLang="en-US" sz="800" b="1" smtClean="0">
                <a:solidFill>
                  <a:schemeClr val="tx1"/>
                </a:solidFill>
              </a:rPr>
              <a:pPr/>
              <a:t>52</a:t>
            </a:fld>
            <a:endParaRPr lang="en-US" sz="800" b="1" dirty="0">
              <a:solidFill>
                <a:schemeClr val="tx1"/>
              </a:solidFill>
              <a:latin typeface="+mn-lt"/>
              <a:sym typeface="+mn-lt"/>
            </a:endParaRPr>
          </a:p>
        </p:txBody>
      </p:sp>
      <p:sp>
        <p:nvSpPr>
          <p:cNvPr id="200" name="Text Placeholder 5">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5802313"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2057C60-7C7D-4DE3-8FB9-7BB933967ABB}" type="datetime'''''''''''33'''''''''''''''''''''">
              <a:rPr lang="en-US" altLang="en-US" sz="800" b="1" smtClean="0">
                <a:solidFill>
                  <a:schemeClr val="tx1"/>
                </a:solidFill>
              </a:rPr>
              <a:pPr/>
              <a:t>33</a:t>
            </a:fld>
            <a:endParaRPr lang="en-US" sz="800" b="1" dirty="0">
              <a:solidFill>
                <a:schemeClr val="tx1"/>
              </a:solidFill>
              <a:latin typeface="+mn-lt"/>
              <a:sym typeface="+mn-lt"/>
            </a:endParaRPr>
          </a:p>
        </p:txBody>
      </p:sp>
      <p:sp>
        <p:nvSpPr>
          <p:cNvPr id="202" name="Text Placeholder 5">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6230938"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674FDA4-DEBB-4833-8FE0-37553C499DF0}" type="datetime'''''''''''''''''''''''''3''''''5'''''''''">
              <a:rPr lang="en-US" altLang="en-US" sz="800" b="1" smtClean="0">
                <a:solidFill>
                  <a:schemeClr val="tx1"/>
                </a:solidFill>
              </a:rPr>
              <a:pPr/>
              <a:t>35</a:t>
            </a:fld>
            <a:endParaRPr lang="en-US" sz="800" b="1" dirty="0">
              <a:solidFill>
                <a:schemeClr val="tx1"/>
              </a:solidFill>
              <a:latin typeface="+mn-lt"/>
              <a:sym typeface="+mn-lt"/>
            </a:endParaRPr>
          </a:p>
        </p:txBody>
      </p:sp>
      <p:sp>
        <p:nvSpPr>
          <p:cNvPr id="203" name="Text Placeholder 5">
            <a:extLst>
              <a:ext uri="{FF2B5EF4-FFF2-40B4-BE49-F238E27FC236}">
                <a16:creationId xmlns:a16="http://schemas.microsoft.com/office/drawing/2014/main" id="{4B9982FA-94CE-476E-98B9-AED20350F85D}"/>
              </a:ext>
            </a:extLst>
          </p:cNvPr>
          <p:cNvSpPr>
            <a:spLocks noGrp="1"/>
          </p:cNvSpPr>
          <p:nvPr>
            <p:custDataLst>
              <p:tags r:id="rId21"/>
            </p:custDataLst>
          </p:nvPr>
        </p:nvSpPr>
        <p:spPr bwMode="auto">
          <a:xfrm>
            <a:off x="6442075"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2655D9D-466A-4999-BF50-D4FC8C02F52F}" type="datetime'''''''''''3''''''''''''''''6'''''''''''''''''''''''''''''''">
              <a:rPr lang="en-US" altLang="en-US" sz="800" b="1" smtClean="0">
                <a:solidFill>
                  <a:schemeClr val="tx1"/>
                </a:solidFill>
              </a:rPr>
              <a:pPr/>
              <a:t>36</a:t>
            </a:fld>
            <a:endParaRPr lang="en-US" sz="800" b="1" dirty="0">
              <a:solidFill>
                <a:schemeClr val="tx1"/>
              </a:solidFill>
              <a:latin typeface="+mn-lt"/>
              <a:sym typeface="+mn-lt"/>
            </a:endParaRPr>
          </a:p>
        </p:txBody>
      </p:sp>
      <p:sp>
        <p:nvSpPr>
          <p:cNvPr id="226" name="Text Placeholder 5">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11364913"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FC562F5-B928-4745-9A7B-16B8FECE7E77}" type="datetime'''''''''''''''''''''''''''''''''5''''''''9'''''">
              <a:rPr lang="en-US" altLang="en-US" sz="800" b="1" smtClean="0">
                <a:solidFill>
                  <a:schemeClr val="tx1"/>
                </a:solidFill>
              </a:rPr>
              <a:pPr/>
              <a:t>59</a:t>
            </a:fld>
            <a:endParaRPr lang="en-US" sz="800" b="1" dirty="0">
              <a:solidFill>
                <a:schemeClr val="tx1"/>
              </a:solidFill>
              <a:latin typeface="+mn-lt"/>
              <a:sym typeface="+mn-lt"/>
            </a:endParaRPr>
          </a:p>
        </p:txBody>
      </p:sp>
      <p:sp>
        <p:nvSpPr>
          <p:cNvPr id="196" name="Text Placeholder 5">
            <a:extLst>
              <a:ext uri="{FF2B5EF4-FFF2-40B4-BE49-F238E27FC236}">
                <a16:creationId xmlns:a16="http://schemas.microsoft.com/office/drawing/2014/main" id="{4B9982FA-94CE-476E-98B9-AED20350F85D}"/>
              </a:ext>
            </a:extLst>
          </p:cNvPr>
          <p:cNvSpPr>
            <a:spLocks noGrp="1"/>
          </p:cNvSpPr>
          <p:nvPr>
            <p:custDataLst>
              <p:tags r:id="rId23"/>
            </p:custDataLst>
          </p:nvPr>
        </p:nvSpPr>
        <p:spPr bwMode="auto">
          <a:xfrm>
            <a:off x="4943475" y="5635625"/>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4039497-A54E-4239-AFCD-7BCC39EF1BAA}" type="datetime'''''''''''''''''2''''''''9'">
              <a:rPr lang="en-US" altLang="en-US" sz="800" b="1" smtClean="0">
                <a:solidFill>
                  <a:schemeClr val="tx1"/>
                </a:solidFill>
              </a:rPr>
              <a:pPr/>
              <a:t>29</a:t>
            </a:fld>
            <a:endParaRPr lang="en-US" sz="800" b="1" dirty="0">
              <a:solidFill>
                <a:schemeClr val="tx1"/>
              </a:solidFill>
              <a:latin typeface="+mn-lt"/>
              <a:sym typeface="+mn-lt"/>
            </a:endParaRPr>
          </a:p>
        </p:txBody>
      </p:sp>
      <p:sp>
        <p:nvSpPr>
          <p:cNvPr id="206" name="Text Placeholder 5">
            <a:extLst>
              <a:ext uri="{FF2B5EF4-FFF2-40B4-BE49-F238E27FC236}">
                <a16:creationId xmlns:a16="http://schemas.microsoft.com/office/drawing/2014/main" id="{4B9982FA-94CE-476E-98B9-AED20350F85D}"/>
              </a:ext>
            </a:extLst>
          </p:cNvPr>
          <p:cNvSpPr>
            <a:spLocks noGrp="1"/>
          </p:cNvSpPr>
          <p:nvPr>
            <p:custDataLst>
              <p:tags r:id="rId24"/>
            </p:custDataLst>
          </p:nvPr>
        </p:nvSpPr>
        <p:spPr bwMode="auto">
          <a:xfrm>
            <a:off x="7083425"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BA059F7-8F2C-4771-8FFF-E9B81618D7F0}" type="datetime'''''''''''''''''''''''''''''''''''''''3''''9'''''''''''''''''">
              <a:rPr lang="en-US" altLang="en-US" sz="800" b="1" smtClean="0">
                <a:solidFill>
                  <a:schemeClr val="tx1"/>
                </a:solidFill>
              </a:rPr>
              <a:pPr/>
              <a:t>39</a:t>
            </a:fld>
            <a:endParaRPr lang="en-US" sz="800" b="1" dirty="0">
              <a:solidFill>
                <a:schemeClr val="tx1"/>
              </a:solidFill>
              <a:latin typeface="+mn-lt"/>
              <a:sym typeface="+mn-lt"/>
            </a:endParaRPr>
          </a:p>
        </p:txBody>
      </p:sp>
      <p:sp>
        <p:nvSpPr>
          <p:cNvPr id="208" name="Text Placeholder 5">
            <a:extLst>
              <a:ext uri="{FF2B5EF4-FFF2-40B4-BE49-F238E27FC236}">
                <a16:creationId xmlns:a16="http://schemas.microsoft.com/office/drawing/2014/main" id="{4B9982FA-94CE-476E-98B9-AED20350F85D}"/>
              </a:ext>
            </a:extLst>
          </p:cNvPr>
          <p:cNvSpPr>
            <a:spLocks noGrp="1"/>
          </p:cNvSpPr>
          <p:nvPr>
            <p:custDataLst>
              <p:tags r:id="rId25"/>
            </p:custDataLst>
          </p:nvPr>
        </p:nvSpPr>
        <p:spPr bwMode="auto">
          <a:xfrm>
            <a:off x="7512050"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EB1CB18-4056-446B-B32D-38CCF5722247}" type="datetime'''4''''''''''''''''''''''''''''''''''''''''1'''''''''''''''">
              <a:rPr lang="en-US" altLang="en-US" sz="800" b="1" smtClean="0">
                <a:solidFill>
                  <a:schemeClr val="tx1"/>
                </a:solidFill>
              </a:rPr>
              <a:pPr/>
              <a:t>41</a:t>
            </a:fld>
            <a:endParaRPr lang="en-US" sz="800" b="1" dirty="0">
              <a:solidFill>
                <a:schemeClr val="tx1"/>
              </a:solidFill>
              <a:latin typeface="+mn-lt"/>
              <a:sym typeface="+mn-lt"/>
            </a:endParaRPr>
          </a:p>
        </p:txBody>
      </p:sp>
      <p:sp>
        <p:nvSpPr>
          <p:cNvPr id="209" name="Text Placeholder 5">
            <a:extLst>
              <a:ext uri="{FF2B5EF4-FFF2-40B4-BE49-F238E27FC236}">
                <a16:creationId xmlns:a16="http://schemas.microsoft.com/office/drawing/2014/main" id="{4B9982FA-94CE-476E-98B9-AED20350F85D}"/>
              </a:ext>
            </a:extLst>
          </p:cNvPr>
          <p:cNvSpPr>
            <a:spLocks noGrp="1"/>
          </p:cNvSpPr>
          <p:nvPr>
            <p:custDataLst>
              <p:tags r:id="rId26"/>
            </p:custDataLst>
          </p:nvPr>
        </p:nvSpPr>
        <p:spPr bwMode="auto">
          <a:xfrm>
            <a:off x="7726363"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605A754-05A4-4D98-8807-0996A8A8BA37}" type="datetime'''''''''''''''''''''4''''''''''''''2'''''''''''''">
              <a:rPr lang="en-US" altLang="en-US" sz="800" b="1" smtClean="0">
                <a:solidFill>
                  <a:schemeClr val="tx1"/>
                </a:solidFill>
              </a:rPr>
              <a:pPr/>
              <a:t>42</a:t>
            </a:fld>
            <a:endParaRPr lang="en-US" sz="800" b="1" dirty="0">
              <a:solidFill>
                <a:schemeClr val="tx1"/>
              </a:solidFill>
              <a:latin typeface="+mn-lt"/>
              <a:sym typeface="+mn-lt"/>
            </a:endParaRPr>
          </a:p>
        </p:txBody>
      </p:sp>
      <p:sp>
        <p:nvSpPr>
          <p:cNvPr id="210" name="Text Placeholder 5">
            <a:extLst>
              <a:ext uri="{FF2B5EF4-FFF2-40B4-BE49-F238E27FC236}">
                <a16:creationId xmlns:a16="http://schemas.microsoft.com/office/drawing/2014/main" id="{4B9982FA-94CE-476E-98B9-AED20350F85D}"/>
              </a:ext>
            </a:extLst>
          </p:cNvPr>
          <p:cNvSpPr>
            <a:spLocks noGrp="1"/>
          </p:cNvSpPr>
          <p:nvPr>
            <p:custDataLst>
              <p:tags r:id="rId27"/>
            </p:custDataLst>
          </p:nvPr>
        </p:nvSpPr>
        <p:spPr bwMode="auto">
          <a:xfrm>
            <a:off x="7942263" y="5635625"/>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5E41AF1-8A8A-497E-B1CC-DE5795E522CA}" type="datetime'''''''''''''''''4''''''''''''''''''3'''''''''''''''''''''">
              <a:rPr lang="en-US" altLang="en-US" sz="800" b="1" smtClean="0">
                <a:solidFill>
                  <a:schemeClr val="tx1"/>
                </a:solidFill>
              </a:rPr>
              <a:pPr/>
              <a:t>43</a:t>
            </a:fld>
            <a:endParaRPr lang="en-US" sz="800" b="1" dirty="0">
              <a:solidFill>
                <a:schemeClr val="tx1"/>
              </a:solidFill>
              <a:latin typeface="+mn-lt"/>
              <a:sym typeface="+mn-lt"/>
            </a:endParaRPr>
          </a:p>
        </p:txBody>
      </p:sp>
      <p:sp>
        <p:nvSpPr>
          <p:cNvPr id="217" name="Text Placeholder 5">
            <a:extLst>
              <a:ext uri="{FF2B5EF4-FFF2-40B4-BE49-F238E27FC236}">
                <a16:creationId xmlns:a16="http://schemas.microsoft.com/office/drawing/2014/main" id="{4B9982FA-94CE-476E-98B9-AED20350F85D}"/>
              </a:ext>
            </a:extLst>
          </p:cNvPr>
          <p:cNvSpPr>
            <a:spLocks noGrp="1"/>
          </p:cNvSpPr>
          <p:nvPr>
            <p:custDataLst>
              <p:tags r:id="rId28"/>
            </p:custDataLst>
          </p:nvPr>
        </p:nvSpPr>
        <p:spPr bwMode="auto">
          <a:xfrm>
            <a:off x="9440863" y="5635625"/>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8D11DD3-95CC-44C6-9864-48E4154D7458}" type="datetime'''''''''''''5''''''''''''''''''''''''0'">
              <a:rPr lang="en-US" altLang="en-US" sz="800" b="1" smtClean="0">
                <a:solidFill>
                  <a:schemeClr val="tx1"/>
                </a:solidFill>
              </a:rPr>
              <a:pPr/>
              <a:t>50</a:t>
            </a:fld>
            <a:endParaRPr lang="en-US" sz="800" b="1" dirty="0">
              <a:solidFill>
                <a:schemeClr val="tx1"/>
              </a:solidFill>
              <a:latin typeface="+mn-lt"/>
              <a:sym typeface="+mn-lt"/>
            </a:endParaRPr>
          </a:p>
        </p:txBody>
      </p:sp>
      <p:sp>
        <p:nvSpPr>
          <p:cNvPr id="211" name="Text Placeholder 5">
            <a:extLst>
              <a:ext uri="{FF2B5EF4-FFF2-40B4-BE49-F238E27FC236}">
                <a16:creationId xmlns:a16="http://schemas.microsoft.com/office/drawing/2014/main" id="{4B9982FA-94CE-476E-98B9-AED20350F85D}"/>
              </a:ext>
            </a:extLst>
          </p:cNvPr>
          <p:cNvSpPr>
            <a:spLocks noGrp="1"/>
          </p:cNvSpPr>
          <p:nvPr>
            <p:custDataLst>
              <p:tags r:id="rId29"/>
            </p:custDataLst>
          </p:nvPr>
        </p:nvSpPr>
        <p:spPr bwMode="auto">
          <a:xfrm>
            <a:off x="8153400" y="5635625"/>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A813AE2-35A8-4CE9-95D4-E748D3C6FC87}" type="datetime'''''''''''''''''''''''''''''4''''''''''4'''''''''''''''''''''">
              <a:rPr lang="en-US" altLang="en-US" sz="800" b="1" smtClean="0">
                <a:solidFill>
                  <a:schemeClr val="tx1"/>
                </a:solidFill>
              </a:rPr>
              <a:pPr/>
              <a:t>44</a:t>
            </a:fld>
            <a:endParaRPr lang="en-US" sz="800" b="1" dirty="0">
              <a:solidFill>
                <a:schemeClr val="tx1"/>
              </a:solidFill>
              <a:latin typeface="+mn-lt"/>
              <a:sym typeface="+mn-lt"/>
            </a:endParaRPr>
          </a:p>
        </p:txBody>
      </p:sp>
      <p:sp>
        <p:nvSpPr>
          <p:cNvPr id="213" name="Text Placeholder 5">
            <a:extLst>
              <a:ext uri="{FF2B5EF4-FFF2-40B4-BE49-F238E27FC236}">
                <a16:creationId xmlns:a16="http://schemas.microsoft.com/office/drawing/2014/main" id="{4B9982FA-94CE-476E-98B9-AED20350F85D}"/>
              </a:ext>
            </a:extLst>
          </p:cNvPr>
          <p:cNvSpPr>
            <a:spLocks noGrp="1"/>
          </p:cNvSpPr>
          <p:nvPr>
            <p:custDataLst>
              <p:tags r:id="rId30"/>
            </p:custDataLst>
          </p:nvPr>
        </p:nvSpPr>
        <p:spPr bwMode="auto">
          <a:xfrm>
            <a:off x="8580438" y="5635625"/>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D43BF9A-E6F9-42AE-BD8F-AE70A10FB7B6}" type="datetime'''''''''''''''4''''''''''''''''''''''''''''6'''''">
              <a:rPr lang="en-US" altLang="en-US" sz="800" b="1" smtClean="0">
                <a:solidFill>
                  <a:schemeClr val="tx1"/>
                </a:solidFill>
              </a:rPr>
              <a:pPr/>
              <a:t>46</a:t>
            </a:fld>
            <a:endParaRPr lang="en-US" sz="800" b="1" dirty="0">
              <a:solidFill>
                <a:schemeClr val="tx1"/>
              </a:solidFill>
              <a:latin typeface="+mn-lt"/>
              <a:sym typeface="+mn-lt"/>
            </a:endParaRPr>
          </a:p>
        </p:txBody>
      </p:sp>
      <p:sp>
        <p:nvSpPr>
          <p:cNvPr id="218" name="Text Placeholder 5">
            <a:extLst>
              <a:ext uri="{FF2B5EF4-FFF2-40B4-BE49-F238E27FC236}">
                <a16:creationId xmlns:a16="http://schemas.microsoft.com/office/drawing/2014/main" id="{4B9982FA-94CE-476E-98B9-AED20350F85D}"/>
              </a:ext>
            </a:extLst>
          </p:cNvPr>
          <p:cNvSpPr>
            <a:spLocks noGrp="1"/>
          </p:cNvSpPr>
          <p:nvPr>
            <p:custDataLst>
              <p:tags r:id="rId31"/>
            </p:custDataLst>
          </p:nvPr>
        </p:nvSpPr>
        <p:spPr bwMode="auto">
          <a:xfrm>
            <a:off x="9655175" y="5635625"/>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6A6FC2C-055B-4F39-BCCA-E401048C2B7C}" type="datetime'5''''''''''''''''''''''''''''''''''''''''''''''''''''1'">
              <a:rPr lang="en-US" altLang="en-US" sz="800" b="1" smtClean="0">
                <a:solidFill>
                  <a:schemeClr val="tx1"/>
                </a:solidFill>
              </a:rPr>
              <a:pPr/>
              <a:t>51</a:t>
            </a:fld>
            <a:endParaRPr lang="en-US" sz="800" b="1" dirty="0">
              <a:solidFill>
                <a:schemeClr val="tx1"/>
              </a:solidFill>
              <a:latin typeface="+mn-lt"/>
              <a:sym typeface="+mn-lt"/>
            </a:endParaRPr>
          </a:p>
        </p:txBody>
      </p:sp>
      <p:sp>
        <p:nvSpPr>
          <p:cNvPr id="214" name="Text Placeholder 5">
            <a:extLst>
              <a:ext uri="{FF2B5EF4-FFF2-40B4-BE49-F238E27FC236}">
                <a16:creationId xmlns:a16="http://schemas.microsoft.com/office/drawing/2014/main" id="{4B9982FA-94CE-476E-98B9-AED20350F85D}"/>
              </a:ext>
            </a:extLst>
          </p:cNvPr>
          <p:cNvSpPr>
            <a:spLocks noGrp="1"/>
          </p:cNvSpPr>
          <p:nvPr>
            <p:custDataLst>
              <p:tags r:id="rId32"/>
            </p:custDataLst>
          </p:nvPr>
        </p:nvSpPr>
        <p:spPr bwMode="auto">
          <a:xfrm>
            <a:off x="8797925" y="5635625"/>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FBFB394-5F0D-41C2-B8C0-48525A21C8F7}" type="datetime'''''4''''''''''''''''''''''''''''''''7'''''''''">
              <a:rPr lang="en-US" altLang="en-US" sz="800" b="1" smtClean="0">
                <a:solidFill>
                  <a:schemeClr val="tx1"/>
                </a:solidFill>
              </a:rPr>
              <a:pPr/>
              <a:t>47</a:t>
            </a:fld>
            <a:endParaRPr lang="en-US" sz="800" b="1" dirty="0">
              <a:solidFill>
                <a:schemeClr val="tx1"/>
              </a:solidFill>
              <a:latin typeface="+mn-lt"/>
              <a:sym typeface="+mn-lt"/>
            </a:endParaRPr>
          </a:p>
        </p:txBody>
      </p:sp>
      <p:sp>
        <p:nvSpPr>
          <p:cNvPr id="225" name="Text Placeholder 5">
            <a:extLst>
              <a:ext uri="{FF2B5EF4-FFF2-40B4-BE49-F238E27FC236}">
                <a16:creationId xmlns:a16="http://schemas.microsoft.com/office/drawing/2014/main" id="{4B9982FA-94CE-476E-98B9-AED20350F85D}"/>
              </a:ext>
            </a:extLst>
          </p:cNvPr>
          <p:cNvSpPr>
            <a:spLocks noGrp="1"/>
          </p:cNvSpPr>
          <p:nvPr>
            <p:custDataLst>
              <p:tags r:id="rId33"/>
            </p:custDataLst>
          </p:nvPr>
        </p:nvSpPr>
        <p:spPr bwMode="auto">
          <a:xfrm>
            <a:off x="11150600" y="5635625"/>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CED8029-8C30-4EAC-9DDA-9E71A107F7BA}" type="datetime'''''''''''''''''5''''''8'''''''''''''''''''">
              <a:rPr lang="en-US" altLang="en-US" sz="800" b="1" smtClean="0">
                <a:solidFill>
                  <a:schemeClr val="tx1"/>
                </a:solidFill>
              </a:rPr>
              <a:pPr/>
              <a:t>58</a:t>
            </a:fld>
            <a:endParaRPr lang="en-US" sz="800" b="1" dirty="0">
              <a:solidFill>
                <a:schemeClr val="tx1"/>
              </a:solidFill>
              <a:latin typeface="+mn-lt"/>
              <a:sym typeface="+mn-lt"/>
            </a:endParaRPr>
          </a:p>
        </p:txBody>
      </p:sp>
      <p:sp>
        <p:nvSpPr>
          <p:cNvPr id="215" name="Text Placeholder 5">
            <a:extLst>
              <a:ext uri="{FF2B5EF4-FFF2-40B4-BE49-F238E27FC236}">
                <a16:creationId xmlns:a16="http://schemas.microsoft.com/office/drawing/2014/main" id="{4B9982FA-94CE-476E-98B9-AED20350F85D}"/>
              </a:ext>
            </a:extLst>
          </p:cNvPr>
          <p:cNvSpPr>
            <a:spLocks noGrp="1"/>
          </p:cNvSpPr>
          <p:nvPr>
            <p:custDataLst>
              <p:tags r:id="rId34"/>
            </p:custDataLst>
          </p:nvPr>
        </p:nvSpPr>
        <p:spPr bwMode="auto">
          <a:xfrm>
            <a:off x="9007475" y="5635625"/>
            <a:ext cx="1238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44FFF2D-EFD0-49A0-98C1-5FDA605764A2}" type="datetime'''48'''''''''''''''''''''''''''''''''''''''''''''''">
              <a:rPr lang="en-US" altLang="en-US" sz="800" b="1" smtClean="0">
                <a:solidFill>
                  <a:schemeClr val="tx1"/>
                </a:solidFill>
              </a:rPr>
              <a:pPr/>
              <a:t>48</a:t>
            </a:fld>
            <a:endParaRPr lang="en-US" sz="800" b="1" dirty="0">
              <a:solidFill>
                <a:schemeClr val="tx1"/>
              </a:solidFill>
              <a:latin typeface="+mn-lt"/>
              <a:sym typeface="+mn-lt"/>
            </a:endParaRPr>
          </a:p>
        </p:txBody>
      </p:sp>
      <p:sp>
        <p:nvSpPr>
          <p:cNvPr id="216" name="Text Placeholder 5">
            <a:extLst>
              <a:ext uri="{FF2B5EF4-FFF2-40B4-BE49-F238E27FC236}">
                <a16:creationId xmlns:a16="http://schemas.microsoft.com/office/drawing/2014/main" id="{4B9982FA-94CE-476E-98B9-AED20350F85D}"/>
              </a:ext>
            </a:extLst>
          </p:cNvPr>
          <p:cNvSpPr>
            <a:spLocks noGrp="1"/>
          </p:cNvSpPr>
          <p:nvPr>
            <p:custDataLst>
              <p:tags r:id="rId35"/>
            </p:custDataLst>
          </p:nvPr>
        </p:nvSpPr>
        <p:spPr bwMode="auto">
          <a:xfrm>
            <a:off x="9223375" y="5635625"/>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1F7E0C6-C34A-4907-BDD1-FE644CA9A6CE}" type="datetime'''''''''''''''''''''''''''4''''''''''''''''9'''''''''''''''">
              <a:rPr lang="en-US" altLang="en-US" sz="800" b="1" smtClean="0">
                <a:solidFill>
                  <a:schemeClr val="tx1"/>
                </a:solidFill>
              </a:rPr>
              <a:pPr/>
              <a:t>49</a:t>
            </a:fld>
            <a:endParaRPr lang="en-US" sz="800" b="1" dirty="0">
              <a:solidFill>
                <a:schemeClr val="tx1"/>
              </a:solidFill>
              <a:latin typeface="+mn-lt"/>
              <a:sym typeface="+mn-lt"/>
            </a:endParaRPr>
          </a:p>
        </p:txBody>
      </p:sp>
      <p:sp>
        <p:nvSpPr>
          <p:cNvPr id="221" name="Text Placeholder 5">
            <a:extLst>
              <a:ext uri="{FF2B5EF4-FFF2-40B4-BE49-F238E27FC236}">
                <a16:creationId xmlns:a16="http://schemas.microsoft.com/office/drawing/2014/main" id="{4B9982FA-94CE-476E-98B9-AED20350F85D}"/>
              </a:ext>
            </a:extLst>
          </p:cNvPr>
          <p:cNvSpPr>
            <a:spLocks noGrp="1"/>
          </p:cNvSpPr>
          <p:nvPr>
            <p:custDataLst>
              <p:tags r:id="rId36"/>
            </p:custDataLst>
          </p:nvPr>
        </p:nvSpPr>
        <p:spPr bwMode="auto">
          <a:xfrm>
            <a:off x="10296525" y="5635625"/>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AE87B7C-730C-4FC9-A70D-484078E506FD}" type="datetime'''''''''''''''5''''''''''''''''''''''''''''''''''''''4'''''">
              <a:rPr lang="en-US" altLang="en-US" sz="800" b="1" smtClean="0">
                <a:solidFill>
                  <a:schemeClr val="tx1"/>
                </a:solidFill>
              </a:rPr>
              <a:pPr/>
              <a:t>54</a:t>
            </a:fld>
            <a:endParaRPr lang="en-US" sz="800" b="1" dirty="0">
              <a:solidFill>
                <a:schemeClr val="tx1"/>
              </a:solidFill>
              <a:latin typeface="+mn-lt"/>
              <a:sym typeface="+mn-lt"/>
            </a:endParaRPr>
          </a:p>
        </p:txBody>
      </p:sp>
      <p:sp>
        <p:nvSpPr>
          <p:cNvPr id="220" name="Text Placeholder 5">
            <a:extLst>
              <a:ext uri="{FF2B5EF4-FFF2-40B4-BE49-F238E27FC236}">
                <a16:creationId xmlns:a16="http://schemas.microsoft.com/office/drawing/2014/main" id="{4B9982FA-94CE-476E-98B9-AED20350F85D}"/>
              </a:ext>
            </a:extLst>
          </p:cNvPr>
          <p:cNvSpPr>
            <a:spLocks noGrp="1"/>
          </p:cNvSpPr>
          <p:nvPr>
            <p:custDataLst>
              <p:tags r:id="rId37"/>
            </p:custDataLst>
          </p:nvPr>
        </p:nvSpPr>
        <p:spPr bwMode="auto">
          <a:xfrm>
            <a:off x="10083800"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18C37DE-97F2-4C5F-B2F5-D3436AA93A2A}" type="datetime'''''''''''''''''''''''5''''''''''''''''''''''''''''''''3'''''">
              <a:rPr lang="en-US" altLang="en-US" sz="800" b="1" smtClean="0">
                <a:solidFill>
                  <a:schemeClr val="tx1"/>
                </a:solidFill>
              </a:rPr>
              <a:pPr/>
              <a:t>53</a:t>
            </a:fld>
            <a:endParaRPr lang="en-US" sz="800" b="1" dirty="0">
              <a:solidFill>
                <a:schemeClr val="tx1"/>
              </a:solidFill>
              <a:latin typeface="+mn-lt"/>
              <a:sym typeface="+mn-lt"/>
            </a:endParaRPr>
          </a:p>
        </p:txBody>
      </p:sp>
      <p:sp>
        <p:nvSpPr>
          <p:cNvPr id="222" name="Text Placeholder 5">
            <a:extLst>
              <a:ext uri="{FF2B5EF4-FFF2-40B4-BE49-F238E27FC236}">
                <a16:creationId xmlns:a16="http://schemas.microsoft.com/office/drawing/2014/main" id="{4B9982FA-94CE-476E-98B9-AED20350F85D}"/>
              </a:ext>
            </a:extLst>
          </p:cNvPr>
          <p:cNvSpPr>
            <a:spLocks noGrp="1"/>
          </p:cNvSpPr>
          <p:nvPr>
            <p:custDataLst>
              <p:tags r:id="rId38"/>
            </p:custDataLst>
          </p:nvPr>
        </p:nvSpPr>
        <p:spPr bwMode="auto">
          <a:xfrm>
            <a:off x="10512425"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84EA265-F518-4E58-9783-2E3541505D80}" type="datetime'''''''''''''''''''''''5''5'''''''''''''''''''''''''">
              <a:rPr lang="en-US" altLang="en-US" sz="800" b="1" smtClean="0">
                <a:solidFill>
                  <a:schemeClr val="tx1"/>
                </a:solidFill>
              </a:rPr>
              <a:pPr/>
              <a:t>55</a:t>
            </a:fld>
            <a:endParaRPr lang="en-US" sz="800" b="1" dirty="0">
              <a:solidFill>
                <a:schemeClr val="tx1"/>
              </a:solidFill>
              <a:latin typeface="+mn-lt"/>
              <a:sym typeface="+mn-lt"/>
            </a:endParaRPr>
          </a:p>
        </p:txBody>
      </p:sp>
      <p:sp>
        <p:nvSpPr>
          <p:cNvPr id="223" name="Text Placeholder 5">
            <a:extLst>
              <a:ext uri="{FF2B5EF4-FFF2-40B4-BE49-F238E27FC236}">
                <a16:creationId xmlns:a16="http://schemas.microsoft.com/office/drawing/2014/main" id="{4B9982FA-94CE-476E-98B9-AED20350F85D}"/>
              </a:ext>
            </a:extLst>
          </p:cNvPr>
          <p:cNvSpPr>
            <a:spLocks noGrp="1"/>
          </p:cNvSpPr>
          <p:nvPr>
            <p:custDataLst>
              <p:tags r:id="rId39"/>
            </p:custDataLst>
          </p:nvPr>
        </p:nvSpPr>
        <p:spPr bwMode="auto">
          <a:xfrm>
            <a:off x="10723563" y="5635625"/>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75E6A81-17C4-4D46-A4BF-73EB337C1225}" type="datetime'''''''''''''''5''''6'''''''''''''''''''''''''''''''''''''''''">
              <a:rPr lang="en-US" altLang="en-US" sz="800" b="1" smtClean="0">
                <a:solidFill>
                  <a:schemeClr val="tx1"/>
                </a:solidFill>
              </a:rPr>
              <a:pPr/>
              <a:t>56</a:t>
            </a:fld>
            <a:endParaRPr lang="en-US" sz="800" b="1" dirty="0">
              <a:solidFill>
                <a:schemeClr val="tx1"/>
              </a:solidFill>
              <a:latin typeface="+mn-lt"/>
              <a:sym typeface="+mn-lt"/>
            </a:endParaRPr>
          </a:p>
        </p:txBody>
      </p:sp>
      <p:sp>
        <p:nvSpPr>
          <p:cNvPr id="224" name="Text Placeholder 5">
            <a:extLst>
              <a:ext uri="{FF2B5EF4-FFF2-40B4-BE49-F238E27FC236}">
                <a16:creationId xmlns:a16="http://schemas.microsoft.com/office/drawing/2014/main" id="{4B9982FA-94CE-476E-98B9-AED20350F85D}"/>
              </a:ext>
            </a:extLst>
          </p:cNvPr>
          <p:cNvSpPr>
            <a:spLocks noGrp="1"/>
          </p:cNvSpPr>
          <p:nvPr>
            <p:custDataLst>
              <p:tags r:id="rId40"/>
            </p:custDataLst>
          </p:nvPr>
        </p:nvSpPr>
        <p:spPr bwMode="auto">
          <a:xfrm>
            <a:off x="10939463" y="5635625"/>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35EFF32-EA37-42C1-A812-5070A582DA65}" type="datetime'''''''''5''''''7'''''''''''''''''''">
              <a:rPr lang="en-US" altLang="en-US" sz="800" b="1" smtClean="0">
                <a:solidFill>
                  <a:schemeClr val="tx1"/>
                </a:solidFill>
              </a:rPr>
              <a:pPr/>
              <a:t>57</a:t>
            </a:fld>
            <a:endParaRPr lang="en-US" sz="800" b="1" dirty="0">
              <a:solidFill>
                <a:schemeClr val="tx1"/>
              </a:solidFill>
              <a:latin typeface="+mn-lt"/>
              <a:sym typeface="+mn-lt"/>
            </a:endParaRPr>
          </a:p>
        </p:txBody>
      </p:sp>
      <p:sp>
        <p:nvSpPr>
          <p:cNvPr id="282" name="Content 1">
            <a:extLst>
              <a:ext uri="{FF2B5EF4-FFF2-40B4-BE49-F238E27FC236}">
                <a16:creationId xmlns:a16="http://schemas.microsoft.com/office/drawing/2014/main" id="{4B9982FA-94CE-476E-98B9-AED20350F85D}"/>
              </a:ext>
            </a:extLst>
          </p:cNvPr>
          <p:cNvSpPr>
            <a:spLocks noGrp="1"/>
          </p:cNvSpPr>
          <p:nvPr>
            <p:custDataLst>
              <p:tags r:id="rId41"/>
            </p:custDataLst>
          </p:nvPr>
        </p:nvSpPr>
        <p:spPr bwMode="gray">
          <a:xfrm>
            <a:off x="3998913" y="5492750"/>
            <a:ext cx="2952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6B32F83-0371-4D9A-9528-7480A1B9076A}" type="datetime'''''''''-''''3''''''''.''1''''1''''''''''''0'''''''''''''">
              <a:rPr lang="nl-NL" altLang="en-US" sz="800" b="1" smtClean="0">
                <a:solidFill>
                  <a:schemeClr val="tx1"/>
                </a:solidFill>
              </a:rPr>
              <a:pPr/>
              <a:t>-3.110</a:t>
            </a:fld>
            <a:endParaRPr lang="nl-NL" sz="800" b="1" noProof="0" dirty="0">
              <a:solidFill>
                <a:schemeClr val="tx1"/>
              </a:solidFill>
              <a:latin typeface="+mn-lt"/>
              <a:sym typeface="+mn-lt"/>
            </a:endParaRPr>
          </a:p>
        </p:txBody>
      </p:sp>
      <p:sp>
        <p:nvSpPr>
          <p:cNvPr id="205" name="Text Placeholder 5">
            <a:extLst>
              <a:ext uri="{FF2B5EF4-FFF2-40B4-BE49-F238E27FC236}">
                <a16:creationId xmlns:a16="http://schemas.microsoft.com/office/drawing/2014/main" id="{4B9982FA-94CE-476E-98B9-AED20350F85D}"/>
              </a:ext>
            </a:extLst>
          </p:cNvPr>
          <p:cNvSpPr>
            <a:spLocks noGrp="1"/>
          </p:cNvSpPr>
          <p:nvPr>
            <p:custDataLst>
              <p:tags r:id="rId42"/>
            </p:custDataLst>
          </p:nvPr>
        </p:nvSpPr>
        <p:spPr bwMode="auto">
          <a:xfrm>
            <a:off x="6870700" y="5635625"/>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5B8345B-A474-49E1-8E38-72B74CF9655C}" type="datetime'''''''''''''''''3''''''''''''8'''''">
              <a:rPr lang="en-US" altLang="en-US" sz="800" b="1" smtClean="0">
                <a:solidFill>
                  <a:schemeClr val="tx1"/>
                </a:solidFill>
              </a:rPr>
              <a:pPr/>
              <a:t>38</a:t>
            </a:fld>
            <a:endParaRPr lang="en-US" sz="800" b="1" dirty="0">
              <a:solidFill>
                <a:schemeClr val="tx1"/>
              </a:solidFill>
              <a:latin typeface="+mn-lt"/>
              <a:sym typeface="+mn-lt"/>
            </a:endParaRPr>
          </a:p>
        </p:txBody>
      </p:sp>
      <p:graphicFrame>
        <p:nvGraphicFramePr>
          <p:cNvPr id="312" name="Chart 311">
            <a:extLst>
              <a:ext uri="{FF2B5EF4-FFF2-40B4-BE49-F238E27FC236}">
                <a16:creationId xmlns:a16="http://schemas.microsoft.com/office/drawing/2014/main" id="{9B285535-A45B-4435-8063-F0CC50E9093A}"/>
              </a:ext>
            </a:extLst>
          </p:cNvPr>
          <p:cNvGraphicFramePr/>
          <p:nvPr>
            <p:custDataLst>
              <p:tags r:id="rId43"/>
            </p:custDataLst>
            <p:extLst>
              <p:ext uri="{D42A27DB-BD31-4B8C-83A1-F6EECF244321}">
                <p14:modId xmlns:p14="http://schemas.microsoft.com/office/powerpoint/2010/main" val="1883692255"/>
              </p:ext>
            </p:extLst>
          </p:nvPr>
        </p:nvGraphicFramePr>
        <p:xfrm>
          <a:off x="3948113" y="3551238"/>
          <a:ext cx="7666037" cy="722312"/>
        </p:xfrm>
        <a:graphic>
          <a:graphicData uri="http://schemas.openxmlformats.org/drawingml/2006/chart">
            <c:chart xmlns:c="http://schemas.openxmlformats.org/drawingml/2006/chart" xmlns:r="http://schemas.openxmlformats.org/officeDocument/2006/relationships" r:id="rId54"/>
          </a:graphicData>
        </a:graphic>
      </p:graphicFrame>
      <p:graphicFrame>
        <p:nvGraphicFramePr>
          <p:cNvPr id="313" name="Chart 312">
            <a:extLst>
              <a:ext uri="{FF2B5EF4-FFF2-40B4-BE49-F238E27FC236}">
                <a16:creationId xmlns:a16="http://schemas.microsoft.com/office/drawing/2014/main" id="{BD12F3DC-425C-408B-9F27-EE43B6B1D90B}"/>
              </a:ext>
            </a:extLst>
          </p:cNvPr>
          <p:cNvGraphicFramePr/>
          <p:nvPr>
            <p:custDataLst>
              <p:tags r:id="rId44"/>
            </p:custDataLst>
            <p:extLst>
              <p:ext uri="{D42A27DB-BD31-4B8C-83A1-F6EECF244321}">
                <p14:modId xmlns:p14="http://schemas.microsoft.com/office/powerpoint/2010/main" val="4245460985"/>
              </p:ext>
            </p:extLst>
          </p:nvPr>
        </p:nvGraphicFramePr>
        <p:xfrm>
          <a:off x="3957638" y="2043113"/>
          <a:ext cx="7656512" cy="979487"/>
        </p:xfrm>
        <a:graphic>
          <a:graphicData uri="http://schemas.openxmlformats.org/drawingml/2006/chart">
            <c:chart xmlns:c="http://schemas.openxmlformats.org/drawingml/2006/chart" xmlns:r="http://schemas.openxmlformats.org/officeDocument/2006/relationships" r:id="rId55"/>
          </a:graphicData>
        </a:graphic>
      </p:graphicFrame>
      <p:graphicFrame>
        <p:nvGraphicFramePr>
          <p:cNvPr id="181" name="Chart 180">
            <a:extLst>
              <a:ext uri="{FF2B5EF4-FFF2-40B4-BE49-F238E27FC236}">
                <a16:creationId xmlns:a16="http://schemas.microsoft.com/office/drawing/2014/main" id="{FF97D3DA-679B-4256-A6F1-B77C0D068A18}"/>
              </a:ext>
            </a:extLst>
          </p:cNvPr>
          <p:cNvGraphicFramePr/>
          <p:nvPr>
            <p:custDataLst>
              <p:tags r:id="rId45"/>
            </p:custDataLst>
            <p:extLst>
              <p:ext uri="{D42A27DB-BD31-4B8C-83A1-F6EECF244321}">
                <p14:modId xmlns:p14="http://schemas.microsoft.com/office/powerpoint/2010/main" val="1791425138"/>
              </p:ext>
            </p:extLst>
          </p:nvPr>
        </p:nvGraphicFramePr>
        <p:xfrm>
          <a:off x="606425" y="4668838"/>
          <a:ext cx="3278188" cy="1579562"/>
        </p:xfrm>
        <a:graphic>
          <a:graphicData uri="http://schemas.openxmlformats.org/drawingml/2006/chart">
            <c:chart xmlns:c="http://schemas.openxmlformats.org/drawingml/2006/chart" xmlns:r="http://schemas.openxmlformats.org/officeDocument/2006/relationships" r:id="rId56"/>
          </a:graphicData>
        </a:graphic>
      </p:graphicFrame>
      <p:sp>
        <p:nvSpPr>
          <p:cNvPr id="135" name="Rectangle 134">
            <a:extLst>
              <a:ext uri="{FF2B5EF4-FFF2-40B4-BE49-F238E27FC236}">
                <a16:creationId xmlns:a16="http://schemas.microsoft.com/office/drawing/2014/main" id="{DD8E7C2B-AFBE-4426-9D8D-D2B873548187}"/>
              </a:ext>
            </a:extLst>
          </p:cNvPr>
          <p:cNvSpPr/>
          <p:nvPr/>
        </p:nvSpPr>
        <p:spPr>
          <a:xfrm rot="256469">
            <a:off x="8956225" y="1353027"/>
            <a:ext cx="2732986" cy="284233"/>
          </a:xfrm>
          <a:prstGeom prst="rect">
            <a:avLst/>
          </a:prstGeom>
          <a:solidFill>
            <a:srgbClr val="FFC00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Dummygetallen</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0" name="Text Placeholder 6">
            <a:extLst>
              <a:ext uri="{FF2B5EF4-FFF2-40B4-BE49-F238E27FC236}">
                <a16:creationId xmlns:a16="http://schemas.microsoft.com/office/drawing/2014/main" id="{962E9C76-F0EB-4C94-89ED-A61907D6715A}"/>
              </a:ext>
            </a:extLst>
          </p:cNvPr>
          <p:cNvSpPr txBox="1">
            <a:spLocks/>
          </p:cNvSpPr>
          <p:nvPr/>
        </p:nvSpPr>
        <p:spPr>
          <a:xfrm>
            <a:off x="666750" y="1228725"/>
            <a:ext cx="10872000" cy="247650"/>
          </a:xfrm>
          <a:prstGeom prst="rect">
            <a:avLst/>
          </a:prstGeom>
        </p:spPr>
        <p:txBody>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p>
        </p:txBody>
      </p:sp>
      <p:grpSp>
        <p:nvGrpSpPr>
          <p:cNvPr id="10" name="Group 9">
            <a:extLst>
              <a:ext uri="{FF2B5EF4-FFF2-40B4-BE49-F238E27FC236}">
                <a16:creationId xmlns:a16="http://schemas.microsoft.com/office/drawing/2014/main" id="{D3262FC1-B8AE-4596-83F7-30F408901AF1}"/>
              </a:ext>
            </a:extLst>
          </p:cNvPr>
          <p:cNvGrpSpPr/>
          <p:nvPr/>
        </p:nvGrpSpPr>
        <p:grpSpPr>
          <a:xfrm>
            <a:off x="7650254" y="2986294"/>
            <a:ext cx="252000" cy="252000"/>
            <a:chOff x="7577939" y="3643520"/>
            <a:chExt cx="258285" cy="258285"/>
          </a:xfrm>
        </p:grpSpPr>
        <p:sp>
          <p:nvSpPr>
            <p:cNvPr id="5" name="Oval 4">
              <a:extLst>
                <a:ext uri="{FF2B5EF4-FFF2-40B4-BE49-F238E27FC236}">
                  <a16:creationId xmlns:a16="http://schemas.microsoft.com/office/drawing/2014/main" id="{F2659336-5E9B-4B97-888D-705C499022E4}"/>
                </a:ext>
              </a:extLst>
            </p:cNvPr>
            <p:cNvSpPr/>
            <p:nvPr/>
          </p:nvSpPr>
          <p:spPr>
            <a:xfrm>
              <a:off x="7577939" y="3643520"/>
              <a:ext cx="258285" cy="258285"/>
            </a:xfrm>
            <a:prstGeom prst="ellipse">
              <a:avLst/>
            </a:prstGeom>
            <a:solidFill>
              <a:schemeClr val="bg1">
                <a:lumMod val="65000"/>
              </a:schemeClr>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8" name="Minus Sign 447">
              <a:extLst>
                <a:ext uri="{FF2B5EF4-FFF2-40B4-BE49-F238E27FC236}">
                  <a16:creationId xmlns:a16="http://schemas.microsoft.com/office/drawing/2014/main" id="{509D2769-F4E8-479B-84E2-5D352B42EB15}"/>
                </a:ext>
              </a:extLst>
            </p:cNvPr>
            <p:cNvSpPr/>
            <p:nvPr/>
          </p:nvSpPr>
          <p:spPr>
            <a:xfrm>
              <a:off x="7616148" y="3719453"/>
              <a:ext cx="184129" cy="94607"/>
            </a:xfrm>
            <a:prstGeom prst="mathMinus">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grpSp>
        <p:nvGrpSpPr>
          <p:cNvPr id="14" name="Group 13">
            <a:extLst>
              <a:ext uri="{FF2B5EF4-FFF2-40B4-BE49-F238E27FC236}">
                <a16:creationId xmlns:a16="http://schemas.microsoft.com/office/drawing/2014/main" id="{29B83B35-AB10-42B5-BEDA-03081240E51A}"/>
              </a:ext>
            </a:extLst>
          </p:cNvPr>
          <p:cNvGrpSpPr/>
          <p:nvPr/>
        </p:nvGrpSpPr>
        <p:grpSpPr>
          <a:xfrm>
            <a:off x="7650254" y="4332199"/>
            <a:ext cx="252000" cy="252000"/>
            <a:chOff x="7598992" y="4951796"/>
            <a:chExt cx="252000" cy="252000"/>
          </a:xfrm>
        </p:grpSpPr>
        <p:sp>
          <p:nvSpPr>
            <p:cNvPr id="127" name="Oval 126">
              <a:extLst>
                <a:ext uri="{FF2B5EF4-FFF2-40B4-BE49-F238E27FC236}">
                  <a16:creationId xmlns:a16="http://schemas.microsoft.com/office/drawing/2014/main" id="{60828CF9-D23D-46E1-90D3-07EEAF9BADD3}"/>
                </a:ext>
              </a:extLst>
            </p:cNvPr>
            <p:cNvSpPr/>
            <p:nvPr/>
          </p:nvSpPr>
          <p:spPr>
            <a:xfrm>
              <a:off x="7598992" y="4951796"/>
              <a:ext cx="252000" cy="252000"/>
            </a:xfrm>
            <a:prstGeom prst="ellipse">
              <a:avLst/>
            </a:prstGeom>
            <a:solidFill>
              <a:srgbClr val="A6A6A6"/>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9" name="Equals 448">
              <a:extLst>
                <a:ext uri="{FF2B5EF4-FFF2-40B4-BE49-F238E27FC236}">
                  <a16:creationId xmlns:a16="http://schemas.microsoft.com/office/drawing/2014/main" id="{5E661DA1-DBD6-493D-8C19-AB3EF375B9DD}"/>
                </a:ext>
              </a:extLst>
            </p:cNvPr>
            <p:cNvSpPr/>
            <p:nvPr/>
          </p:nvSpPr>
          <p:spPr>
            <a:xfrm>
              <a:off x="7648672" y="5027818"/>
              <a:ext cx="152641" cy="98313"/>
            </a:xfrm>
            <a:prstGeom prst="mathEqual">
              <a:avLst>
                <a:gd name="adj1" fmla="val 23520"/>
                <a:gd name="adj2" fmla="val 33175"/>
              </a:avLst>
            </a:prstGeom>
            <a:solidFill>
              <a:schemeClr val="bg1"/>
            </a:solidFill>
            <a:ln>
              <a:solidFill>
                <a:schemeClr val="bg1"/>
              </a:solidFill>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en-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sp>
        <p:nvSpPr>
          <p:cNvPr id="136" name="Slide Number Placeholder 2">
            <a:extLst>
              <a:ext uri="{FF2B5EF4-FFF2-40B4-BE49-F238E27FC236}">
                <a16:creationId xmlns:a16="http://schemas.microsoft.com/office/drawing/2014/main" id="{34E9139A-3041-4977-9353-3470BEF1AC6C}"/>
              </a:ext>
            </a:extLst>
          </p:cNvPr>
          <p:cNvSpPr txBox="1">
            <a:spLocks/>
          </p:cNvSpPr>
          <p:nvPr/>
        </p:nvSpPr>
        <p:spPr>
          <a:xfrm>
            <a:off x="10510048" y="6619875"/>
            <a:ext cx="1023140" cy="168275"/>
          </a:xfrm>
          <a:prstGeom prst="rect">
            <a:avLst/>
          </a:prstGeom>
        </p:spPr>
        <p:txBody>
          <a:bodyPr vert="horz" lIns="91440" tIns="45720" rIns="91440" bIns="45720" rtlCol="0" anchor="ctr"/>
          <a:lstStyle>
            <a:defPPr>
              <a:defRPr lang="nl-NL"/>
            </a:defPPr>
            <a:lvl1pPr algn="r" rtl="0" fontAlgn="base">
              <a:spcBef>
                <a:spcPct val="0"/>
              </a:spcBef>
              <a:spcAft>
                <a:spcPct val="0"/>
              </a:spcAft>
              <a:defRPr sz="12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marL="0" indent="0">
              <a:buNone/>
            </a:pPr>
            <a:fld id="{992CD0B2-8AB2-4C6C-8876-E15753662C9B}" type="slidenum">
              <a:rPr lang="nl-NL" smtClean="0"/>
              <a:pPr marL="0" indent="0">
                <a:buNone/>
              </a:pPr>
              <a:t>7</a:t>
            </a:fld>
            <a:endParaRPr lang="nl-NL" dirty="0"/>
          </a:p>
        </p:txBody>
      </p:sp>
      <p:cxnSp>
        <p:nvCxnSpPr>
          <p:cNvPr id="190" name="Straight Connector 189">
            <a:extLst>
              <a:ext uri="{FF2B5EF4-FFF2-40B4-BE49-F238E27FC236}">
                <a16:creationId xmlns:a16="http://schemas.microsoft.com/office/drawing/2014/main" id="{8B41B9BC-8436-48C6-9E53-B65BF0C0B2A7}"/>
              </a:ext>
            </a:extLst>
          </p:cNvPr>
          <p:cNvCxnSpPr>
            <a:cxnSpLocks/>
          </p:cNvCxnSpPr>
          <p:nvPr>
            <p:custDataLst>
              <p:tags r:id="rId46"/>
            </p:custDataLst>
          </p:nvPr>
        </p:nvCxnSpPr>
        <p:spPr bwMode="auto">
          <a:xfrm flipV="1">
            <a:off x="1992312" y="5277265"/>
            <a:ext cx="617538" cy="133963"/>
          </a:xfrm>
          <a:prstGeom prst="line">
            <a:avLst/>
          </a:prstGeom>
          <a:ln w="28575" cap="flat" cmpd="sng" algn="ctr">
            <a:solidFill>
              <a:schemeClr val="bg1">
                <a:lumMod val="75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1" name="Text Placeholder 5">
            <a:extLst>
              <a:ext uri="{FF2B5EF4-FFF2-40B4-BE49-F238E27FC236}">
                <a16:creationId xmlns:a16="http://schemas.microsoft.com/office/drawing/2014/main" id="{FFF1A801-AC89-4BD0-ACF4-4BA74321EB4D}"/>
              </a:ext>
            </a:extLst>
          </p:cNvPr>
          <p:cNvSpPr>
            <a:spLocks noGrp="1"/>
          </p:cNvSpPr>
          <p:nvPr>
            <p:custDataLst>
              <p:tags r:id="rId47"/>
            </p:custDataLst>
          </p:nvPr>
        </p:nvSpPr>
        <p:spPr bwMode="auto">
          <a:xfrm>
            <a:off x="2135737" y="5441951"/>
            <a:ext cx="387350" cy="193675"/>
          </a:xfrm>
          <a:prstGeom prst="ellipse">
            <a:avLst/>
          </a:prstGeom>
          <a:noFill/>
          <a:ln w="9525" algn="ctr">
            <a:noFill/>
          </a:ln>
          <a:extLst>
            <a:ext uri="{909E8E84-426E-40DD-AFC4-6F175D3DCCD1}">
              <a14:hiddenFill xmlns:a14="http://schemas.microsoft.com/office/drawing/2010/main">
                <a:solidFill>
                  <a:schemeClr val="bg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nl-NL" altLang="en-US" sz="1000" b="1" i="1" dirty="0">
                <a:solidFill>
                  <a:srgbClr val="C2C2C2"/>
                </a:solidFill>
              </a:rPr>
              <a:t>3</a:t>
            </a:r>
            <a:r>
              <a:rPr lang="en-NL" altLang="en-US" sz="1000" b="1" i="1" dirty="0">
                <a:solidFill>
                  <a:srgbClr val="C2C2C2"/>
                </a:solidFill>
              </a:rPr>
              <a:t>% </a:t>
            </a:r>
            <a:r>
              <a:rPr lang="nl-NL" altLang="en-US" sz="1000" b="1" i="1" dirty="0">
                <a:solidFill>
                  <a:srgbClr val="C2C2C2"/>
                </a:solidFill>
              </a:rPr>
              <a:t>p</a:t>
            </a:r>
            <a:r>
              <a:rPr lang="en-NL" altLang="en-US" sz="1000" b="1" i="1" dirty="0">
                <a:solidFill>
                  <a:srgbClr val="C2C2C2"/>
                </a:solidFill>
              </a:rPr>
              <a:t>e</a:t>
            </a:r>
            <a:r>
              <a:rPr lang="nl-NL" altLang="en-US" sz="1000" b="1" i="1" dirty="0">
                <a:solidFill>
                  <a:srgbClr val="C2C2C2"/>
                </a:solidFill>
              </a:rPr>
              <a:t>r</a:t>
            </a:r>
            <a:r>
              <a:rPr lang="en-NL" altLang="en-US" sz="1000" b="1" i="1" dirty="0">
                <a:solidFill>
                  <a:srgbClr val="C2C2C2"/>
                </a:solidFill>
              </a:rPr>
              <a:t> </a:t>
            </a:r>
            <a:r>
              <a:rPr lang="nl-NL" altLang="en-US" sz="1000" b="1" i="1" dirty="0">
                <a:solidFill>
                  <a:srgbClr val="C2C2C2"/>
                </a:solidFill>
              </a:rPr>
              <a:t>j</a:t>
            </a:r>
            <a:r>
              <a:rPr lang="en-NL" altLang="en-US" sz="1000" b="1" i="1" dirty="0">
                <a:solidFill>
                  <a:srgbClr val="C2C2C2"/>
                </a:solidFill>
              </a:rPr>
              <a:t>a</a:t>
            </a:r>
            <a:r>
              <a:rPr lang="nl-NL" altLang="en-US" sz="1000" b="1" i="1" dirty="0">
                <a:solidFill>
                  <a:srgbClr val="C2C2C2"/>
                </a:solidFill>
              </a:rPr>
              <a:t>a</a:t>
            </a:r>
            <a:r>
              <a:rPr lang="en-NL" altLang="en-US" sz="1000" b="1" i="1" dirty="0">
                <a:solidFill>
                  <a:srgbClr val="C2C2C2"/>
                </a:solidFill>
              </a:rPr>
              <a:t>r</a:t>
            </a:r>
            <a:endParaRPr lang="nl-NL" sz="1000" b="1" i="1" baseline="30000" dirty="0">
              <a:solidFill>
                <a:srgbClr val="C2C2C2"/>
              </a:solidFill>
              <a:latin typeface="+mn-lt"/>
              <a:sym typeface="+mn-lt"/>
            </a:endParaRPr>
          </a:p>
        </p:txBody>
      </p:sp>
      <p:cxnSp>
        <p:nvCxnSpPr>
          <p:cNvPr id="192" name="Straight Connector 191">
            <a:extLst>
              <a:ext uri="{FF2B5EF4-FFF2-40B4-BE49-F238E27FC236}">
                <a16:creationId xmlns:a16="http://schemas.microsoft.com/office/drawing/2014/main" id="{1B1EE1C6-D2D9-40EA-858D-7E3B138420C7}"/>
              </a:ext>
            </a:extLst>
          </p:cNvPr>
          <p:cNvCxnSpPr>
            <a:cxnSpLocks/>
          </p:cNvCxnSpPr>
          <p:nvPr>
            <p:custDataLst>
              <p:tags r:id="rId48"/>
            </p:custDataLst>
          </p:nvPr>
        </p:nvCxnSpPr>
        <p:spPr bwMode="auto">
          <a:xfrm flipV="1">
            <a:off x="1069482" y="5504036"/>
            <a:ext cx="624439" cy="232525"/>
          </a:xfrm>
          <a:prstGeom prst="line">
            <a:avLst/>
          </a:prstGeom>
          <a:ln w="28575" cap="flat" cmpd="sng" algn="ctr">
            <a:solidFill>
              <a:schemeClr val="bg1">
                <a:lumMod val="75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3" name="Text Placeholder 5">
            <a:extLst>
              <a:ext uri="{FF2B5EF4-FFF2-40B4-BE49-F238E27FC236}">
                <a16:creationId xmlns:a16="http://schemas.microsoft.com/office/drawing/2014/main" id="{95A5F5BF-50A9-4D90-B282-6FF6ACCF0339}"/>
              </a:ext>
            </a:extLst>
          </p:cNvPr>
          <p:cNvSpPr>
            <a:spLocks noGrp="1"/>
          </p:cNvSpPr>
          <p:nvPr>
            <p:custDataLst>
              <p:tags r:id="rId49"/>
            </p:custDataLst>
          </p:nvPr>
        </p:nvSpPr>
        <p:spPr bwMode="auto">
          <a:xfrm>
            <a:off x="1237688" y="5727229"/>
            <a:ext cx="387350" cy="193675"/>
          </a:xfrm>
          <a:prstGeom prst="ellipse">
            <a:avLst/>
          </a:prstGeom>
          <a:noFill/>
          <a:ln w="9525" algn="ctr">
            <a:noFill/>
          </a:ln>
          <a:extLst>
            <a:ext uri="{909E8E84-426E-40DD-AFC4-6F175D3DCCD1}">
              <a14:hiddenFill xmlns:a14="http://schemas.microsoft.com/office/drawing/2010/main">
                <a:solidFill>
                  <a:schemeClr val="bg1"/>
                </a:solidFill>
              </a14:hiddenFill>
            </a:ext>
          </a:extLst>
        </p:spPr>
        <p:txBody>
          <a:bodyPr vert="horz" wrap="none" lIns="0" tIns="0" rIns="0" bIns="0" numCol="1" spcCol="0" rtlCol="0" anchor="ctr"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r>
              <a:rPr lang="en-GB" altLang="en-US" sz="1000" b="1" i="1" dirty="0">
                <a:solidFill>
                  <a:srgbClr val="C2C2C2"/>
                </a:solidFill>
              </a:rPr>
              <a:t>4</a:t>
            </a:r>
            <a:r>
              <a:rPr lang="en-NL" altLang="en-US" sz="1000" b="1" i="1" dirty="0">
                <a:solidFill>
                  <a:srgbClr val="C2C2C2"/>
                </a:solidFill>
              </a:rPr>
              <a:t>% </a:t>
            </a:r>
            <a:r>
              <a:rPr lang="nl-NL" altLang="en-US" sz="1000" b="1" i="1" dirty="0">
                <a:solidFill>
                  <a:srgbClr val="C2C2C2"/>
                </a:solidFill>
              </a:rPr>
              <a:t>p</a:t>
            </a:r>
            <a:r>
              <a:rPr lang="en-NL" altLang="en-US" sz="1000" b="1" i="1" dirty="0">
                <a:solidFill>
                  <a:srgbClr val="C2C2C2"/>
                </a:solidFill>
              </a:rPr>
              <a:t>e</a:t>
            </a:r>
            <a:r>
              <a:rPr lang="nl-NL" altLang="en-US" sz="1000" b="1" i="1" dirty="0">
                <a:solidFill>
                  <a:srgbClr val="C2C2C2"/>
                </a:solidFill>
              </a:rPr>
              <a:t>r</a:t>
            </a:r>
            <a:r>
              <a:rPr lang="en-NL" altLang="en-US" sz="1000" b="1" i="1" dirty="0">
                <a:solidFill>
                  <a:srgbClr val="C2C2C2"/>
                </a:solidFill>
              </a:rPr>
              <a:t> </a:t>
            </a:r>
            <a:r>
              <a:rPr lang="nl-NL" altLang="en-US" sz="1000" b="1" i="1" dirty="0">
                <a:solidFill>
                  <a:srgbClr val="C2C2C2"/>
                </a:solidFill>
              </a:rPr>
              <a:t>j</a:t>
            </a:r>
            <a:r>
              <a:rPr lang="en-NL" altLang="en-US" sz="1000" b="1" i="1" dirty="0">
                <a:solidFill>
                  <a:srgbClr val="C2C2C2"/>
                </a:solidFill>
              </a:rPr>
              <a:t>a</a:t>
            </a:r>
            <a:r>
              <a:rPr lang="nl-NL" altLang="en-US" sz="1000" b="1" i="1" dirty="0">
                <a:solidFill>
                  <a:srgbClr val="C2C2C2"/>
                </a:solidFill>
              </a:rPr>
              <a:t>a</a:t>
            </a:r>
            <a:r>
              <a:rPr lang="en-NL" altLang="en-US" sz="1000" b="1" i="1" dirty="0">
                <a:solidFill>
                  <a:srgbClr val="C2C2C2"/>
                </a:solidFill>
              </a:rPr>
              <a:t>r</a:t>
            </a:r>
            <a:endParaRPr lang="nl-NL" sz="1000" b="1" i="1" baseline="30000" dirty="0">
              <a:solidFill>
                <a:srgbClr val="C2C2C2"/>
              </a:solidFill>
              <a:latin typeface="+mn-lt"/>
              <a:sym typeface="+mn-lt"/>
            </a:endParaRPr>
          </a:p>
        </p:txBody>
      </p:sp>
      <p:sp>
        <p:nvSpPr>
          <p:cNvPr id="96" name="Rectangle 95">
            <a:extLst>
              <a:ext uri="{FF2B5EF4-FFF2-40B4-BE49-F238E27FC236}">
                <a16:creationId xmlns:a16="http://schemas.microsoft.com/office/drawing/2014/main" id="{A39E46CE-018D-4BB8-BFF0-AE70FCFF2F16}"/>
              </a:ext>
            </a:extLst>
          </p:cNvPr>
          <p:cNvSpPr/>
          <p:nvPr/>
        </p:nvSpPr>
        <p:spPr>
          <a:xfrm>
            <a:off x="747057" y="41563"/>
            <a:ext cx="180000" cy="180000"/>
          </a:xfrm>
          <a:prstGeom prst="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1</a:t>
            </a:r>
          </a:p>
        </p:txBody>
      </p:sp>
      <p:sp>
        <p:nvSpPr>
          <p:cNvPr id="98" name="Rectangle 97">
            <a:extLst>
              <a:ext uri="{FF2B5EF4-FFF2-40B4-BE49-F238E27FC236}">
                <a16:creationId xmlns:a16="http://schemas.microsoft.com/office/drawing/2014/main" id="{59AB5DBB-6AC1-4802-9634-5AF3C35D367C}"/>
              </a:ext>
            </a:extLst>
          </p:cNvPr>
          <p:cNvSpPr/>
          <p:nvPr/>
        </p:nvSpPr>
        <p:spPr>
          <a:xfrm>
            <a:off x="1361643" y="41563"/>
            <a:ext cx="3125831" cy="180000"/>
          </a:xfrm>
          <a:prstGeom prst="rect">
            <a:avLst/>
          </a:prstGeom>
          <a:noFill/>
          <a:ln w="9525">
            <a:noFill/>
          </a:ln>
          <a:extLst>
            <a:ext uri="{909E8E84-426E-40DD-AFC4-6F175D3DCCD1}">
              <a14:hiddenFill xmlns:a14="http://schemas.microsoft.com/office/drawing/2010/main">
                <a:solidFill>
                  <a:srgbClr val="DFDFD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rtl="0" eaLnBrk="1" fontAlgn="auto" latinLnBrk="0" hangingPunct="1">
              <a:lnSpc>
                <a:spcPct val="106000"/>
              </a:lnSpc>
              <a:spcBef>
                <a:spcPts val="0"/>
              </a:spcBef>
              <a:spcAft>
                <a:spcPts val="0"/>
              </a:spcAft>
              <a:buClr>
                <a:schemeClr val="dk1"/>
              </a:buClr>
              <a:buSzPts val="1200"/>
              <a:buFont typeface="Corbel"/>
              <a:buNone/>
              <a:tabLst/>
              <a:defRPr/>
            </a:pPr>
            <a:r>
              <a:rPr lang="nl-NL" sz="1000" b="1" dirty="0">
                <a:sym typeface="Corbel" panose="020B0503020204020204" pitchFamily="34" charset="0"/>
              </a:rPr>
              <a:t>Directe financiële kosten en baten</a:t>
            </a:r>
            <a:endParaRPr lang="nl-NL" sz="1000" b="0" dirty="0">
              <a:sym typeface="Corbel" panose="020B0503020204020204" pitchFamily="34" charset="0"/>
            </a:endParaRPr>
          </a:p>
        </p:txBody>
      </p:sp>
      <p:sp>
        <p:nvSpPr>
          <p:cNvPr id="99" name="Rectangle 98">
            <a:extLst>
              <a:ext uri="{FF2B5EF4-FFF2-40B4-BE49-F238E27FC236}">
                <a16:creationId xmlns:a16="http://schemas.microsoft.com/office/drawing/2014/main" id="{A2E831C8-68C5-475C-B240-65CEC80C1938}"/>
              </a:ext>
            </a:extLst>
          </p:cNvPr>
          <p:cNvSpPr/>
          <p:nvPr/>
        </p:nvSpPr>
        <p:spPr>
          <a:xfrm>
            <a:off x="961661"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2</a:t>
            </a:r>
          </a:p>
        </p:txBody>
      </p:sp>
      <p:sp>
        <p:nvSpPr>
          <p:cNvPr id="100" name="Rectangle 99">
            <a:extLst>
              <a:ext uri="{FF2B5EF4-FFF2-40B4-BE49-F238E27FC236}">
                <a16:creationId xmlns:a16="http://schemas.microsoft.com/office/drawing/2014/main" id="{1536D497-E167-4E2C-9A00-F49F822AD220}"/>
              </a:ext>
            </a:extLst>
          </p:cNvPr>
          <p:cNvSpPr/>
          <p:nvPr/>
        </p:nvSpPr>
        <p:spPr>
          <a:xfrm>
            <a:off x="1182898"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3</a:t>
            </a:r>
            <a:endParaRPr kumimoji="0" lang="nl-NL" sz="1100" b="1" i="0" u="none" strike="noStrike" kern="1200" cap="none" spc="0" normalizeH="0" baseline="0" noProof="0" dirty="0">
              <a:ln>
                <a:noFill/>
              </a:ln>
              <a:solidFill>
                <a:srgbClr val="FFFFFF"/>
              </a:solidFill>
              <a:effectLst/>
              <a:uLnTx/>
              <a:uFillTx/>
              <a:sym typeface="Corbel" panose="020B0503020204020204" pitchFamily="34" charset="0"/>
            </a:endParaRPr>
          </a:p>
        </p:txBody>
      </p:sp>
      <p:grpSp>
        <p:nvGrpSpPr>
          <p:cNvPr id="103" name="Group 102">
            <a:extLst>
              <a:ext uri="{FF2B5EF4-FFF2-40B4-BE49-F238E27FC236}">
                <a16:creationId xmlns:a16="http://schemas.microsoft.com/office/drawing/2014/main" id="{31DC3629-4F2A-4026-ABA9-6979C9056CA8}"/>
              </a:ext>
            </a:extLst>
          </p:cNvPr>
          <p:cNvGrpSpPr/>
          <p:nvPr/>
        </p:nvGrpSpPr>
        <p:grpSpPr>
          <a:xfrm>
            <a:off x="666747" y="1617434"/>
            <a:ext cx="3217866" cy="168876"/>
            <a:chOff x="8353531" y="1539107"/>
            <a:chExt cx="1104027" cy="195966"/>
          </a:xfrm>
        </p:grpSpPr>
        <p:cxnSp>
          <p:nvCxnSpPr>
            <p:cNvPr id="104" name="Straight Connector 103">
              <a:extLst>
                <a:ext uri="{FF2B5EF4-FFF2-40B4-BE49-F238E27FC236}">
                  <a16:creationId xmlns:a16="http://schemas.microsoft.com/office/drawing/2014/main" id="{F611486D-03B1-4B51-BEEE-54B73C4EADE7}"/>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07D0D2F9-AFFF-4CA6-B2F3-C9D7DD4EB1C1}"/>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36000" tIns="72000" rIns="36000" bIns="72000" numCol="1" spcCol="0" rtlCol="0" fromWordArt="0" anchor="ctr" anchorCtr="0" forceAA="0" compatLnSpc="1">
              <a:prstTxWarp prst="textNoShape">
                <a:avLst/>
              </a:prstTxWarp>
              <a:noAutofit/>
            </a:bodyPr>
            <a:lstStyle/>
            <a:p>
              <a:pPr marL="0" indent="0">
                <a:buClr>
                  <a:schemeClr val="tx2"/>
                </a:buClr>
                <a:buNone/>
              </a:pPr>
              <a:r>
                <a:rPr lang="nl-NL" sz="1000" b="1" dirty="0">
                  <a:sym typeface="Corbel" panose="020B0503020204020204" pitchFamily="34" charset="0"/>
                </a:rPr>
                <a:t>Belangrijke drijvers: reizigerskilometers en aanlegkosten</a:t>
              </a:r>
              <a:endParaRPr kumimoji="0" lang="nl-NL" sz="1000" b="1" i="0" u="none" strike="noStrike" kern="1200" cap="none" spc="0" normalizeH="0" baseline="0" noProof="0" dirty="0">
                <a:ln>
                  <a:noFill/>
                </a:ln>
                <a:effectLst/>
                <a:uLnTx/>
                <a:uFillTx/>
                <a:sym typeface="Corbel" panose="020B0503020204020204" pitchFamily="34" charset="0"/>
              </a:endParaRPr>
            </a:p>
          </p:txBody>
        </p:sp>
      </p:grpSp>
      <p:grpSp>
        <p:nvGrpSpPr>
          <p:cNvPr id="106" name="Group 105">
            <a:extLst>
              <a:ext uri="{FF2B5EF4-FFF2-40B4-BE49-F238E27FC236}">
                <a16:creationId xmlns:a16="http://schemas.microsoft.com/office/drawing/2014/main" id="{E70A5096-3F79-40EB-8A4E-8F251D2EEE37}"/>
              </a:ext>
            </a:extLst>
          </p:cNvPr>
          <p:cNvGrpSpPr/>
          <p:nvPr/>
        </p:nvGrpSpPr>
        <p:grpSpPr>
          <a:xfrm>
            <a:off x="4010911" y="1617434"/>
            <a:ext cx="7585075" cy="168876"/>
            <a:chOff x="8353531" y="1539107"/>
            <a:chExt cx="1104027" cy="195966"/>
          </a:xfrm>
        </p:grpSpPr>
        <p:cxnSp>
          <p:nvCxnSpPr>
            <p:cNvPr id="107" name="Straight Connector 106">
              <a:extLst>
                <a:ext uri="{FF2B5EF4-FFF2-40B4-BE49-F238E27FC236}">
                  <a16:creationId xmlns:a16="http://schemas.microsoft.com/office/drawing/2014/main" id="{BD5ADAD8-B456-47F7-B551-598957B11ACA}"/>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0" name="Rectangle 109">
              <a:extLst>
                <a:ext uri="{FF2B5EF4-FFF2-40B4-BE49-F238E27FC236}">
                  <a16:creationId xmlns:a16="http://schemas.microsoft.com/office/drawing/2014/main" id="{F32F61ED-7F60-4B2B-8EFB-55A246AD88AC}"/>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b="1">
                  <a:sym typeface="Corbel" panose="020B0503020204020204" pitchFamily="34" charset="0"/>
                </a:rPr>
                <a:t>Berekening </a:t>
              </a:r>
              <a:r>
                <a:rPr lang="en-NL" sz="1000" b="1">
                  <a:sym typeface="Corbel" panose="020B0503020204020204" pitchFamily="34" charset="0"/>
                </a:rPr>
                <a:t>n</a:t>
              </a:r>
              <a:r>
                <a:rPr lang="nl-NL" sz="1000" b="1">
                  <a:sym typeface="Corbel" panose="020B0503020204020204" pitchFamily="34" charset="0"/>
                </a:rPr>
                <a:t>etto </a:t>
              </a:r>
              <a:r>
                <a:rPr lang="en-NL" sz="1000" b="1">
                  <a:sym typeface="Corbel" panose="020B0503020204020204" pitchFamily="34" charset="0"/>
                </a:rPr>
                <a:t>c</a:t>
              </a:r>
              <a:r>
                <a:rPr lang="nl-NL" sz="1000" b="1">
                  <a:sym typeface="Corbel" panose="020B0503020204020204" pitchFamily="34" charset="0"/>
                </a:rPr>
                <a:t>ontante </a:t>
              </a:r>
              <a:r>
                <a:rPr lang="en-NL" sz="1000" b="1">
                  <a:sym typeface="Corbel" panose="020B0503020204020204" pitchFamily="34" charset="0"/>
                </a:rPr>
                <a:t>w</a:t>
              </a:r>
              <a:r>
                <a:rPr lang="nl-NL" sz="1000" b="1">
                  <a:sym typeface="Corbel" panose="020B0503020204020204" pitchFamily="34" charset="0"/>
                </a:rPr>
                <a:t>aarde</a:t>
              </a:r>
              <a:endParaRPr kumimoji="0" lang="nl-NL" sz="1000" b="1" i="0" u="none" strike="noStrike" kern="1200" cap="none" spc="0" normalizeH="0" baseline="0" noProof="0" dirty="0">
                <a:ln>
                  <a:noFill/>
                </a:ln>
                <a:effectLst/>
                <a:uLnTx/>
                <a:uFillTx/>
                <a:sym typeface="Corbel" panose="020B0503020204020204" pitchFamily="34" charset="0"/>
              </a:endParaRPr>
            </a:p>
          </p:txBody>
        </p:sp>
      </p:grpSp>
      <p:sp>
        <p:nvSpPr>
          <p:cNvPr id="112" name="Rectangle 111">
            <a:extLst>
              <a:ext uri="{FF2B5EF4-FFF2-40B4-BE49-F238E27FC236}">
                <a16:creationId xmlns:a16="http://schemas.microsoft.com/office/drawing/2014/main" id="{43DC1F10-44F1-47B8-B7A3-2932F9BA04C5}"/>
              </a:ext>
            </a:extLst>
          </p:cNvPr>
          <p:cNvSpPr/>
          <p:nvPr/>
        </p:nvSpPr>
        <p:spPr>
          <a:xfrm>
            <a:off x="4010911" y="6146118"/>
            <a:ext cx="7520614" cy="173083"/>
          </a:xfrm>
          <a:prstGeom prst="rect">
            <a:avLst/>
          </a:prstGeom>
          <a:solidFill>
            <a:schemeClr val="accent4">
              <a:lumMod val="40000"/>
              <a:lumOff val="60000"/>
            </a:schemeClr>
          </a:solidFill>
          <a:ln w="9525">
            <a:solidFill>
              <a:srgbClr val="22777B"/>
            </a:solidFill>
          </a:ln>
        </p:spPr>
        <p:txBody>
          <a:bodyPr lIns="72000" rIns="72000" rtlCol="0" anchor="ctr">
            <a:noAutofit/>
          </a:bodyPr>
          <a:lstStyle/>
          <a:p>
            <a:pPr marL="0" indent="0" algn="ctr">
              <a:spcBef>
                <a:spcPts val="750"/>
              </a:spcBef>
              <a:buClr>
                <a:srgbClr val="FF0000"/>
              </a:buClr>
              <a:buNone/>
            </a:pPr>
            <a:r>
              <a:rPr lang="nl-NL" sz="1000" b="1" dirty="0">
                <a:solidFill>
                  <a:srgbClr val="000000"/>
                </a:solidFill>
                <a:latin typeface="Corbel" panose="020B0503020204020204" pitchFamily="34" charset="0"/>
                <a:cs typeface="+mn-cs"/>
              </a:rPr>
              <a:t>Netto contante waarde: </a:t>
            </a:r>
            <a:r>
              <a:rPr lang="nl-NL" sz="1000" b="1" dirty="0">
                <a:solidFill>
                  <a:srgbClr val="000000"/>
                </a:solidFill>
                <a:latin typeface="Corbel" panose="020B0503020204020204" pitchFamily="34" charset="0"/>
              </a:rPr>
              <a:t>€ </a:t>
            </a:r>
            <a:r>
              <a:rPr lang="en-GB" sz="1000" b="1" dirty="0">
                <a:solidFill>
                  <a:srgbClr val="000000"/>
                </a:solidFill>
                <a:latin typeface="Corbel" panose="020B0503020204020204" pitchFamily="34" charset="0"/>
              </a:rPr>
              <a:t>-2.491 </a:t>
            </a:r>
            <a:r>
              <a:rPr lang="en-GB" sz="1000" b="1" dirty="0" err="1">
                <a:solidFill>
                  <a:srgbClr val="000000"/>
                </a:solidFill>
                <a:latin typeface="Corbel" panose="020B0503020204020204" pitchFamily="34" charset="0"/>
              </a:rPr>
              <a:t>miljoen</a:t>
            </a:r>
            <a:r>
              <a:rPr lang="en-GB" sz="1000" b="1" dirty="0">
                <a:solidFill>
                  <a:srgbClr val="000000"/>
                </a:solidFill>
                <a:latin typeface="Corbel" panose="020B0503020204020204" pitchFamily="34" charset="0"/>
              </a:rPr>
              <a:t> </a:t>
            </a:r>
            <a:endParaRPr lang="nl-NL" sz="1000" i="1" dirty="0">
              <a:solidFill>
                <a:srgbClr val="000000"/>
              </a:solidFill>
              <a:highlight>
                <a:srgbClr val="FFFF00"/>
              </a:highlight>
              <a:latin typeface="Corbel" panose="020B0503020204020204" pitchFamily="34" charset="0"/>
              <a:cs typeface="+mn-cs"/>
            </a:endParaRPr>
          </a:p>
        </p:txBody>
      </p:sp>
      <p:sp>
        <p:nvSpPr>
          <p:cNvPr id="233" name="Rectangle 232">
            <a:extLst>
              <a:ext uri="{FF2B5EF4-FFF2-40B4-BE49-F238E27FC236}">
                <a16:creationId xmlns:a16="http://schemas.microsoft.com/office/drawing/2014/main" id="{A55DEE33-7FE2-4D05-B656-05BD9D5F0E6D}"/>
              </a:ext>
            </a:extLst>
          </p:cNvPr>
          <p:cNvSpPr/>
          <p:nvPr/>
        </p:nvSpPr>
        <p:spPr>
          <a:xfrm>
            <a:off x="669942" y="2534907"/>
            <a:ext cx="3168115" cy="1167722"/>
          </a:xfrm>
          <a:prstGeom prst="rect">
            <a:avLst/>
          </a:prstGeom>
          <a:noFill/>
          <a:extLst>
            <a:ext uri="{909E8E84-426E-40DD-AFC4-6F175D3DCCD1}">
              <a14:hiddenFill xmlns:a14="http://schemas.microsoft.com/office/drawing/2010/main">
                <a:solidFill>
                  <a:schemeClr val="bg1">
                    <a:lumMod val="95000"/>
                  </a:schemeClr>
                </a:solidFill>
              </a14:hiddenFill>
            </a:ext>
          </a:extLst>
        </p:spPr>
        <p:txBody>
          <a:bodyPr lIns="72000" rIns="72000" rtlCol="0" anchor="ctr">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r>
              <a:rPr kumimoji="0" lang="nl-NL" sz="1000" b="1"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rPr>
              <a:t>Reiz</a:t>
            </a:r>
            <a:r>
              <a:rPr lang="nl-NL" sz="1000" b="1" dirty="0" err="1">
                <a:solidFill>
                  <a:srgbClr val="000000"/>
                </a:solidFill>
                <a:latin typeface="Corbel" panose="020B0503020204020204" pitchFamily="34" charset="0"/>
                <a:cs typeface="+mn-cs"/>
              </a:rPr>
              <a:t>igerskm</a:t>
            </a:r>
            <a:r>
              <a:rPr lang="nl-NL" sz="1000" b="1" dirty="0">
                <a:solidFill>
                  <a:srgbClr val="000000"/>
                </a:solidFill>
                <a:latin typeface="Corbel" panose="020B0503020204020204" pitchFamily="34" charset="0"/>
                <a:cs typeface="+mn-cs"/>
              </a:rPr>
              <a:t> op nieuw</a:t>
            </a:r>
            <a:r>
              <a:rPr lang="en-NL" sz="1000" b="1" dirty="0">
                <a:solidFill>
                  <a:srgbClr val="000000"/>
                </a:solidFill>
                <a:latin typeface="Corbel" panose="020B0503020204020204" pitchFamily="34" charset="0"/>
                <a:cs typeface="+mn-cs"/>
              </a:rPr>
              <a:t> </a:t>
            </a:r>
            <a:r>
              <a:rPr lang="nl-NL" sz="1000" b="1" dirty="0">
                <a:solidFill>
                  <a:srgbClr val="000000"/>
                </a:solidFill>
                <a:latin typeface="Corbel" panose="020B0503020204020204" pitchFamily="34" charset="0"/>
                <a:cs typeface="+mn-cs"/>
              </a:rPr>
              <a:t>t</a:t>
            </a:r>
            <a:r>
              <a:rPr lang="en-NL" sz="1000" b="1" dirty="0">
                <a:solidFill>
                  <a:srgbClr val="000000"/>
                </a:solidFill>
                <a:latin typeface="Corbel" panose="020B0503020204020204" pitchFamily="34" charset="0"/>
                <a:cs typeface="+mn-cs"/>
              </a:rPr>
              <a:t>r</a:t>
            </a:r>
            <a:r>
              <a:rPr lang="nl-NL" sz="1000" b="1" dirty="0">
                <a:solidFill>
                  <a:srgbClr val="000000"/>
                </a:solidFill>
                <a:latin typeface="Corbel" panose="020B0503020204020204" pitchFamily="34" charset="0"/>
                <a:cs typeface="+mn-cs"/>
              </a:rPr>
              <a:t>a</a:t>
            </a:r>
            <a:r>
              <a:rPr lang="en-NL" sz="1000" b="1" dirty="0" err="1">
                <a:solidFill>
                  <a:srgbClr val="000000"/>
                </a:solidFill>
                <a:latin typeface="Corbel" panose="020B0503020204020204" pitchFamily="34" charset="0"/>
                <a:cs typeface="+mn-cs"/>
              </a:rPr>
              <a:t>cé</a:t>
            </a:r>
            <a:r>
              <a:rPr lang="en-NL" sz="1000" b="1" dirty="0">
                <a:solidFill>
                  <a:srgbClr val="000000"/>
                </a:solidFill>
                <a:latin typeface="Corbel" panose="020B0503020204020204" pitchFamily="34" charset="0"/>
                <a:cs typeface="+mn-cs"/>
              </a:rPr>
              <a:t> </a:t>
            </a:r>
            <a:r>
              <a:rPr lang="nl-NL" sz="1000" b="1" dirty="0">
                <a:solidFill>
                  <a:srgbClr val="000000"/>
                </a:solidFill>
                <a:latin typeface="Corbel" panose="020B0503020204020204" pitchFamily="34" charset="0"/>
                <a:cs typeface="+mn-cs"/>
              </a:rPr>
              <a:t> </a:t>
            </a:r>
            <a:br>
              <a:rPr lang="nl-NL" sz="1000" b="1" dirty="0">
                <a:solidFill>
                  <a:srgbClr val="000000"/>
                </a:solidFill>
                <a:latin typeface="Corbel" panose="020B0503020204020204" pitchFamily="34" charset="0"/>
                <a:cs typeface="+mn-cs"/>
              </a:rPr>
            </a:br>
            <a:r>
              <a:rPr lang="nl-NL" sz="1000" dirty="0">
                <a:solidFill>
                  <a:srgbClr val="000000"/>
                </a:solidFill>
                <a:latin typeface="Corbel" panose="020B0503020204020204" pitchFamily="34" charset="0"/>
                <a:cs typeface="+mn-cs"/>
              </a:rPr>
              <a:t>Het aantal verwachte </a:t>
            </a:r>
            <a:r>
              <a:rPr lang="nl-NL" sz="1000" dirty="0" err="1">
                <a:solidFill>
                  <a:srgbClr val="000000"/>
                </a:solidFill>
                <a:latin typeface="Corbel" panose="020B0503020204020204" pitchFamily="34" charset="0"/>
                <a:cs typeface="+mn-cs"/>
              </a:rPr>
              <a:t>reizigerskm</a:t>
            </a:r>
            <a:r>
              <a:rPr lang="nl-NL" sz="1000" dirty="0">
                <a:solidFill>
                  <a:srgbClr val="000000"/>
                </a:solidFill>
                <a:latin typeface="Corbel" panose="020B0503020204020204" pitchFamily="34" charset="0"/>
                <a:cs typeface="+mn-cs"/>
              </a:rPr>
              <a:t> is bepalend voor de reizigersopbrengsten. </a:t>
            </a: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29" name="Group 28">
            <a:extLst>
              <a:ext uri="{FF2B5EF4-FFF2-40B4-BE49-F238E27FC236}">
                <a16:creationId xmlns:a16="http://schemas.microsoft.com/office/drawing/2014/main" id="{18B22C86-20D2-43E5-BB16-C83D1FC09144}"/>
              </a:ext>
            </a:extLst>
          </p:cNvPr>
          <p:cNvGrpSpPr/>
          <p:nvPr/>
        </p:nvGrpSpPr>
        <p:grpSpPr>
          <a:xfrm>
            <a:off x="4147344" y="5826260"/>
            <a:ext cx="7282974" cy="290273"/>
            <a:chOff x="4147344" y="5866195"/>
            <a:chExt cx="7282974" cy="173674"/>
          </a:xfrm>
        </p:grpSpPr>
        <p:cxnSp>
          <p:nvCxnSpPr>
            <p:cNvPr id="273" name="Straight Arrow Connector 272">
              <a:extLst>
                <a:ext uri="{FF2B5EF4-FFF2-40B4-BE49-F238E27FC236}">
                  <a16:creationId xmlns:a16="http://schemas.microsoft.com/office/drawing/2014/main" id="{DB7E9B70-E967-49FB-AC85-56581FCD30C8}"/>
                </a:ext>
              </a:extLst>
            </p:cNvPr>
            <p:cNvCxnSpPr/>
            <p:nvPr/>
          </p:nvCxnSpPr>
          <p:spPr>
            <a:xfrm>
              <a:off x="435542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4" name="Straight Arrow Connector 273">
              <a:extLst>
                <a:ext uri="{FF2B5EF4-FFF2-40B4-BE49-F238E27FC236}">
                  <a16:creationId xmlns:a16="http://schemas.microsoft.com/office/drawing/2014/main" id="{55F065A2-DA12-464A-AAB9-83C0DEE2FEEA}"/>
                </a:ext>
              </a:extLst>
            </p:cNvPr>
            <p:cNvCxnSpPr/>
            <p:nvPr/>
          </p:nvCxnSpPr>
          <p:spPr>
            <a:xfrm>
              <a:off x="456351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5" name="Straight Arrow Connector 274">
              <a:extLst>
                <a:ext uri="{FF2B5EF4-FFF2-40B4-BE49-F238E27FC236}">
                  <a16:creationId xmlns:a16="http://schemas.microsoft.com/office/drawing/2014/main" id="{CC340FF0-7D29-4A99-9710-A102BC15E2AD}"/>
                </a:ext>
              </a:extLst>
            </p:cNvPr>
            <p:cNvCxnSpPr/>
            <p:nvPr/>
          </p:nvCxnSpPr>
          <p:spPr>
            <a:xfrm>
              <a:off x="477159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6" name="Straight Arrow Connector 275">
              <a:extLst>
                <a:ext uri="{FF2B5EF4-FFF2-40B4-BE49-F238E27FC236}">
                  <a16:creationId xmlns:a16="http://schemas.microsoft.com/office/drawing/2014/main" id="{49A32F14-20A3-4666-8A8C-E3DE071DCC9D}"/>
                </a:ext>
              </a:extLst>
            </p:cNvPr>
            <p:cNvCxnSpPr/>
            <p:nvPr/>
          </p:nvCxnSpPr>
          <p:spPr>
            <a:xfrm>
              <a:off x="497968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a:extLst>
                <a:ext uri="{FF2B5EF4-FFF2-40B4-BE49-F238E27FC236}">
                  <a16:creationId xmlns:a16="http://schemas.microsoft.com/office/drawing/2014/main" id="{45CEC5C0-4E3A-4317-8608-C1FFE094E10B}"/>
                </a:ext>
              </a:extLst>
            </p:cNvPr>
            <p:cNvCxnSpPr/>
            <p:nvPr/>
          </p:nvCxnSpPr>
          <p:spPr>
            <a:xfrm>
              <a:off x="518776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F6FDE4A4-186E-4797-9D0D-06619D85E44F}"/>
                </a:ext>
              </a:extLst>
            </p:cNvPr>
            <p:cNvCxnSpPr/>
            <p:nvPr/>
          </p:nvCxnSpPr>
          <p:spPr>
            <a:xfrm>
              <a:off x="414734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a:extLst>
                <a:ext uri="{FF2B5EF4-FFF2-40B4-BE49-F238E27FC236}">
                  <a16:creationId xmlns:a16="http://schemas.microsoft.com/office/drawing/2014/main" id="{1BB73A17-41A2-460C-BF3F-BBADB9225601}"/>
                </a:ext>
              </a:extLst>
            </p:cNvPr>
            <p:cNvCxnSpPr/>
            <p:nvPr/>
          </p:nvCxnSpPr>
          <p:spPr>
            <a:xfrm>
              <a:off x="539585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9" name="Straight Arrow Connector 268">
              <a:extLst>
                <a:ext uri="{FF2B5EF4-FFF2-40B4-BE49-F238E27FC236}">
                  <a16:creationId xmlns:a16="http://schemas.microsoft.com/office/drawing/2014/main" id="{0AF4EF08-8596-471E-A104-47FC24A54BE3}"/>
                </a:ext>
              </a:extLst>
            </p:cNvPr>
            <p:cNvCxnSpPr/>
            <p:nvPr/>
          </p:nvCxnSpPr>
          <p:spPr>
            <a:xfrm>
              <a:off x="560393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0" name="Straight Arrow Connector 269">
              <a:extLst>
                <a:ext uri="{FF2B5EF4-FFF2-40B4-BE49-F238E27FC236}">
                  <a16:creationId xmlns:a16="http://schemas.microsoft.com/office/drawing/2014/main" id="{1A11B99A-9B49-4913-AA49-98B8DD3C9163}"/>
                </a:ext>
              </a:extLst>
            </p:cNvPr>
            <p:cNvCxnSpPr/>
            <p:nvPr/>
          </p:nvCxnSpPr>
          <p:spPr>
            <a:xfrm>
              <a:off x="581202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1" name="Straight Arrow Connector 270">
              <a:extLst>
                <a:ext uri="{FF2B5EF4-FFF2-40B4-BE49-F238E27FC236}">
                  <a16:creationId xmlns:a16="http://schemas.microsoft.com/office/drawing/2014/main" id="{5279D91F-E535-4A8E-8280-AD5A5F00EEE3}"/>
                </a:ext>
              </a:extLst>
            </p:cNvPr>
            <p:cNvCxnSpPr/>
            <p:nvPr/>
          </p:nvCxnSpPr>
          <p:spPr>
            <a:xfrm>
              <a:off x="602010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72" name="Straight Arrow Connector 271">
              <a:extLst>
                <a:ext uri="{FF2B5EF4-FFF2-40B4-BE49-F238E27FC236}">
                  <a16:creationId xmlns:a16="http://schemas.microsoft.com/office/drawing/2014/main" id="{6338D08B-1AE9-444B-BA1D-CBA4A37F93D0}"/>
                </a:ext>
              </a:extLst>
            </p:cNvPr>
            <p:cNvCxnSpPr/>
            <p:nvPr/>
          </p:nvCxnSpPr>
          <p:spPr>
            <a:xfrm>
              <a:off x="622819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3" name="Straight Arrow Connector 262">
              <a:extLst>
                <a:ext uri="{FF2B5EF4-FFF2-40B4-BE49-F238E27FC236}">
                  <a16:creationId xmlns:a16="http://schemas.microsoft.com/office/drawing/2014/main" id="{E31F2D12-1BDA-48AB-9F86-5EA1BC7DEC20}"/>
                </a:ext>
              </a:extLst>
            </p:cNvPr>
            <p:cNvCxnSpPr/>
            <p:nvPr/>
          </p:nvCxnSpPr>
          <p:spPr>
            <a:xfrm>
              <a:off x="643627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4" name="Straight Arrow Connector 263">
              <a:extLst>
                <a:ext uri="{FF2B5EF4-FFF2-40B4-BE49-F238E27FC236}">
                  <a16:creationId xmlns:a16="http://schemas.microsoft.com/office/drawing/2014/main" id="{88E95CA8-4D22-4DC2-B847-C90B23652D09}"/>
                </a:ext>
              </a:extLst>
            </p:cNvPr>
            <p:cNvCxnSpPr/>
            <p:nvPr/>
          </p:nvCxnSpPr>
          <p:spPr>
            <a:xfrm>
              <a:off x="664436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5" name="Straight Arrow Connector 264">
              <a:extLst>
                <a:ext uri="{FF2B5EF4-FFF2-40B4-BE49-F238E27FC236}">
                  <a16:creationId xmlns:a16="http://schemas.microsoft.com/office/drawing/2014/main" id="{717DCF4B-60A8-4957-8D2A-1FF1F6BEEE2C}"/>
                </a:ext>
              </a:extLst>
            </p:cNvPr>
            <p:cNvCxnSpPr/>
            <p:nvPr/>
          </p:nvCxnSpPr>
          <p:spPr>
            <a:xfrm>
              <a:off x="685244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6" name="Straight Arrow Connector 265">
              <a:extLst>
                <a:ext uri="{FF2B5EF4-FFF2-40B4-BE49-F238E27FC236}">
                  <a16:creationId xmlns:a16="http://schemas.microsoft.com/office/drawing/2014/main" id="{031B7A24-078C-4D55-A361-3AE23D74BE6C}"/>
                </a:ext>
              </a:extLst>
            </p:cNvPr>
            <p:cNvCxnSpPr/>
            <p:nvPr/>
          </p:nvCxnSpPr>
          <p:spPr>
            <a:xfrm>
              <a:off x="706053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7" name="Straight Arrow Connector 266">
              <a:extLst>
                <a:ext uri="{FF2B5EF4-FFF2-40B4-BE49-F238E27FC236}">
                  <a16:creationId xmlns:a16="http://schemas.microsoft.com/office/drawing/2014/main" id="{D13EA5A3-4D33-4397-BB54-D950FD2A8E60}"/>
                </a:ext>
              </a:extLst>
            </p:cNvPr>
            <p:cNvCxnSpPr/>
            <p:nvPr/>
          </p:nvCxnSpPr>
          <p:spPr>
            <a:xfrm>
              <a:off x="726861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8" name="Straight Arrow Connector 257">
              <a:extLst>
                <a:ext uri="{FF2B5EF4-FFF2-40B4-BE49-F238E27FC236}">
                  <a16:creationId xmlns:a16="http://schemas.microsoft.com/office/drawing/2014/main" id="{D9DB1683-F504-403C-B0C3-7F96FD3393B1}"/>
                </a:ext>
              </a:extLst>
            </p:cNvPr>
            <p:cNvCxnSpPr/>
            <p:nvPr/>
          </p:nvCxnSpPr>
          <p:spPr>
            <a:xfrm>
              <a:off x="747670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9" name="Straight Arrow Connector 258">
              <a:extLst>
                <a:ext uri="{FF2B5EF4-FFF2-40B4-BE49-F238E27FC236}">
                  <a16:creationId xmlns:a16="http://schemas.microsoft.com/office/drawing/2014/main" id="{13493833-89F3-4B73-B4FA-6FCD9785111B}"/>
                </a:ext>
              </a:extLst>
            </p:cNvPr>
            <p:cNvCxnSpPr/>
            <p:nvPr/>
          </p:nvCxnSpPr>
          <p:spPr>
            <a:xfrm>
              <a:off x="768478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0" name="Straight Arrow Connector 259">
              <a:extLst>
                <a:ext uri="{FF2B5EF4-FFF2-40B4-BE49-F238E27FC236}">
                  <a16:creationId xmlns:a16="http://schemas.microsoft.com/office/drawing/2014/main" id="{65B6A197-A528-498E-93DB-A167E4F01B9A}"/>
                </a:ext>
              </a:extLst>
            </p:cNvPr>
            <p:cNvCxnSpPr/>
            <p:nvPr/>
          </p:nvCxnSpPr>
          <p:spPr>
            <a:xfrm>
              <a:off x="789287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1" name="Straight Arrow Connector 260">
              <a:extLst>
                <a:ext uri="{FF2B5EF4-FFF2-40B4-BE49-F238E27FC236}">
                  <a16:creationId xmlns:a16="http://schemas.microsoft.com/office/drawing/2014/main" id="{A9A54D28-41F9-415F-B576-871F390AEB20}"/>
                </a:ext>
              </a:extLst>
            </p:cNvPr>
            <p:cNvCxnSpPr/>
            <p:nvPr/>
          </p:nvCxnSpPr>
          <p:spPr>
            <a:xfrm>
              <a:off x="810095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a:extLst>
                <a:ext uri="{FF2B5EF4-FFF2-40B4-BE49-F238E27FC236}">
                  <a16:creationId xmlns:a16="http://schemas.microsoft.com/office/drawing/2014/main" id="{EDFFF26E-EB22-496B-854E-3A3CA7960D8E}"/>
                </a:ext>
              </a:extLst>
            </p:cNvPr>
            <p:cNvCxnSpPr/>
            <p:nvPr/>
          </p:nvCxnSpPr>
          <p:spPr>
            <a:xfrm>
              <a:off x="830904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3" name="Straight Arrow Connector 252">
              <a:extLst>
                <a:ext uri="{FF2B5EF4-FFF2-40B4-BE49-F238E27FC236}">
                  <a16:creationId xmlns:a16="http://schemas.microsoft.com/office/drawing/2014/main" id="{BA9ABDC4-EB95-47CC-8AC9-F69A41D1C123}"/>
                </a:ext>
              </a:extLst>
            </p:cNvPr>
            <p:cNvCxnSpPr/>
            <p:nvPr/>
          </p:nvCxnSpPr>
          <p:spPr>
            <a:xfrm>
              <a:off x="851712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4" name="Straight Arrow Connector 253">
              <a:extLst>
                <a:ext uri="{FF2B5EF4-FFF2-40B4-BE49-F238E27FC236}">
                  <a16:creationId xmlns:a16="http://schemas.microsoft.com/office/drawing/2014/main" id="{529F5BE1-AC4B-4B33-B02D-5B3392CA0604}"/>
                </a:ext>
              </a:extLst>
            </p:cNvPr>
            <p:cNvCxnSpPr/>
            <p:nvPr/>
          </p:nvCxnSpPr>
          <p:spPr>
            <a:xfrm>
              <a:off x="872521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FC4ABC2A-3F23-4301-8EED-DDFDCD477A68}"/>
                </a:ext>
              </a:extLst>
            </p:cNvPr>
            <p:cNvCxnSpPr/>
            <p:nvPr/>
          </p:nvCxnSpPr>
          <p:spPr>
            <a:xfrm>
              <a:off x="893329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6" name="Straight Arrow Connector 255">
              <a:extLst>
                <a:ext uri="{FF2B5EF4-FFF2-40B4-BE49-F238E27FC236}">
                  <a16:creationId xmlns:a16="http://schemas.microsoft.com/office/drawing/2014/main" id="{DA48DF9B-4270-40C0-8F29-363BCFBF6AB8}"/>
                </a:ext>
              </a:extLst>
            </p:cNvPr>
            <p:cNvCxnSpPr/>
            <p:nvPr/>
          </p:nvCxnSpPr>
          <p:spPr>
            <a:xfrm>
              <a:off x="914138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7" name="Straight Arrow Connector 256">
              <a:extLst>
                <a:ext uri="{FF2B5EF4-FFF2-40B4-BE49-F238E27FC236}">
                  <a16:creationId xmlns:a16="http://schemas.microsoft.com/office/drawing/2014/main" id="{1612563D-EA26-4651-AB21-7BD4E74E62AE}"/>
                </a:ext>
              </a:extLst>
            </p:cNvPr>
            <p:cNvCxnSpPr/>
            <p:nvPr/>
          </p:nvCxnSpPr>
          <p:spPr>
            <a:xfrm>
              <a:off x="934946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8" name="Straight Arrow Connector 247">
              <a:extLst>
                <a:ext uri="{FF2B5EF4-FFF2-40B4-BE49-F238E27FC236}">
                  <a16:creationId xmlns:a16="http://schemas.microsoft.com/office/drawing/2014/main" id="{F6C52106-ADBF-4A51-B176-8B323ABB90CD}"/>
                </a:ext>
              </a:extLst>
            </p:cNvPr>
            <p:cNvCxnSpPr/>
            <p:nvPr/>
          </p:nvCxnSpPr>
          <p:spPr>
            <a:xfrm>
              <a:off x="955755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9" name="Straight Arrow Connector 248">
              <a:extLst>
                <a:ext uri="{FF2B5EF4-FFF2-40B4-BE49-F238E27FC236}">
                  <a16:creationId xmlns:a16="http://schemas.microsoft.com/office/drawing/2014/main" id="{65132D30-9910-464E-AA36-DF0EDCBA17DE}"/>
                </a:ext>
              </a:extLst>
            </p:cNvPr>
            <p:cNvCxnSpPr/>
            <p:nvPr/>
          </p:nvCxnSpPr>
          <p:spPr>
            <a:xfrm>
              <a:off x="976563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0" name="Straight Arrow Connector 249">
              <a:extLst>
                <a:ext uri="{FF2B5EF4-FFF2-40B4-BE49-F238E27FC236}">
                  <a16:creationId xmlns:a16="http://schemas.microsoft.com/office/drawing/2014/main" id="{A9CA2B17-3ECA-483B-AE5B-2C33A9C8A4FB}"/>
                </a:ext>
              </a:extLst>
            </p:cNvPr>
            <p:cNvCxnSpPr/>
            <p:nvPr/>
          </p:nvCxnSpPr>
          <p:spPr>
            <a:xfrm>
              <a:off x="997372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1" name="Straight Arrow Connector 250">
              <a:extLst>
                <a:ext uri="{FF2B5EF4-FFF2-40B4-BE49-F238E27FC236}">
                  <a16:creationId xmlns:a16="http://schemas.microsoft.com/office/drawing/2014/main" id="{F9C8D2ED-A628-4CE6-BDD9-2864DD5C743B}"/>
                </a:ext>
              </a:extLst>
            </p:cNvPr>
            <p:cNvCxnSpPr/>
            <p:nvPr/>
          </p:nvCxnSpPr>
          <p:spPr>
            <a:xfrm>
              <a:off x="1018180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52" name="Straight Arrow Connector 251">
              <a:extLst>
                <a:ext uri="{FF2B5EF4-FFF2-40B4-BE49-F238E27FC236}">
                  <a16:creationId xmlns:a16="http://schemas.microsoft.com/office/drawing/2014/main" id="{08250490-3555-4D7F-A972-38902FE6C431}"/>
                </a:ext>
              </a:extLst>
            </p:cNvPr>
            <p:cNvCxnSpPr/>
            <p:nvPr/>
          </p:nvCxnSpPr>
          <p:spPr>
            <a:xfrm>
              <a:off x="1038989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2" name="Straight Arrow Connector 241">
              <a:extLst>
                <a:ext uri="{FF2B5EF4-FFF2-40B4-BE49-F238E27FC236}">
                  <a16:creationId xmlns:a16="http://schemas.microsoft.com/office/drawing/2014/main" id="{D869E201-3C4B-4EAF-AAB3-3556819001D3}"/>
                </a:ext>
              </a:extLst>
            </p:cNvPr>
            <p:cNvCxnSpPr/>
            <p:nvPr/>
          </p:nvCxnSpPr>
          <p:spPr>
            <a:xfrm>
              <a:off x="1059797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3" name="Straight Arrow Connector 242">
              <a:extLst>
                <a:ext uri="{FF2B5EF4-FFF2-40B4-BE49-F238E27FC236}">
                  <a16:creationId xmlns:a16="http://schemas.microsoft.com/office/drawing/2014/main" id="{FC1CF98B-E380-4F1E-952D-7BC332F3DA54}"/>
                </a:ext>
              </a:extLst>
            </p:cNvPr>
            <p:cNvCxnSpPr/>
            <p:nvPr/>
          </p:nvCxnSpPr>
          <p:spPr>
            <a:xfrm>
              <a:off x="1080606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4" name="Straight Arrow Connector 243">
              <a:extLst>
                <a:ext uri="{FF2B5EF4-FFF2-40B4-BE49-F238E27FC236}">
                  <a16:creationId xmlns:a16="http://schemas.microsoft.com/office/drawing/2014/main" id="{1268A6D9-DDC8-49B0-B85F-AC874D86545F}"/>
                </a:ext>
              </a:extLst>
            </p:cNvPr>
            <p:cNvCxnSpPr/>
            <p:nvPr/>
          </p:nvCxnSpPr>
          <p:spPr>
            <a:xfrm>
              <a:off x="11014149"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5" name="Straight Arrow Connector 244">
              <a:extLst>
                <a:ext uri="{FF2B5EF4-FFF2-40B4-BE49-F238E27FC236}">
                  <a16:creationId xmlns:a16="http://schemas.microsoft.com/office/drawing/2014/main" id="{D23296BF-A05E-4C39-8141-B30D3A1CDA92}"/>
                </a:ext>
              </a:extLst>
            </p:cNvPr>
            <p:cNvCxnSpPr/>
            <p:nvPr/>
          </p:nvCxnSpPr>
          <p:spPr>
            <a:xfrm>
              <a:off x="11222234"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246" name="Straight Arrow Connector 245">
              <a:extLst>
                <a:ext uri="{FF2B5EF4-FFF2-40B4-BE49-F238E27FC236}">
                  <a16:creationId xmlns:a16="http://schemas.microsoft.com/office/drawing/2014/main" id="{8DD56F4E-C7CE-43F6-9D1D-7747337D6DF7}"/>
                </a:ext>
              </a:extLst>
            </p:cNvPr>
            <p:cNvCxnSpPr/>
            <p:nvPr/>
          </p:nvCxnSpPr>
          <p:spPr>
            <a:xfrm>
              <a:off x="11430318" y="5866195"/>
              <a:ext cx="0" cy="173674"/>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pSp>
      <p:sp>
        <p:nvSpPr>
          <p:cNvPr id="284" name="Rectangle 283">
            <a:extLst>
              <a:ext uri="{FF2B5EF4-FFF2-40B4-BE49-F238E27FC236}">
                <a16:creationId xmlns:a16="http://schemas.microsoft.com/office/drawing/2014/main" id="{188E8A1A-081D-44E3-B4E7-DEA0D91F7127}"/>
              </a:ext>
            </a:extLst>
          </p:cNvPr>
          <p:cNvSpPr/>
          <p:nvPr/>
        </p:nvSpPr>
        <p:spPr>
          <a:xfrm>
            <a:off x="7317813" y="5860525"/>
            <a:ext cx="916883" cy="147002"/>
          </a:xfrm>
          <a:prstGeom prst="rect">
            <a:avLst/>
          </a:prstGeom>
          <a:solidFill>
            <a:srgbClr val="A6A6A6"/>
          </a:solidFill>
          <a:ln>
            <a:solidFill>
              <a:schemeClr val="accent6"/>
            </a:solidFill>
          </a:ln>
        </p:spPr>
        <p:txBody>
          <a:bodyPr lIns="36000" tIns="36000" rIns="36000" bIns="3600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erdiscontering</a:t>
            </a:r>
            <a:endParaRPr kumimoji="0" lang="en-NL" sz="1000" b="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sp>
        <p:nvSpPr>
          <p:cNvPr id="7" name="Rectangle 6" hidden="1">
            <a:extLst>
              <a:ext uri="{FF2B5EF4-FFF2-40B4-BE49-F238E27FC236}">
                <a16:creationId xmlns:a16="http://schemas.microsoft.com/office/drawing/2014/main" id="{D16076EB-CA63-4B52-AC8B-B4DC4311D8BE}"/>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indent="0">
              <a:buClr>
                <a:schemeClr val="tx2"/>
              </a:buClr>
              <a:buNone/>
            </a:pPr>
            <a:endParaRPr lang="nl-NL" sz="800" b="1" strike="noStrike" kern="1200" spc="0" normalizeH="0" noProof="0" dirty="0">
              <a:ln>
                <a:noFill/>
              </a:ln>
              <a:effectLst/>
              <a:uLnTx/>
              <a:uFillTx/>
              <a:latin typeface="+mn-lt"/>
              <a:sym typeface="+mn-lt"/>
            </a:endParaRPr>
          </a:p>
        </p:txBody>
      </p:sp>
    </p:spTree>
    <p:extLst>
      <p:ext uri="{BB962C8B-B14F-4D97-AF65-F5344CB8AC3E}">
        <p14:creationId xmlns:p14="http://schemas.microsoft.com/office/powerpoint/2010/main" val="2024576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0D33423B-074C-4649-A813-2794458563F6}"/>
              </a:ext>
            </a:extLst>
          </p:cNvPr>
          <p:cNvGraphicFramePr>
            <a:graphicFrameLocks noChangeAspect="1"/>
          </p:cNvGraphicFramePr>
          <p:nvPr>
            <p:custDataLst>
              <p:tags r:id="rId1"/>
            </p:custDataLst>
            <p:extLst>
              <p:ext uri="{D42A27DB-BD31-4B8C-83A1-F6EECF244321}">
                <p14:modId xmlns:p14="http://schemas.microsoft.com/office/powerpoint/2010/main" val="405415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2" imgW="425" imgH="424" progId="TCLayout.ActiveDocument.1">
                  <p:embed/>
                </p:oleObj>
              </mc:Choice>
              <mc:Fallback>
                <p:oleObj name="think-cell Slide" r:id="rId42" imgW="425" imgH="424" progId="TCLayout.ActiveDocument.1">
                  <p:embed/>
                  <p:pic>
                    <p:nvPicPr>
                      <p:cNvPr id="18" name="Object 17" hidden="1">
                        <a:extLst>
                          <a:ext uri="{FF2B5EF4-FFF2-40B4-BE49-F238E27FC236}">
                            <a16:creationId xmlns:a16="http://schemas.microsoft.com/office/drawing/2014/main" id="{0D33423B-074C-4649-A813-2794458563F6}"/>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91" name="Rectangle 90">
            <a:extLst>
              <a:ext uri="{FF2B5EF4-FFF2-40B4-BE49-F238E27FC236}">
                <a16:creationId xmlns:a16="http://schemas.microsoft.com/office/drawing/2014/main" id="{760356EA-FBC7-4992-8045-2AD0A7F239BF}"/>
              </a:ext>
            </a:extLst>
          </p:cNvPr>
          <p:cNvSpPr/>
          <p:nvPr/>
        </p:nvSpPr>
        <p:spPr>
          <a:xfrm>
            <a:off x="670717" y="1702920"/>
            <a:ext cx="10862472" cy="903639"/>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dirty="0">
              <a:solidFill>
                <a:srgbClr val="000000"/>
              </a:solidFill>
              <a:latin typeface="Corbel" panose="020B0503020204020204" pitchFamily="34" charset="0"/>
              <a:cs typeface="+mn-cs"/>
            </a:endParaRPr>
          </a:p>
        </p:txBody>
      </p:sp>
      <p:sp>
        <p:nvSpPr>
          <p:cNvPr id="106" name="Rectangle 105">
            <a:extLst>
              <a:ext uri="{FF2B5EF4-FFF2-40B4-BE49-F238E27FC236}">
                <a16:creationId xmlns:a16="http://schemas.microsoft.com/office/drawing/2014/main" id="{E44BFA2B-7B66-45E8-A9D9-A105A2B7C38B}"/>
              </a:ext>
            </a:extLst>
          </p:cNvPr>
          <p:cNvSpPr/>
          <p:nvPr/>
        </p:nvSpPr>
        <p:spPr>
          <a:xfrm>
            <a:off x="670717" y="4893036"/>
            <a:ext cx="10862472" cy="903639"/>
          </a:xfrm>
          <a:prstGeom prst="rect">
            <a:avLst/>
          </a:prstGeom>
          <a:solidFill>
            <a:schemeClr val="bg1">
              <a:lumMod val="8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dirty="0">
              <a:solidFill>
                <a:srgbClr val="000000"/>
              </a:solidFill>
              <a:latin typeface="Corbel" panose="020B0503020204020204" pitchFamily="34" charset="0"/>
              <a:cs typeface="+mn-cs"/>
            </a:endParaRPr>
          </a:p>
        </p:txBody>
      </p:sp>
      <p:sp>
        <p:nvSpPr>
          <p:cNvPr id="111" name="Rectangle 110">
            <a:extLst>
              <a:ext uri="{FF2B5EF4-FFF2-40B4-BE49-F238E27FC236}">
                <a16:creationId xmlns:a16="http://schemas.microsoft.com/office/drawing/2014/main" id="{F1224636-B9AA-494B-A039-CF4493FA1C7D}"/>
              </a:ext>
            </a:extLst>
          </p:cNvPr>
          <p:cNvSpPr/>
          <p:nvPr/>
        </p:nvSpPr>
        <p:spPr>
          <a:xfrm>
            <a:off x="669925" y="2766729"/>
            <a:ext cx="10863263" cy="902984"/>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dirty="0">
              <a:solidFill>
                <a:srgbClr val="000000"/>
              </a:solidFill>
              <a:latin typeface="Corbel" panose="020B0503020204020204" pitchFamily="34" charset="0"/>
              <a:cs typeface="+mn-cs"/>
            </a:endParaRPr>
          </a:p>
        </p:txBody>
      </p:sp>
      <p:sp>
        <p:nvSpPr>
          <p:cNvPr id="115" name="Rectangle 114">
            <a:extLst>
              <a:ext uri="{FF2B5EF4-FFF2-40B4-BE49-F238E27FC236}">
                <a16:creationId xmlns:a16="http://schemas.microsoft.com/office/drawing/2014/main" id="{818B75B7-B320-4E78-8A2D-EEA70D18A6BF}"/>
              </a:ext>
            </a:extLst>
          </p:cNvPr>
          <p:cNvSpPr/>
          <p:nvPr/>
        </p:nvSpPr>
        <p:spPr>
          <a:xfrm>
            <a:off x="669925" y="3829883"/>
            <a:ext cx="10863263" cy="902984"/>
          </a:xfrm>
          <a:prstGeom prst="rect">
            <a:avLst/>
          </a:prstGeom>
          <a:solidFill>
            <a:schemeClr val="bg1">
              <a:lumMod val="95000"/>
            </a:schemeClr>
          </a:solidFill>
          <a:ln>
            <a:solidFill>
              <a:schemeClr val="bg1">
                <a:lumMod val="65000"/>
              </a:schemeClr>
            </a:solidFill>
          </a:ln>
        </p:spPr>
        <p:txBody>
          <a:bodyPr lIns="72000" rIns="72000" rtlCol="0" anchor="t">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lang="nl-NL" sz="1000" dirty="0">
              <a:solidFill>
                <a:srgbClr val="000000"/>
              </a:solidFill>
              <a:latin typeface="Corbel" panose="020B0503020204020204" pitchFamily="34" charset="0"/>
              <a:cs typeface="+mn-cs"/>
            </a:endParaRPr>
          </a:p>
        </p:txBody>
      </p:sp>
      <p:sp>
        <p:nvSpPr>
          <p:cNvPr id="16" name="Text Placeholder 15">
            <a:extLst>
              <a:ext uri="{FF2B5EF4-FFF2-40B4-BE49-F238E27FC236}">
                <a16:creationId xmlns:a16="http://schemas.microsoft.com/office/drawing/2014/main" id="{304318B0-938F-4057-8989-C6F4E0B1B8EF}"/>
              </a:ext>
            </a:extLst>
          </p:cNvPr>
          <p:cNvSpPr>
            <a:spLocks noGrp="1"/>
          </p:cNvSpPr>
          <p:nvPr>
            <p:ph type="body" sz="quarter" idx="20"/>
          </p:nvPr>
        </p:nvSpPr>
        <p:spPr/>
        <p:txBody>
          <a:bodyPr/>
          <a:lstStyle/>
          <a:p>
            <a:endParaRPr lang="nl-NL"/>
          </a:p>
        </p:txBody>
      </p:sp>
      <p:sp>
        <p:nvSpPr>
          <p:cNvPr id="7" name="Footer Placeholder 6">
            <a:extLst>
              <a:ext uri="{FF2B5EF4-FFF2-40B4-BE49-F238E27FC236}">
                <a16:creationId xmlns:a16="http://schemas.microsoft.com/office/drawing/2014/main" id="{1E3DB299-77FD-43B0-A5AE-582166E562C0}"/>
              </a:ext>
            </a:extLst>
          </p:cNvPr>
          <p:cNvSpPr>
            <a:spLocks noGrp="1"/>
          </p:cNvSpPr>
          <p:nvPr>
            <p:ph type="ftr" sz="quarter" idx="3"/>
          </p:nvPr>
        </p:nvSpPr>
        <p:spPr/>
        <p:txBody>
          <a:bodyPr/>
          <a:lstStyle/>
          <a:p>
            <a:r>
              <a:rPr lang="en-GB" dirty="0" err="1"/>
              <a:t>Bron</a:t>
            </a:r>
            <a:r>
              <a:rPr lang="en-GB" dirty="0"/>
              <a:t>: it’s public analyse </a:t>
            </a:r>
          </a:p>
        </p:txBody>
      </p:sp>
      <p:sp>
        <p:nvSpPr>
          <p:cNvPr id="6" name="Slide Number Placeholder 5">
            <a:extLst>
              <a:ext uri="{FF2B5EF4-FFF2-40B4-BE49-F238E27FC236}">
                <a16:creationId xmlns:a16="http://schemas.microsoft.com/office/drawing/2014/main" id="{0B336BE0-2D81-4E77-B240-882D4DD41CAD}"/>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sp>
        <p:nvSpPr>
          <p:cNvPr id="15" name="Text Placeholder 14">
            <a:extLst>
              <a:ext uri="{FF2B5EF4-FFF2-40B4-BE49-F238E27FC236}">
                <a16:creationId xmlns:a16="http://schemas.microsoft.com/office/drawing/2014/main" id="{9C14EAB5-D4EE-4077-8CEF-5168FE643FE0}"/>
              </a:ext>
            </a:extLst>
          </p:cNvPr>
          <p:cNvSpPr>
            <a:spLocks noGrp="1"/>
          </p:cNvSpPr>
          <p:nvPr>
            <p:ph type="body" sz="quarter" idx="14"/>
          </p:nvPr>
        </p:nvSpPr>
        <p:spPr/>
        <p:txBody>
          <a:bodyPr/>
          <a:lstStyle/>
          <a:p>
            <a:r>
              <a:rPr lang="nl-NL" dirty="0"/>
              <a:t>Overzicht</a:t>
            </a:r>
          </a:p>
        </p:txBody>
      </p:sp>
      <p:sp>
        <p:nvSpPr>
          <p:cNvPr id="14" name="Title 13">
            <a:extLst>
              <a:ext uri="{FF2B5EF4-FFF2-40B4-BE49-F238E27FC236}">
                <a16:creationId xmlns:a16="http://schemas.microsoft.com/office/drawing/2014/main" id="{5A5841D1-78CF-4C00-8E75-37D91E8B5CE7}"/>
              </a:ext>
            </a:extLst>
          </p:cNvPr>
          <p:cNvSpPr>
            <a:spLocks noGrp="1"/>
          </p:cNvSpPr>
          <p:nvPr>
            <p:ph type="title"/>
          </p:nvPr>
        </p:nvSpPr>
        <p:spPr/>
        <p:txBody>
          <a:bodyPr vert="horz"/>
          <a:lstStyle/>
          <a:p>
            <a:r>
              <a:rPr lang="nl-NL"/>
              <a:t>Casus metro</a:t>
            </a:r>
            <a:r>
              <a:rPr lang="en-NL"/>
              <a:t>-</a:t>
            </a:r>
            <a:r>
              <a:rPr lang="nl-NL"/>
              <a:t>uitbreiding – </a:t>
            </a:r>
            <a:r>
              <a:rPr lang="en-NL"/>
              <a:t>I</a:t>
            </a:r>
            <a:r>
              <a:rPr lang="nl-NL"/>
              <a:t>ndirecte </a:t>
            </a:r>
            <a:r>
              <a:rPr lang="nl-NL" dirty="0"/>
              <a:t>financiële kosten zijn verminderde opbrengsten van </a:t>
            </a:r>
            <a:r>
              <a:rPr lang="nl-NL"/>
              <a:t>andere </a:t>
            </a:r>
            <a:r>
              <a:rPr lang="en-NL"/>
              <a:t>OV</a:t>
            </a:r>
            <a:r>
              <a:rPr lang="nl-NL"/>
              <a:t>-aanbieders</a:t>
            </a:r>
            <a:endParaRPr lang="nl-NL" dirty="0"/>
          </a:p>
        </p:txBody>
      </p:sp>
      <p:sp>
        <p:nvSpPr>
          <p:cNvPr id="10" name="Rectangle 9">
            <a:extLst>
              <a:ext uri="{FF2B5EF4-FFF2-40B4-BE49-F238E27FC236}">
                <a16:creationId xmlns:a16="http://schemas.microsoft.com/office/drawing/2014/main" id="{71CD5539-77E0-4303-9052-B45CF761B217}"/>
              </a:ext>
            </a:extLst>
          </p:cNvPr>
          <p:cNvSpPr/>
          <p:nvPr/>
        </p:nvSpPr>
        <p:spPr>
          <a:xfrm>
            <a:off x="747057"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a:solidFill>
                  <a:srgbClr val="FFFFFF"/>
                </a:solidFill>
                <a:sym typeface="Corbel" panose="020B0503020204020204" pitchFamily="34" charset="0"/>
              </a:rPr>
              <a:t>1</a:t>
            </a:r>
            <a:endParaRPr lang="nl-NL" sz="1100" b="1" dirty="0">
              <a:solidFill>
                <a:srgbClr val="FFFFFF"/>
              </a:solidFill>
              <a:sym typeface="Corbel" panose="020B0503020204020204" pitchFamily="34" charset="0"/>
            </a:endParaRPr>
          </a:p>
        </p:txBody>
      </p:sp>
      <p:sp>
        <p:nvSpPr>
          <p:cNvPr id="11" name="Rectangle 10">
            <a:extLst>
              <a:ext uri="{FF2B5EF4-FFF2-40B4-BE49-F238E27FC236}">
                <a16:creationId xmlns:a16="http://schemas.microsoft.com/office/drawing/2014/main" id="{4DF18D6E-CF15-4457-97BF-8863034C2B20}"/>
              </a:ext>
            </a:extLst>
          </p:cNvPr>
          <p:cNvSpPr/>
          <p:nvPr/>
        </p:nvSpPr>
        <p:spPr>
          <a:xfrm>
            <a:off x="1361643" y="41563"/>
            <a:ext cx="3125831" cy="180000"/>
          </a:xfrm>
          <a:prstGeom prst="rect">
            <a:avLst/>
          </a:prstGeom>
          <a:noFill/>
          <a:ln w="9525">
            <a:noFill/>
          </a:ln>
          <a:extLst>
            <a:ext uri="{909E8E84-426E-40DD-AFC4-6F175D3DCCD1}">
              <a14:hiddenFill xmlns:a14="http://schemas.microsoft.com/office/drawing/2010/main">
                <a:solidFill>
                  <a:srgbClr val="DFDFD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rtl="0" eaLnBrk="1" fontAlgn="auto" latinLnBrk="0" hangingPunct="1">
              <a:lnSpc>
                <a:spcPct val="106000"/>
              </a:lnSpc>
              <a:spcBef>
                <a:spcPts val="0"/>
              </a:spcBef>
              <a:spcAft>
                <a:spcPts val="0"/>
              </a:spcAft>
              <a:buClr>
                <a:schemeClr val="dk1"/>
              </a:buClr>
              <a:buSzPts val="1200"/>
              <a:buFont typeface="Corbel"/>
              <a:buNone/>
              <a:tabLst/>
              <a:defRPr/>
            </a:pPr>
            <a:r>
              <a:rPr lang="nl-NL" sz="1000" b="1" dirty="0">
                <a:sym typeface="Corbel" panose="020B0503020204020204" pitchFamily="34" charset="0"/>
              </a:rPr>
              <a:t>Indirecte financiële kosten en baten</a:t>
            </a:r>
            <a:endParaRPr lang="nl-NL" sz="1000" b="0" dirty="0">
              <a:sym typeface="Corbel" panose="020B0503020204020204" pitchFamily="34" charset="0"/>
            </a:endParaRPr>
          </a:p>
        </p:txBody>
      </p:sp>
      <p:sp>
        <p:nvSpPr>
          <p:cNvPr id="12" name="Rectangle 11">
            <a:extLst>
              <a:ext uri="{FF2B5EF4-FFF2-40B4-BE49-F238E27FC236}">
                <a16:creationId xmlns:a16="http://schemas.microsoft.com/office/drawing/2014/main" id="{55CC838A-BB1D-4883-BDA7-2FEF5C4A20BF}"/>
              </a:ext>
            </a:extLst>
          </p:cNvPr>
          <p:cNvSpPr/>
          <p:nvPr/>
        </p:nvSpPr>
        <p:spPr>
          <a:xfrm>
            <a:off x="961661" y="41563"/>
            <a:ext cx="180000" cy="180000"/>
          </a:xfrm>
          <a:prstGeom prst="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2</a:t>
            </a:r>
          </a:p>
        </p:txBody>
      </p:sp>
      <p:sp>
        <p:nvSpPr>
          <p:cNvPr id="13" name="Rectangle 12">
            <a:extLst>
              <a:ext uri="{FF2B5EF4-FFF2-40B4-BE49-F238E27FC236}">
                <a16:creationId xmlns:a16="http://schemas.microsoft.com/office/drawing/2014/main" id="{8CA94CEA-99F6-4A49-B18E-7F64E065CDF4}"/>
              </a:ext>
            </a:extLst>
          </p:cNvPr>
          <p:cNvSpPr/>
          <p:nvPr/>
        </p:nvSpPr>
        <p:spPr>
          <a:xfrm>
            <a:off x="1182898"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3</a:t>
            </a:r>
            <a:endParaRPr kumimoji="0" lang="nl-NL" sz="1100" b="1" i="0" u="none" strike="noStrike" kern="1200" cap="none" spc="0" normalizeH="0" baseline="0" noProof="0" dirty="0">
              <a:ln>
                <a:noFill/>
              </a:ln>
              <a:solidFill>
                <a:srgbClr val="FFFFFF"/>
              </a:solidFill>
              <a:effectLst/>
              <a:uLnTx/>
              <a:uFillTx/>
              <a:sym typeface="Corbel" panose="020B0503020204020204" pitchFamily="34" charset="0"/>
            </a:endParaRPr>
          </a:p>
        </p:txBody>
      </p:sp>
      <p:pic>
        <p:nvPicPr>
          <p:cNvPr id="19" name="Graphic 18" descr="Bus">
            <a:extLst>
              <a:ext uri="{FF2B5EF4-FFF2-40B4-BE49-F238E27FC236}">
                <a16:creationId xmlns:a16="http://schemas.microsoft.com/office/drawing/2014/main" id="{26866E38-ACD9-4C10-ABF9-D6180B7B8916}"/>
              </a:ext>
            </a:extLst>
          </p:cNvPr>
          <p:cNvPicPr>
            <a:picLocks noChangeAspect="1"/>
          </p:cNvPicPr>
          <p:nvPr/>
        </p:nvPicPr>
        <p:blipFill>
          <a:blip r:embed="rId44">
            <a:extLst>
              <a:ext uri="{96DAC541-7B7A-43D3-8B79-37D633B846F1}">
                <asvg:svgBlip xmlns:asvg="http://schemas.microsoft.com/office/drawing/2016/SVG/main" r:embed="rId45"/>
              </a:ext>
            </a:extLst>
          </a:blip>
          <a:stretch>
            <a:fillRect/>
          </a:stretch>
        </p:blipFill>
        <p:spPr>
          <a:xfrm>
            <a:off x="882620" y="4146379"/>
            <a:ext cx="338082" cy="338082"/>
          </a:xfrm>
          <a:prstGeom prst="rect">
            <a:avLst/>
          </a:prstGeom>
        </p:spPr>
      </p:pic>
      <p:pic>
        <p:nvPicPr>
          <p:cNvPr id="20" name="Graphic 19" descr="Streetcar">
            <a:extLst>
              <a:ext uri="{FF2B5EF4-FFF2-40B4-BE49-F238E27FC236}">
                <a16:creationId xmlns:a16="http://schemas.microsoft.com/office/drawing/2014/main" id="{DD618EAB-CC72-461F-A9F0-DF8E9A1B47A4}"/>
              </a:ext>
            </a:extLst>
          </p:cNvPr>
          <p:cNvPicPr>
            <a:picLocks noChangeAspect="1"/>
          </p:cNvPicPr>
          <p:nvPr/>
        </p:nvPicPr>
        <p:blipFill rotWithShape="1">
          <a:blip r:embed="rId46">
            <a:extLst>
              <a:ext uri="{96DAC541-7B7A-43D3-8B79-37D633B846F1}">
                <asvg:svgBlip xmlns:asvg="http://schemas.microsoft.com/office/drawing/2016/SVG/main" r:embed="rId47"/>
              </a:ext>
            </a:extLst>
          </a:blip>
          <a:srcRect t="19633" b="1"/>
          <a:stretch/>
        </p:blipFill>
        <p:spPr>
          <a:xfrm>
            <a:off x="839302" y="2080299"/>
            <a:ext cx="352484" cy="283282"/>
          </a:xfrm>
          <a:prstGeom prst="rect">
            <a:avLst/>
          </a:prstGeom>
        </p:spPr>
      </p:pic>
      <p:cxnSp>
        <p:nvCxnSpPr>
          <p:cNvPr id="21" name="Straight Connector 20">
            <a:extLst>
              <a:ext uri="{FF2B5EF4-FFF2-40B4-BE49-F238E27FC236}">
                <a16:creationId xmlns:a16="http://schemas.microsoft.com/office/drawing/2014/main" id="{AE600D14-6700-4C71-B1FC-4D6FDB05FC59}"/>
              </a:ext>
            </a:extLst>
          </p:cNvPr>
          <p:cNvCxnSpPr>
            <a:cxnSpLocks/>
          </p:cNvCxnSpPr>
          <p:nvPr/>
        </p:nvCxnSpPr>
        <p:spPr>
          <a:xfrm>
            <a:off x="666746" y="3755444"/>
            <a:ext cx="1086247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F9EDF91-442A-4B0F-881E-20D1D5DBB17E}"/>
              </a:ext>
            </a:extLst>
          </p:cNvPr>
          <p:cNvCxnSpPr>
            <a:cxnSpLocks/>
          </p:cNvCxnSpPr>
          <p:nvPr/>
        </p:nvCxnSpPr>
        <p:spPr>
          <a:xfrm flipV="1">
            <a:off x="666746" y="2750255"/>
            <a:ext cx="10862473" cy="7511"/>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97AB315E-394C-459C-8166-94F27E4D9BE0}"/>
              </a:ext>
            </a:extLst>
          </p:cNvPr>
          <p:cNvGrpSpPr/>
          <p:nvPr/>
        </p:nvGrpSpPr>
        <p:grpSpPr>
          <a:xfrm>
            <a:off x="820695" y="3023078"/>
            <a:ext cx="362203" cy="390287"/>
            <a:chOff x="725606" y="2998447"/>
            <a:chExt cx="735016" cy="792007"/>
          </a:xfrm>
        </p:grpSpPr>
        <p:pic>
          <p:nvPicPr>
            <p:cNvPr id="26" name="Graphic 25" descr="Train">
              <a:extLst>
                <a:ext uri="{FF2B5EF4-FFF2-40B4-BE49-F238E27FC236}">
                  <a16:creationId xmlns:a16="http://schemas.microsoft.com/office/drawing/2014/main" id="{884961CF-B219-48F2-9725-AA0899F11DD9}"/>
                </a:ext>
              </a:extLst>
            </p:cNvPr>
            <p:cNvPicPr>
              <a:picLocks noChangeAspect="1"/>
            </p:cNvPicPr>
            <p:nvPr/>
          </p:nvPicPr>
          <p:blipFill>
            <a:blip r:embed="rId48">
              <a:extLst>
                <a:ext uri="{96DAC541-7B7A-43D3-8B79-37D633B846F1}">
                  <asvg:svgBlip xmlns:asvg="http://schemas.microsoft.com/office/drawing/2016/SVG/main" r:embed="rId49"/>
                </a:ext>
              </a:extLst>
            </a:blip>
            <a:stretch>
              <a:fillRect/>
            </a:stretch>
          </p:blipFill>
          <p:spPr>
            <a:xfrm>
              <a:off x="725609" y="3055441"/>
              <a:ext cx="735013" cy="735013"/>
            </a:xfrm>
            <a:prstGeom prst="rect">
              <a:avLst/>
            </a:prstGeom>
          </p:spPr>
        </p:pic>
        <p:pic>
          <p:nvPicPr>
            <p:cNvPr id="27" name="Graphic 26" descr="Streetcar">
              <a:extLst>
                <a:ext uri="{FF2B5EF4-FFF2-40B4-BE49-F238E27FC236}">
                  <a16:creationId xmlns:a16="http://schemas.microsoft.com/office/drawing/2014/main" id="{798DB99F-BA8D-47E1-A22B-6949D7CEB399}"/>
                </a:ext>
              </a:extLst>
            </p:cNvPr>
            <p:cNvPicPr>
              <a:picLocks noChangeAspect="1"/>
            </p:cNvPicPr>
            <p:nvPr/>
          </p:nvPicPr>
          <p:blipFill rotWithShape="1">
            <a:blip r:embed="rId46">
              <a:extLst>
                <a:ext uri="{96DAC541-7B7A-43D3-8B79-37D633B846F1}">
                  <asvg:svgBlip xmlns:asvg="http://schemas.microsoft.com/office/drawing/2016/SVG/main" r:embed="rId47"/>
                </a:ext>
              </a:extLst>
            </a:blip>
            <a:srcRect t="4891" b="81249"/>
            <a:stretch/>
          </p:blipFill>
          <p:spPr>
            <a:xfrm>
              <a:off x="725606" y="2998447"/>
              <a:ext cx="735013" cy="101876"/>
            </a:xfrm>
            <a:prstGeom prst="rect">
              <a:avLst/>
            </a:prstGeom>
          </p:spPr>
        </p:pic>
      </p:grpSp>
      <p:sp>
        <p:nvSpPr>
          <p:cNvPr id="28" name="Rectangle 27">
            <a:extLst>
              <a:ext uri="{FF2B5EF4-FFF2-40B4-BE49-F238E27FC236}">
                <a16:creationId xmlns:a16="http://schemas.microsoft.com/office/drawing/2014/main" id="{B3D1B0FA-155D-4924-BD9F-94D0EF162F0B}"/>
              </a:ext>
            </a:extLst>
          </p:cNvPr>
          <p:cNvSpPr/>
          <p:nvPr/>
        </p:nvSpPr>
        <p:spPr>
          <a:xfrm>
            <a:off x="1378113" y="2101290"/>
            <a:ext cx="609473" cy="241300"/>
          </a:xfrm>
          <a:prstGeom prst="rect">
            <a:avLst/>
          </a:prstGeom>
          <a:noFill/>
        </p:spPr>
        <p:txBody>
          <a:bodyPr lIns="0" tIns="36000" rIns="0" bIns="36000" rtlCol="0" anchor="ctr" anchorCtr="0">
            <a:noAutofit/>
          </a:bodyPr>
          <a:lstStyle/>
          <a:p>
            <a:pPr marL="0" indent="0" algn="ctr" defTabSz="685800" fontAlgn="auto">
              <a:lnSpc>
                <a:spcPct val="90000"/>
              </a:lnSpc>
              <a:spcBef>
                <a:spcPts val="750"/>
              </a:spcBef>
              <a:spcAft>
                <a:spcPts val="0"/>
              </a:spcAft>
              <a:buClr>
                <a:srgbClr val="FF0000"/>
              </a:buClr>
              <a:buNone/>
            </a:pPr>
            <a:r>
              <a:rPr lang="nl-NL" sz="1000" b="1" dirty="0">
                <a:latin typeface="Corbel" panose="020B0503020204020204" pitchFamily="34" charset="0"/>
                <a:cs typeface="+mn-cs"/>
              </a:rPr>
              <a:t>Tram</a:t>
            </a:r>
            <a:endParaRPr lang="de-DE" sz="1000" b="1" dirty="0">
              <a:latin typeface="Corbel" panose="020B0503020204020204" pitchFamily="34" charset="0"/>
              <a:cs typeface="+mn-cs"/>
            </a:endParaRPr>
          </a:p>
        </p:txBody>
      </p:sp>
      <p:sp>
        <p:nvSpPr>
          <p:cNvPr id="29" name="Rectangle 28">
            <a:extLst>
              <a:ext uri="{FF2B5EF4-FFF2-40B4-BE49-F238E27FC236}">
                <a16:creationId xmlns:a16="http://schemas.microsoft.com/office/drawing/2014/main" id="{663A0179-B1AF-4D4C-BFD1-1AEE08B95556}"/>
              </a:ext>
            </a:extLst>
          </p:cNvPr>
          <p:cNvSpPr/>
          <p:nvPr/>
        </p:nvSpPr>
        <p:spPr>
          <a:xfrm>
            <a:off x="1378113" y="3097571"/>
            <a:ext cx="609473" cy="241301"/>
          </a:xfrm>
          <a:prstGeom prst="rect">
            <a:avLst/>
          </a:prstGeom>
          <a:noFill/>
        </p:spPr>
        <p:txBody>
          <a:bodyPr lIns="0" tIns="36000" rIns="0" bIns="36000" rtlCol="0" anchor="ctr" anchorCtr="0">
            <a:noAutofit/>
          </a:bodyPr>
          <a:lstStyle/>
          <a:p>
            <a:pPr marL="0" indent="0" algn="ctr" defTabSz="685800" fontAlgn="auto">
              <a:lnSpc>
                <a:spcPct val="90000"/>
              </a:lnSpc>
              <a:spcBef>
                <a:spcPts val="750"/>
              </a:spcBef>
              <a:spcAft>
                <a:spcPts val="0"/>
              </a:spcAft>
              <a:buClr>
                <a:srgbClr val="FF0000"/>
              </a:buClr>
              <a:buNone/>
            </a:pPr>
            <a:r>
              <a:rPr lang="nl-NL" sz="1000" b="1" dirty="0">
                <a:latin typeface="Corbel" panose="020B0503020204020204" pitchFamily="34" charset="0"/>
                <a:cs typeface="+mn-cs"/>
              </a:rPr>
              <a:t>Trein</a:t>
            </a:r>
            <a:endParaRPr lang="de-DE" sz="1000" b="1" dirty="0">
              <a:latin typeface="Corbel" panose="020B0503020204020204" pitchFamily="34" charset="0"/>
              <a:cs typeface="+mn-cs"/>
            </a:endParaRPr>
          </a:p>
        </p:txBody>
      </p:sp>
      <p:sp>
        <p:nvSpPr>
          <p:cNvPr id="30" name="Rectangle 29">
            <a:extLst>
              <a:ext uri="{FF2B5EF4-FFF2-40B4-BE49-F238E27FC236}">
                <a16:creationId xmlns:a16="http://schemas.microsoft.com/office/drawing/2014/main" id="{C6F06AD5-50E6-42F9-86C4-BD195D116890}"/>
              </a:ext>
            </a:extLst>
          </p:cNvPr>
          <p:cNvSpPr/>
          <p:nvPr/>
        </p:nvSpPr>
        <p:spPr>
          <a:xfrm>
            <a:off x="1378113" y="4160725"/>
            <a:ext cx="609473" cy="241301"/>
          </a:xfrm>
          <a:prstGeom prst="rect">
            <a:avLst/>
          </a:prstGeom>
          <a:noFill/>
        </p:spPr>
        <p:txBody>
          <a:bodyPr lIns="0" tIns="36000" rIns="0" bIns="36000" rtlCol="0" anchor="ctr" anchorCtr="0">
            <a:noAutofit/>
          </a:bodyPr>
          <a:lstStyle/>
          <a:p>
            <a:pPr marL="0" indent="0" algn="ctr" defTabSz="685800" fontAlgn="auto">
              <a:lnSpc>
                <a:spcPct val="90000"/>
              </a:lnSpc>
              <a:spcBef>
                <a:spcPts val="750"/>
              </a:spcBef>
              <a:spcAft>
                <a:spcPts val="0"/>
              </a:spcAft>
              <a:buClr>
                <a:srgbClr val="FF0000"/>
              </a:buClr>
              <a:buNone/>
            </a:pPr>
            <a:r>
              <a:rPr lang="nl-NL" sz="1000" b="1" dirty="0">
                <a:latin typeface="Corbel" panose="020B0503020204020204" pitchFamily="34" charset="0"/>
                <a:cs typeface="+mn-cs"/>
              </a:rPr>
              <a:t>Bus</a:t>
            </a:r>
            <a:endParaRPr lang="de-DE" sz="1000" b="1" dirty="0">
              <a:latin typeface="Corbel" panose="020B0503020204020204" pitchFamily="34" charset="0"/>
              <a:cs typeface="+mn-cs"/>
            </a:endParaRPr>
          </a:p>
        </p:txBody>
      </p:sp>
      <p:sp>
        <p:nvSpPr>
          <p:cNvPr id="31" name="Rectangle 30">
            <a:extLst>
              <a:ext uri="{FF2B5EF4-FFF2-40B4-BE49-F238E27FC236}">
                <a16:creationId xmlns:a16="http://schemas.microsoft.com/office/drawing/2014/main" id="{D9ADC094-7461-47B2-B570-6463D2D3F35E}"/>
              </a:ext>
            </a:extLst>
          </p:cNvPr>
          <p:cNvSpPr/>
          <p:nvPr/>
        </p:nvSpPr>
        <p:spPr>
          <a:xfrm>
            <a:off x="1378112" y="5540949"/>
            <a:ext cx="828000" cy="241301"/>
          </a:xfrm>
          <a:prstGeom prst="rect">
            <a:avLst/>
          </a:prstGeom>
          <a:noFill/>
        </p:spPr>
        <p:txBody>
          <a:bodyPr lIns="0" tIns="36000" rIns="0" bIns="36000" rtlCol="0" anchor="ctr" anchorCtr="0">
            <a:noAutofit/>
          </a:bodyPr>
          <a:lstStyle/>
          <a:p>
            <a:pPr marL="0" indent="0" algn="ctr" defTabSz="685800" fontAlgn="auto">
              <a:lnSpc>
                <a:spcPct val="90000"/>
              </a:lnSpc>
              <a:spcBef>
                <a:spcPts val="750"/>
              </a:spcBef>
              <a:spcAft>
                <a:spcPts val="0"/>
              </a:spcAft>
              <a:buClr>
                <a:srgbClr val="FF0000"/>
              </a:buClr>
              <a:buNone/>
            </a:pPr>
            <a:r>
              <a:rPr lang="nl-NL" sz="1000" b="1" dirty="0">
                <a:latin typeface="Corbel" panose="020B0503020204020204" pitchFamily="34" charset="0"/>
                <a:cs typeface="+mn-cs"/>
              </a:rPr>
              <a:t>Totaal</a:t>
            </a:r>
            <a:endParaRPr lang="de-DE" sz="1000" b="1" dirty="0">
              <a:latin typeface="Corbel" panose="020B0503020204020204" pitchFamily="34" charset="0"/>
              <a:cs typeface="+mn-cs"/>
            </a:endParaRPr>
          </a:p>
        </p:txBody>
      </p:sp>
      <p:graphicFrame>
        <p:nvGraphicFramePr>
          <p:cNvPr id="245" name="Chart 244">
            <a:extLst>
              <a:ext uri="{FF2B5EF4-FFF2-40B4-BE49-F238E27FC236}">
                <a16:creationId xmlns:a16="http://schemas.microsoft.com/office/drawing/2014/main" id="{DB34C0CE-2969-4FA5-B0FD-15B1C80F5DD4}"/>
              </a:ext>
            </a:extLst>
          </p:cNvPr>
          <p:cNvGraphicFramePr/>
          <p:nvPr>
            <p:custDataLst>
              <p:tags r:id="rId2"/>
            </p:custDataLst>
          </p:nvPr>
        </p:nvGraphicFramePr>
        <p:xfrm>
          <a:off x="2065338" y="4919663"/>
          <a:ext cx="9547225" cy="779462"/>
        </p:xfrm>
        <a:graphic>
          <a:graphicData uri="http://schemas.openxmlformats.org/drawingml/2006/chart">
            <c:chart xmlns:c="http://schemas.openxmlformats.org/drawingml/2006/chart" xmlns:r="http://schemas.openxmlformats.org/officeDocument/2006/relationships" r:id="rId50"/>
          </a:graphicData>
        </a:graphic>
      </p:graphicFrame>
      <p:sp>
        <p:nvSpPr>
          <p:cNvPr id="60" name="Text Placeholder 5">
            <a:extLst>
              <a:ext uri="{FF2B5EF4-FFF2-40B4-BE49-F238E27FC236}">
                <a16:creationId xmlns:a16="http://schemas.microsoft.com/office/drawing/2014/main" id="{7D51AC38-9BA3-4549-AA5A-425020B9A51D}"/>
              </a:ext>
            </a:extLst>
          </p:cNvPr>
          <p:cNvSpPr>
            <a:spLocks noGrp="1"/>
          </p:cNvSpPr>
          <p:nvPr>
            <p:custDataLst>
              <p:tags r:id="rId3"/>
            </p:custDataLst>
          </p:nvPr>
        </p:nvSpPr>
        <p:spPr bwMode="auto">
          <a:xfrm>
            <a:off x="7048500" y="5649913"/>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E6B380E-002F-4E8A-9A44-F2C197EE6FDE}" type="datetime'''''4''''''''''''''''''''''''''''''3'''''''''''''''">
              <a:rPr lang="nl-NL" altLang="en-US" sz="800" b="1" smtClean="0">
                <a:solidFill>
                  <a:schemeClr val="tx1"/>
                </a:solidFill>
              </a:rPr>
              <a:pPr/>
              <a:t>43</a:t>
            </a:fld>
            <a:endParaRPr lang="en-US" sz="800" b="1" dirty="0">
              <a:solidFill>
                <a:schemeClr val="tx1"/>
              </a:solidFill>
              <a:latin typeface="+mn-lt"/>
              <a:sym typeface="+mn-lt"/>
            </a:endParaRPr>
          </a:p>
        </p:txBody>
      </p:sp>
      <p:sp>
        <p:nvSpPr>
          <p:cNvPr id="47" name="Text Placeholder 5">
            <a:extLst>
              <a:ext uri="{FF2B5EF4-FFF2-40B4-BE49-F238E27FC236}">
                <a16:creationId xmlns:a16="http://schemas.microsoft.com/office/drawing/2014/main" id="{76F3E007-5662-404A-99C2-FB0090227EF8}"/>
              </a:ext>
            </a:extLst>
          </p:cNvPr>
          <p:cNvSpPr>
            <a:spLocks noGrp="1"/>
          </p:cNvSpPr>
          <p:nvPr>
            <p:custDataLst>
              <p:tags r:id="rId4"/>
            </p:custDataLst>
          </p:nvPr>
        </p:nvSpPr>
        <p:spPr bwMode="auto">
          <a:xfrm>
            <a:off x="2762250"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E454721-5D6C-498D-8B3F-8F585E77F857}" type="datetime'''''''''''''2''''''''''''''''''7'''''''''''''''''''">
              <a:rPr lang="nl-NL" altLang="en-US" sz="800" b="1" smtClean="0">
                <a:solidFill>
                  <a:schemeClr val="tx1"/>
                </a:solidFill>
              </a:rPr>
              <a:pPr/>
              <a:t>27</a:t>
            </a:fld>
            <a:endParaRPr lang="en-US" sz="800" b="1" dirty="0">
              <a:solidFill>
                <a:schemeClr val="tx1"/>
              </a:solidFill>
              <a:latin typeface="+mn-lt"/>
              <a:sym typeface="+mn-lt"/>
            </a:endParaRPr>
          </a:p>
        </p:txBody>
      </p:sp>
      <p:sp>
        <p:nvSpPr>
          <p:cNvPr id="45" name="Text Placeholder 5">
            <a:extLst>
              <a:ext uri="{FF2B5EF4-FFF2-40B4-BE49-F238E27FC236}">
                <a16:creationId xmlns:a16="http://schemas.microsoft.com/office/drawing/2014/main" id="{AA79EAA0-5DE6-471F-A8BB-F0F7EF77181A}"/>
              </a:ext>
            </a:extLst>
          </p:cNvPr>
          <p:cNvSpPr>
            <a:spLocks noGrp="1"/>
          </p:cNvSpPr>
          <p:nvPr>
            <p:custDataLst>
              <p:tags r:id="rId5"/>
            </p:custDataLst>
          </p:nvPr>
        </p:nvSpPr>
        <p:spPr bwMode="auto">
          <a:xfrm>
            <a:off x="2225675"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E213F70-33E6-4FCE-9B49-C826E95D8336}" type="datetime'''''''''''''''''''''''''''2''''''''''''''''5'">
              <a:rPr lang="nl-NL" altLang="en-US" sz="800" b="1" smtClean="0">
                <a:solidFill>
                  <a:schemeClr val="tx1"/>
                </a:solidFill>
              </a:rPr>
              <a:pPr/>
              <a:t>25</a:t>
            </a:fld>
            <a:endParaRPr lang="en-US" sz="800" b="1" dirty="0">
              <a:solidFill>
                <a:schemeClr val="tx1"/>
              </a:solidFill>
              <a:latin typeface="+mn-lt"/>
              <a:sym typeface="+mn-lt"/>
            </a:endParaRPr>
          </a:p>
        </p:txBody>
      </p:sp>
      <p:sp>
        <p:nvSpPr>
          <p:cNvPr id="46" name="Text Placeholder 5">
            <a:extLst>
              <a:ext uri="{FF2B5EF4-FFF2-40B4-BE49-F238E27FC236}">
                <a16:creationId xmlns:a16="http://schemas.microsoft.com/office/drawing/2014/main" id="{09EFF133-D1C4-46BB-ACA4-963C06EEA7F6}"/>
              </a:ext>
            </a:extLst>
          </p:cNvPr>
          <p:cNvSpPr>
            <a:spLocks noGrp="1"/>
          </p:cNvSpPr>
          <p:nvPr>
            <p:custDataLst>
              <p:tags r:id="rId6"/>
            </p:custDataLst>
          </p:nvPr>
        </p:nvSpPr>
        <p:spPr bwMode="auto">
          <a:xfrm>
            <a:off x="2490788" y="5649913"/>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FC9AE6E6-254A-4130-BA5D-EFEE5CAD74B0}" type="datetime'''''''''''''''''''2''''''''6'''''''''''''''''''''''''''''''">
              <a:rPr lang="nl-NL" altLang="en-US" sz="800" b="1" smtClean="0">
                <a:solidFill>
                  <a:schemeClr val="tx1"/>
                </a:solidFill>
              </a:rPr>
              <a:pPr/>
              <a:t>26</a:t>
            </a:fld>
            <a:endParaRPr lang="en-US" sz="800" b="1" dirty="0">
              <a:solidFill>
                <a:schemeClr val="tx1"/>
              </a:solidFill>
              <a:latin typeface="+mn-lt"/>
              <a:sym typeface="+mn-lt"/>
            </a:endParaRPr>
          </a:p>
        </p:txBody>
      </p:sp>
      <p:sp>
        <p:nvSpPr>
          <p:cNvPr id="44" name="Text Placeholder 5">
            <a:extLst>
              <a:ext uri="{FF2B5EF4-FFF2-40B4-BE49-F238E27FC236}">
                <a16:creationId xmlns:a16="http://schemas.microsoft.com/office/drawing/2014/main" id="{DC1E2C9C-0949-4E95-8DC7-63835406320B}"/>
              </a:ext>
            </a:extLst>
          </p:cNvPr>
          <p:cNvSpPr>
            <a:spLocks noGrp="1"/>
          </p:cNvSpPr>
          <p:nvPr>
            <p:custDataLst>
              <p:tags r:id="rId7"/>
            </p:custDataLst>
          </p:nvPr>
        </p:nvSpPr>
        <p:spPr bwMode="auto">
          <a:xfrm>
            <a:off x="3025775" y="5649913"/>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6E4127E-9B4D-40AC-BA45-DA2D8BD3630E}" type="datetime'''''''''''''''''2''''''8'''''''''''''''''''''''''''''''''''">
              <a:rPr lang="nl-NL" altLang="en-US" sz="800" b="1" smtClean="0">
                <a:solidFill>
                  <a:schemeClr val="tx1"/>
                </a:solidFill>
              </a:rPr>
              <a:pPr/>
              <a:t>28</a:t>
            </a:fld>
            <a:endParaRPr lang="en-US" sz="800" b="1" dirty="0">
              <a:solidFill>
                <a:schemeClr val="tx1"/>
              </a:solidFill>
              <a:latin typeface="+mn-lt"/>
              <a:sym typeface="+mn-lt"/>
            </a:endParaRPr>
          </a:p>
        </p:txBody>
      </p:sp>
      <p:sp>
        <p:nvSpPr>
          <p:cNvPr id="52" name="Text Placeholder 5">
            <a:extLst>
              <a:ext uri="{FF2B5EF4-FFF2-40B4-BE49-F238E27FC236}">
                <a16:creationId xmlns:a16="http://schemas.microsoft.com/office/drawing/2014/main" id="{BBCE13F1-FCDE-4C3E-97CB-15C884587212}"/>
              </a:ext>
            </a:extLst>
          </p:cNvPr>
          <p:cNvSpPr>
            <a:spLocks noGrp="1"/>
          </p:cNvSpPr>
          <p:nvPr>
            <p:custDataLst>
              <p:tags r:id="rId8"/>
            </p:custDataLst>
          </p:nvPr>
        </p:nvSpPr>
        <p:spPr bwMode="auto">
          <a:xfrm>
            <a:off x="3833813"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A714053-BB6B-47A6-B8D6-3B2610EF1AC5}" type="datetime'''''''''3''''''''''''''''''''''1'''''''''''''''''''''">
              <a:rPr lang="nl-NL" altLang="en-US" sz="800" b="1" smtClean="0">
                <a:solidFill>
                  <a:schemeClr val="tx1"/>
                </a:solidFill>
              </a:rPr>
              <a:pPr/>
              <a:t>31</a:t>
            </a:fld>
            <a:endParaRPr lang="en-US" sz="800" b="1" dirty="0">
              <a:solidFill>
                <a:schemeClr val="tx1"/>
              </a:solidFill>
              <a:latin typeface="+mn-lt"/>
              <a:sym typeface="+mn-lt"/>
            </a:endParaRPr>
          </a:p>
        </p:txBody>
      </p:sp>
      <p:sp>
        <p:nvSpPr>
          <p:cNvPr id="49" name="Text Placeholder 5">
            <a:extLst>
              <a:ext uri="{FF2B5EF4-FFF2-40B4-BE49-F238E27FC236}">
                <a16:creationId xmlns:a16="http://schemas.microsoft.com/office/drawing/2014/main" id="{DAE9681E-FFA7-4A3D-8E17-C1800A367E1F}"/>
              </a:ext>
            </a:extLst>
          </p:cNvPr>
          <p:cNvSpPr>
            <a:spLocks noGrp="1"/>
          </p:cNvSpPr>
          <p:nvPr>
            <p:custDataLst>
              <p:tags r:id="rId9"/>
            </p:custDataLst>
          </p:nvPr>
        </p:nvSpPr>
        <p:spPr bwMode="auto">
          <a:xfrm>
            <a:off x="3294063" y="5649913"/>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8315ECC-F65F-4369-BF03-75C5BC293033}" type="datetime'''''''''''''''''2''''''''''''''''''''''''9'''''''''''''''''''">
              <a:rPr lang="nl-NL" altLang="en-US" sz="800" b="1" smtClean="0">
                <a:solidFill>
                  <a:schemeClr val="tx1"/>
                </a:solidFill>
              </a:rPr>
              <a:pPr/>
              <a:t>29</a:t>
            </a:fld>
            <a:endParaRPr lang="en-US" sz="800" b="1" dirty="0">
              <a:solidFill>
                <a:schemeClr val="tx1"/>
              </a:solidFill>
              <a:latin typeface="+mn-lt"/>
              <a:sym typeface="+mn-lt"/>
            </a:endParaRPr>
          </a:p>
        </p:txBody>
      </p:sp>
      <p:sp>
        <p:nvSpPr>
          <p:cNvPr id="50" name="Text Placeholder 5">
            <a:extLst>
              <a:ext uri="{FF2B5EF4-FFF2-40B4-BE49-F238E27FC236}">
                <a16:creationId xmlns:a16="http://schemas.microsoft.com/office/drawing/2014/main" id="{5B948D71-C918-4D65-977B-5497C8297DFE}"/>
              </a:ext>
            </a:extLst>
          </p:cNvPr>
          <p:cNvSpPr>
            <a:spLocks noGrp="1"/>
          </p:cNvSpPr>
          <p:nvPr>
            <p:custDataLst>
              <p:tags r:id="rId10"/>
            </p:custDataLst>
          </p:nvPr>
        </p:nvSpPr>
        <p:spPr bwMode="auto">
          <a:xfrm>
            <a:off x="3563938" y="5649913"/>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F7AD475-C37A-4568-A9DF-859949B1F5FD}" type="datetime'''''''''''''''''''''''''''''''''''3''''''''''0'''''''''">
              <a:rPr lang="nl-NL" altLang="en-US" sz="800" b="1" smtClean="0">
                <a:solidFill>
                  <a:schemeClr val="tx1"/>
                </a:solidFill>
              </a:rPr>
              <a:pPr/>
              <a:t>30</a:t>
            </a:fld>
            <a:endParaRPr lang="en-US" sz="800" b="1" dirty="0">
              <a:solidFill>
                <a:schemeClr val="tx1"/>
              </a:solidFill>
              <a:latin typeface="+mn-lt"/>
              <a:sym typeface="+mn-lt"/>
            </a:endParaRPr>
          </a:p>
        </p:txBody>
      </p:sp>
      <p:sp>
        <p:nvSpPr>
          <p:cNvPr id="40" name="Text Placeholder 5">
            <a:extLst>
              <a:ext uri="{FF2B5EF4-FFF2-40B4-BE49-F238E27FC236}">
                <a16:creationId xmlns:a16="http://schemas.microsoft.com/office/drawing/2014/main" id="{D7DF9C4E-C6CB-45FF-A2B3-DDB0499F4067}"/>
              </a:ext>
            </a:extLst>
          </p:cNvPr>
          <p:cNvSpPr>
            <a:spLocks noGrp="1"/>
          </p:cNvSpPr>
          <p:nvPr>
            <p:custDataLst>
              <p:tags r:id="rId11"/>
            </p:custDataLst>
          </p:nvPr>
        </p:nvSpPr>
        <p:spPr bwMode="auto">
          <a:xfrm>
            <a:off x="5170488"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C64ABCD-60D1-4213-83BD-5333AB68DD30}" type="datetime'''''3''''''''''''''''''''''''''''6'''''''''''''">
              <a:rPr lang="nl-NL" altLang="en-US" sz="800" b="1" smtClean="0">
                <a:solidFill>
                  <a:schemeClr val="tx1"/>
                </a:solidFill>
              </a:rPr>
              <a:pPr/>
              <a:t>36</a:t>
            </a:fld>
            <a:endParaRPr lang="en-US" sz="800" b="1" dirty="0">
              <a:solidFill>
                <a:schemeClr val="tx1"/>
              </a:solidFill>
              <a:latin typeface="+mn-lt"/>
              <a:sym typeface="+mn-lt"/>
            </a:endParaRPr>
          </a:p>
        </p:txBody>
      </p:sp>
      <p:sp>
        <p:nvSpPr>
          <p:cNvPr id="53" name="Text Placeholder 5">
            <a:extLst>
              <a:ext uri="{FF2B5EF4-FFF2-40B4-BE49-F238E27FC236}">
                <a16:creationId xmlns:a16="http://schemas.microsoft.com/office/drawing/2014/main" id="{986FA255-9105-499F-93CB-BC612A66662D}"/>
              </a:ext>
            </a:extLst>
          </p:cNvPr>
          <p:cNvSpPr>
            <a:spLocks noGrp="1"/>
          </p:cNvSpPr>
          <p:nvPr>
            <p:custDataLst>
              <p:tags r:id="rId12"/>
            </p:custDataLst>
          </p:nvPr>
        </p:nvSpPr>
        <p:spPr bwMode="auto">
          <a:xfrm>
            <a:off x="4102100"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3BB0DB90-2293-468F-97A3-FA491D04ADFB}" type="datetime'''''''''''''''''''''3''''''''2'''''''''''''''''''''''''''''">
              <a:rPr lang="nl-NL" altLang="en-US" sz="800" b="1" smtClean="0">
                <a:solidFill>
                  <a:schemeClr val="tx1"/>
                </a:solidFill>
              </a:rPr>
              <a:pPr/>
              <a:t>32</a:t>
            </a:fld>
            <a:endParaRPr lang="en-US" sz="800" b="1" dirty="0">
              <a:solidFill>
                <a:schemeClr val="tx1"/>
              </a:solidFill>
              <a:latin typeface="+mn-lt"/>
              <a:sym typeface="+mn-lt"/>
            </a:endParaRPr>
          </a:p>
        </p:txBody>
      </p:sp>
      <p:sp>
        <p:nvSpPr>
          <p:cNvPr id="55" name="Text Placeholder 5">
            <a:extLst>
              <a:ext uri="{FF2B5EF4-FFF2-40B4-BE49-F238E27FC236}">
                <a16:creationId xmlns:a16="http://schemas.microsoft.com/office/drawing/2014/main" id="{938C988C-13B6-4D0F-B536-44BA350EC9BB}"/>
              </a:ext>
            </a:extLst>
          </p:cNvPr>
          <p:cNvSpPr>
            <a:spLocks noGrp="1"/>
          </p:cNvSpPr>
          <p:nvPr>
            <p:custDataLst>
              <p:tags r:id="rId13"/>
            </p:custDataLst>
          </p:nvPr>
        </p:nvSpPr>
        <p:spPr bwMode="auto">
          <a:xfrm>
            <a:off x="4370388"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C0B95A1-6A6A-4832-A351-965E161FC64A}" type="datetime'''''''''''''''''''''''''''3''''''''''''''''''''''''''''''3'">
              <a:rPr lang="nl-NL" altLang="en-US" sz="800" b="1" smtClean="0">
                <a:solidFill>
                  <a:schemeClr val="tx1"/>
                </a:solidFill>
              </a:rPr>
              <a:pPr/>
              <a:t>33</a:t>
            </a:fld>
            <a:endParaRPr lang="en-US" sz="800" b="1" dirty="0">
              <a:solidFill>
                <a:schemeClr val="tx1"/>
              </a:solidFill>
              <a:latin typeface="+mn-lt"/>
              <a:sym typeface="+mn-lt"/>
            </a:endParaRPr>
          </a:p>
        </p:txBody>
      </p:sp>
      <p:sp>
        <p:nvSpPr>
          <p:cNvPr id="41" name="Text Placeholder 5">
            <a:extLst>
              <a:ext uri="{FF2B5EF4-FFF2-40B4-BE49-F238E27FC236}">
                <a16:creationId xmlns:a16="http://schemas.microsoft.com/office/drawing/2014/main" id="{1F98C927-89B3-465C-8A1D-21EA749F7732}"/>
              </a:ext>
            </a:extLst>
          </p:cNvPr>
          <p:cNvSpPr>
            <a:spLocks noGrp="1"/>
          </p:cNvSpPr>
          <p:nvPr>
            <p:custDataLst>
              <p:tags r:id="rId14"/>
            </p:custDataLst>
          </p:nvPr>
        </p:nvSpPr>
        <p:spPr bwMode="auto">
          <a:xfrm>
            <a:off x="4637088" y="5649913"/>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E876C4E-ACB0-4818-B94C-EA8DC98FC65E}" type="datetime'''''''''''''''''''3''''''''''''''4'''''''''''''''''''''''''">
              <a:rPr lang="nl-NL" altLang="en-US" sz="800" b="1" smtClean="0">
                <a:solidFill>
                  <a:schemeClr val="tx1"/>
                </a:solidFill>
              </a:rPr>
              <a:pPr/>
              <a:t>34</a:t>
            </a:fld>
            <a:endParaRPr lang="en-US" sz="800" b="1" dirty="0">
              <a:solidFill>
                <a:schemeClr val="tx1"/>
              </a:solidFill>
              <a:latin typeface="+mn-lt"/>
              <a:sym typeface="+mn-lt"/>
            </a:endParaRPr>
          </a:p>
        </p:txBody>
      </p:sp>
      <p:sp>
        <p:nvSpPr>
          <p:cNvPr id="58" name="Text Placeholder 5">
            <a:extLst>
              <a:ext uri="{FF2B5EF4-FFF2-40B4-BE49-F238E27FC236}">
                <a16:creationId xmlns:a16="http://schemas.microsoft.com/office/drawing/2014/main" id="{3CFD3A33-0970-4F7A-A347-9A43E89EA50F}"/>
              </a:ext>
            </a:extLst>
          </p:cNvPr>
          <p:cNvSpPr>
            <a:spLocks noGrp="1"/>
          </p:cNvSpPr>
          <p:nvPr>
            <p:custDataLst>
              <p:tags r:id="rId15"/>
            </p:custDataLst>
          </p:nvPr>
        </p:nvSpPr>
        <p:spPr bwMode="auto">
          <a:xfrm>
            <a:off x="5707063" y="5649913"/>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625632A-27D9-4104-B1B7-CF3D1A195E81}" type="datetime'''3''''''''''''''''''''''''''''''8'''''''''">
              <a:rPr lang="nl-NL" altLang="en-US" sz="800" b="1" smtClean="0">
                <a:solidFill>
                  <a:schemeClr val="tx1"/>
                </a:solidFill>
              </a:rPr>
              <a:pPr/>
              <a:t>38</a:t>
            </a:fld>
            <a:endParaRPr lang="en-US" sz="800" b="1" dirty="0">
              <a:solidFill>
                <a:schemeClr val="tx1"/>
              </a:solidFill>
              <a:latin typeface="+mn-lt"/>
              <a:sym typeface="+mn-lt"/>
            </a:endParaRPr>
          </a:p>
        </p:txBody>
      </p:sp>
      <p:sp>
        <p:nvSpPr>
          <p:cNvPr id="57" name="Text Placeholder 5">
            <a:extLst>
              <a:ext uri="{FF2B5EF4-FFF2-40B4-BE49-F238E27FC236}">
                <a16:creationId xmlns:a16="http://schemas.microsoft.com/office/drawing/2014/main" id="{97CDBD1E-FD94-47B8-A7A3-DDBC6C841E66}"/>
              </a:ext>
            </a:extLst>
          </p:cNvPr>
          <p:cNvSpPr>
            <a:spLocks noGrp="1"/>
          </p:cNvSpPr>
          <p:nvPr>
            <p:custDataLst>
              <p:tags r:id="rId16"/>
            </p:custDataLst>
          </p:nvPr>
        </p:nvSpPr>
        <p:spPr bwMode="auto">
          <a:xfrm>
            <a:off x="4906963"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EA7B6EA2-95F0-4997-BC46-F3C03F3C16BE}" type="datetime'''''''''''''''''3''''5'''''''''''''''''''''''''''">
              <a:rPr lang="nl-NL" altLang="en-US" sz="800" b="1" smtClean="0">
                <a:solidFill>
                  <a:schemeClr val="tx1"/>
                </a:solidFill>
              </a:rPr>
              <a:pPr/>
              <a:t>35</a:t>
            </a:fld>
            <a:endParaRPr lang="en-US" sz="800" b="1" dirty="0">
              <a:solidFill>
                <a:schemeClr val="tx1"/>
              </a:solidFill>
              <a:latin typeface="+mn-lt"/>
              <a:sym typeface="+mn-lt"/>
            </a:endParaRPr>
          </a:p>
        </p:txBody>
      </p:sp>
      <p:sp>
        <p:nvSpPr>
          <p:cNvPr id="39" name="Text Placeholder 5">
            <a:extLst>
              <a:ext uri="{FF2B5EF4-FFF2-40B4-BE49-F238E27FC236}">
                <a16:creationId xmlns:a16="http://schemas.microsoft.com/office/drawing/2014/main" id="{C514EA94-2CA2-42B1-BC6F-50D5BB0080A6}"/>
              </a:ext>
            </a:extLst>
          </p:cNvPr>
          <p:cNvSpPr>
            <a:spLocks noGrp="1"/>
          </p:cNvSpPr>
          <p:nvPr>
            <p:custDataLst>
              <p:tags r:id="rId17"/>
            </p:custDataLst>
          </p:nvPr>
        </p:nvSpPr>
        <p:spPr bwMode="auto">
          <a:xfrm>
            <a:off x="6243638" y="5649913"/>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9E6B7BF-C113-4825-B0A4-F5B33072C13F}" type="datetime'''''''4''''''''''''''''''''''''0'''''''''''''''''''''''''''">
              <a:rPr lang="nl-NL" altLang="en-US" sz="800" b="1" smtClean="0">
                <a:solidFill>
                  <a:schemeClr val="tx1"/>
                </a:solidFill>
              </a:rPr>
              <a:pPr/>
              <a:t>40</a:t>
            </a:fld>
            <a:endParaRPr lang="en-US" sz="800" b="1" dirty="0">
              <a:solidFill>
                <a:schemeClr val="tx1"/>
              </a:solidFill>
              <a:latin typeface="+mn-lt"/>
              <a:sym typeface="+mn-lt"/>
            </a:endParaRPr>
          </a:p>
        </p:txBody>
      </p:sp>
      <p:sp>
        <p:nvSpPr>
          <p:cNvPr id="54" name="Text Placeholder 5">
            <a:extLst>
              <a:ext uri="{FF2B5EF4-FFF2-40B4-BE49-F238E27FC236}">
                <a16:creationId xmlns:a16="http://schemas.microsoft.com/office/drawing/2014/main" id="{FCE93470-DED0-4CCB-8BC2-2B7AA3D6967C}"/>
              </a:ext>
            </a:extLst>
          </p:cNvPr>
          <p:cNvSpPr>
            <a:spLocks noGrp="1"/>
          </p:cNvSpPr>
          <p:nvPr>
            <p:custDataLst>
              <p:tags r:id="rId18"/>
            </p:custDataLst>
          </p:nvPr>
        </p:nvSpPr>
        <p:spPr bwMode="auto">
          <a:xfrm>
            <a:off x="5441950"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8C499CA-0619-45D5-A729-94EE63A6DBBC}" type="datetime'''''''''''''''''''''3''''7'''''''''''''">
              <a:rPr lang="nl-NL" altLang="en-US" sz="800" b="1" smtClean="0">
                <a:solidFill>
                  <a:schemeClr val="tx1"/>
                </a:solidFill>
              </a:rPr>
              <a:pPr/>
              <a:t>37</a:t>
            </a:fld>
            <a:endParaRPr lang="en-US" sz="800" b="1" dirty="0">
              <a:solidFill>
                <a:schemeClr val="tx1"/>
              </a:solidFill>
              <a:latin typeface="+mn-lt"/>
              <a:sym typeface="+mn-lt"/>
            </a:endParaRPr>
          </a:p>
        </p:txBody>
      </p:sp>
      <p:sp>
        <p:nvSpPr>
          <p:cNvPr id="59" name="Text Placeholder 5">
            <a:extLst>
              <a:ext uri="{FF2B5EF4-FFF2-40B4-BE49-F238E27FC236}">
                <a16:creationId xmlns:a16="http://schemas.microsoft.com/office/drawing/2014/main" id="{A2569398-AEA1-4772-B283-5F6FCFE3FF63}"/>
              </a:ext>
            </a:extLst>
          </p:cNvPr>
          <p:cNvSpPr>
            <a:spLocks noGrp="1"/>
          </p:cNvSpPr>
          <p:nvPr>
            <p:custDataLst>
              <p:tags r:id="rId19"/>
            </p:custDataLst>
          </p:nvPr>
        </p:nvSpPr>
        <p:spPr bwMode="auto">
          <a:xfrm>
            <a:off x="5975350"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6903366-4A7F-4EAA-A71A-0737CAF591EA}" type="datetime'''''''''''''''''''''''''''''''''''''''''3''9'''">
              <a:rPr lang="nl-NL" altLang="en-US" sz="800" b="1" smtClean="0">
                <a:solidFill>
                  <a:schemeClr val="tx1"/>
                </a:solidFill>
              </a:rPr>
              <a:pPr/>
              <a:t>39</a:t>
            </a:fld>
            <a:endParaRPr lang="en-US" sz="800" b="1" dirty="0">
              <a:solidFill>
                <a:schemeClr val="tx1"/>
              </a:solidFill>
              <a:latin typeface="+mn-lt"/>
              <a:sym typeface="+mn-lt"/>
            </a:endParaRPr>
          </a:p>
        </p:txBody>
      </p:sp>
      <p:sp>
        <p:nvSpPr>
          <p:cNvPr id="71" name="Text Placeholder 5">
            <a:extLst>
              <a:ext uri="{FF2B5EF4-FFF2-40B4-BE49-F238E27FC236}">
                <a16:creationId xmlns:a16="http://schemas.microsoft.com/office/drawing/2014/main" id="{76B20A28-3AC7-4978-9670-72002C092655}"/>
              </a:ext>
            </a:extLst>
          </p:cNvPr>
          <p:cNvSpPr>
            <a:spLocks noGrp="1"/>
          </p:cNvSpPr>
          <p:nvPr>
            <p:custDataLst>
              <p:tags r:id="rId20"/>
            </p:custDataLst>
          </p:nvPr>
        </p:nvSpPr>
        <p:spPr bwMode="auto">
          <a:xfrm>
            <a:off x="10802938"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86B73E4-D0D1-4D89-83F4-B7E57772623B}" type="datetime'''''''''5''''''''''''''''''''7'''''''''''''''''''''''''">
              <a:rPr lang="nl-NL" altLang="en-US" sz="800" b="1" smtClean="0">
                <a:solidFill>
                  <a:schemeClr val="tx1"/>
                </a:solidFill>
              </a:rPr>
              <a:pPr/>
              <a:t>57</a:t>
            </a:fld>
            <a:endParaRPr lang="en-US" sz="800" b="1" dirty="0">
              <a:solidFill>
                <a:schemeClr val="tx1"/>
              </a:solidFill>
              <a:latin typeface="+mn-lt"/>
              <a:sym typeface="+mn-lt"/>
            </a:endParaRPr>
          </a:p>
        </p:txBody>
      </p:sp>
      <p:sp>
        <p:nvSpPr>
          <p:cNvPr id="43" name="Text Placeholder 5">
            <a:extLst>
              <a:ext uri="{FF2B5EF4-FFF2-40B4-BE49-F238E27FC236}">
                <a16:creationId xmlns:a16="http://schemas.microsoft.com/office/drawing/2014/main" id="{970703A7-82F4-4257-A388-C8B48792441F}"/>
              </a:ext>
            </a:extLst>
          </p:cNvPr>
          <p:cNvSpPr>
            <a:spLocks noGrp="1"/>
          </p:cNvSpPr>
          <p:nvPr>
            <p:custDataLst>
              <p:tags r:id="rId21"/>
            </p:custDataLst>
          </p:nvPr>
        </p:nvSpPr>
        <p:spPr bwMode="auto">
          <a:xfrm>
            <a:off x="6511925"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B807125-09D5-485F-B6EF-481D11BA05F2}" type="datetime'''''''''''''''''''4''''''''''''''''''''''''''''''''''1'''''">
              <a:rPr lang="nl-NL" altLang="en-US" sz="800" b="1" smtClean="0">
                <a:solidFill>
                  <a:schemeClr val="tx1"/>
                </a:solidFill>
              </a:rPr>
              <a:pPr/>
              <a:t>41</a:t>
            </a:fld>
            <a:endParaRPr lang="en-US" sz="800" b="1" dirty="0">
              <a:solidFill>
                <a:schemeClr val="tx1"/>
              </a:solidFill>
              <a:latin typeface="+mn-lt"/>
              <a:sym typeface="+mn-lt"/>
            </a:endParaRPr>
          </a:p>
        </p:txBody>
      </p:sp>
      <p:sp>
        <p:nvSpPr>
          <p:cNvPr id="42" name="Text Placeholder 5">
            <a:extLst>
              <a:ext uri="{FF2B5EF4-FFF2-40B4-BE49-F238E27FC236}">
                <a16:creationId xmlns:a16="http://schemas.microsoft.com/office/drawing/2014/main" id="{441F897C-3DFD-4751-8A34-95BDF0BF0CE9}"/>
              </a:ext>
            </a:extLst>
          </p:cNvPr>
          <p:cNvSpPr>
            <a:spLocks noGrp="1"/>
          </p:cNvSpPr>
          <p:nvPr>
            <p:custDataLst>
              <p:tags r:id="rId22"/>
            </p:custDataLst>
          </p:nvPr>
        </p:nvSpPr>
        <p:spPr bwMode="auto">
          <a:xfrm>
            <a:off x="6780213"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ABD866A-5D7A-4B8B-909B-252EA5B4F0EE}" type="datetime'''''''''4''''''''''2'''''''''''''''''''''''''''">
              <a:rPr lang="nl-NL" altLang="en-US" sz="800" b="1" smtClean="0">
                <a:solidFill>
                  <a:schemeClr val="tx1"/>
                </a:solidFill>
              </a:rPr>
              <a:pPr/>
              <a:t>42</a:t>
            </a:fld>
            <a:endParaRPr lang="en-US" sz="800" b="1" dirty="0">
              <a:solidFill>
                <a:schemeClr val="tx1"/>
              </a:solidFill>
              <a:latin typeface="+mn-lt"/>
              <a:sym typeface="+mn-lt"/>
            </a:endParaRPr>
          </a:p>
        </p:txBody>
      </p:sp>
      <p:sp>
        <p:nvSpPr>
          <p:cNvPr id="48" name="Text Placeholder 5">
            <a:extLst>
              <a:ext uri="{FF2B5EF4-FFF2-40B4-BE49-F238E27FC236}">
                <a16:creationId xmlns:a16="http://schemas.microsoft.com/office/drawing/2014/main" id="{B11D60D9-0D03-4F65-A56F-B9D4EF88D8B3}"/>
              </a:ext>
            </a:extLst>
          </p:cNvPr>
          <p:cNvSpPr>
            <a:spLocks noGrp="1"/>
          </p:cNvSpPr>
          <p:nvPr>
            <p:custDataLst>
              <p:tags r:id="rId23"/>
            </p:custDataLst>
          </p:nvPr>
        </p:nvSpPr>
        <p:spPr bwMode="auto">
          <a:xfrm>
            <a:off x="7313613" y="5649913"/>
            <a:ext cx="12065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147B8BD-19BE-406C-9085-AB9EFF3FF9B2}" type="datetime'4''''''''''4'''''''''''''''''''''''''''''''''''''''''''''''''">
              <a:rPr lang="nl-NL" altLang="en-US" sz="800" b="1" smtClean="0">
                <a:solidFill>
                  <a:schemeClr val="tx1"/>
                </a:solidFill>
              </a:rPr>
              <a:pPr/>
              <a:t>44</a:t>
            </a:fld>
            <a:endParaRPr lang="en-US" sz="800" b="1" dirty="0">
              <a:solidFill>
                <a:schemeClr val="tx1"/>
              </a:solidFill>
              <a:latin typeface="+mn-lt"/>
              <a:sym typeface="+mn-lt"/>
            </a:endParaRPr>
          </a:p>
        </p:txBody>
      </p:sp>
      <p:sp>
        <p:nvSpPr>
          <p:cNvPr id="61" name="Text Placeholder 5">
            <a:extLst>
              <a:ext uri="{FF2B5EF4-FFF2-40B4-BE49-F238E27FC236}">
                <a16:creationId xmlns:a16="http://schemas.microsoft.com/office/drawing/2014/main" id="{F6A6C8C8-B3E4-4731-B10B-AA03CE21267E}"/>
              </a:ext>
            </a:extLst>
          </p:cNvPr>
          <p:cNvSpPr>
            <a:spLocks noGrp="1"/>
          </p:cNvSpPr>
          <p:nvPr>
            <p:custDataLst>
              <p:tags r:id="rId24"/>
            </p:custDataLst>
          </p:nvPr>
        </p:nvSpPr>
        <p:spPr bwMode="auto">
          <a:xfrm>
            <a:off x="7585075" y="5649913"/>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D5B7FCF-A7C4-41B2-8E2E-2674A6703B17}" type="datetime'4''''5'''''''''''''''''''''''''''''''''''''''''''''">
              <a:rPr lang="nl-NL" altLang="en-US" sz="800" b="1" smtClean="0">
                <a:solidFill>
                  <a:schemeClr val="tx1"/>
                </a:solidFill>
              </a:rPr>
              <a:pPr/>
              <a:t>45</a:t>
            </a:fld>
            <a:endParaRPr lang="en-US" sz="800" b="1" dirty="0">
              <a:solidFill>
                <a:schemeClr val="tx1"/>
              </a:solidFill>
              <a:latin typeface="+mn-lt"/>
              <a:sym typeface="+mn-lt"/>
            </a:endParaRPr>
          </a:p>
        </p:txBody>
      </p:sp>
      <p:sp>
        <p:nvSpPr>
          <p:cNvPr id="74" name="Text Placeholder 5">
            <a:extLst>
              <a:ext uri="{FF2B5EF4-FFF2-40B4-BE49-F238E27FC236}">
                <a16:creationId xmlns:a16="http://schemas.microsoft.com/office/drawing/2014/main" id="{A961325D-652B-4D85-93E3-4E8B74CB7AF6}"/>
              </a:ext>
            </a:extLst>
          </p:cNvPr>
          <p:cNvSpPr>
            <a:spLocks noGrp="1"/>
          </p:cNvSpPr>
          <p:nvPr>
            <p:custDataLst>
              <p:tags r:id="rId25"/>
            </p:custDataLst>
          </p:nvPr>
        </p:nvSpPr>
        <p:spPr bwMode="auto">
          <a:xfrm>
            <a:off x="11336338"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0B031DF-E8A9-4D39-A809-5012B1AF78AA}" type="datetime'5''''9'''''''''''''''''''''">
              <a:rPr lang="nl-NL" altLang="en-US" sz="800" b="1" smtClean="0">
                <a:solidFill>
                  <a:schemeClr val="tx1"/>
                </a:solidFill>
              </a:rPr>
              <a:pPr/>
              <a:t>59</a:t>
            </a:fld>
            <a:endParaRPr lang="en-US" sz="800" b="1" dirty="0">
              <a:solidFill>
                <a:schemeClr val="tx1"/>
              </a:solidFill>
              <a:latin typeface="+mn-lt"/>
              <a:sym typeface="+mn-lt"/>
            </a:endParaRPr>
          </a:p>
        </p:txBody>
      </p:sp>
      <p:sp>
        <p:nvSpPr>
          <p:cNvPr id="62" name="Text Placeholder 5">
            <a:extLst>
              <a:ext uri="{FF2B5EF4-FFF2-40B4-BE49-F238E27FC236}">
                <a16:creationId xmlns:a16="http://schemas.microsoft.com/office/drawing/2014/main" id="{6B5D65A2-BD1F-45D0-91F4-9E13FD767DBC}"/>
              </a:ext>
            </a:extLst>
          </p:cNvPr>
          <p:cNvSpPr>
            <a:spLocks noGrp="1"/>
          </p:cNvSpPr>
          <p:nvPr>
            <p:custDataLst>
              <p:tags r:id="rId26"/>
            </p:custDataLst>
          </p:nvPr>
        </p:nvSpPr>
        <p:spPr bwMode="auto">
          <a:xfrm>
            <a:off x="7850188" y="5649913"/>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9B20F054-363B-41B2-9C57-02675B8FD0B6}" type="datetime'''''4''''6'''''''''''''''''''''''''''''''''">
              <a:rPr lang="nl-NL" altLang="en-US" sz="800" b="1" smtClean="0">
                <a:solidFill>
                  <a:schemeClr val="tx1"/>
                </a:solidFill>
              </a:rPr>
              <a:pPr/>
              <a:t>46</a:t>
            </a:fld>
            <a:endParaRPr lang="en-US" sz="800" b="1" dirty="0">
              <a:solidFill>
                <a:schemeClr val="tx1"/>
              </a:solidFill>
              <a:latin typeface="+mn-lt"/>
              <a:sym typeface="+mn-lt"/>
            </a:endParaRPr>
          </a:p>
        </p:txBody>
      </p:sp>
      <p:sp>
        <p:nvSpPr>
          <p:cNvPr id="51" name="Text Placeholder 5">
            <a:extLst>
              <a:ext uri="{FF2B5EF4-FFF2-40B4-BE49-F238E27FC236}">
                <a16:creationId xmlns:a16="http://schemas.microsoft.com/office/drawing/2014/main" id="{0FB7B64F-DF7C-414A-98F5-6161299170FB}"/>
              </a:ext>
            </a:extLst>
          </p:cNvPr>
          <p:cNvSpPr>
            <a:spLocks noGrp="1"/>
          </p:cNvSpPr>
          <p:nvPr>
            <p:custDataLst>
              <p:tags r:id="rId27"/>
            </p:custDataLst>
          </p:nvPr>
        </p:nvSpPr>
        <p:spPr bwMode="auto">
          <a:xfrm>
            <a:off x="8121650" y="5649913"/>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046BFBE3-2298-4B20-B09F-39BE73970CBE}" type="datetime'''''''''''''''''''''''''''''''''''''4''''''''''''7'''''''">
              <a:rPr lang="nl-NL" altLang="en-US" sz="800" b="1" smtClean="0">
                <a:solidFill>
                  <a:schemeClr val="tx1"/>
                </a:solidFill>
              </a:rPr>
              <a:pPr/>
              <a:t>47</a:t>
            </a:fld>
            <a:endParaRPr lang="en-US" sz="800" b="1" dirty="0">
              <a:solidFill>
                <a:schemeClr val="tx1"/>
              </a:solidFill>
              <a:latin typeface="+mn-lt"/>
              <a:sym typeface="+mn-lt"/>
            </a:endParaRPr>
          </a:p>
        </p:txBody>
      </p:sp>
      <p:sp>
        <p:nvSpPr>
          <p:cNvPr id="63" name="Text Placeholder 5">
            <a:extLst>
              <a:ext uri="{FF2B5EF4-FFF2-40B4-BE49-F238E27FC236}">
                <a16:creationId xmlns:a16="http://schemas.microsoft.com/office/drawing/2014/main" id="{1524B8DC-0F8B-4F06-BB7D-0F3333D1091B}"/>
              </a:ext>
            </a:extLst>
          </p:cNvPr>
          <p:cNvSpPr>
            <a:spLocks noGrp="1"/>
          </p:cNvSpPr>
          <p:nvPr>
            <p:custDataLst>
              <p:tags r:id="rId28"/>
            </p:custDataLst>
          </p:nvPr>
        </p:nvSpPr>
        <p:spPr bwMode="auto">
          <a:xfrm>
            <a:off x="8385175" y="5649913"/>
            <a:ext cx="1238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408C6791-8BED-472B-89EA-9BC4985E5547}" type="datetime'''''''''''''''''''4''''''''''''8'''''''''''''">
              <a:rPr lang="nl-NL" altLang="en-US" sz="800" b="1" smtClean="0">
                <a:solidFill>
                  <a:schemeClr val="tx1"/>
                </a:solidFill>
              </a:rPr>
              <a:pPr/>
              <a:t>48</a:t>
            </a:fld>
            <a:endParaRPr lang="en-US" sz="800" b="1" dirty="0">
              <a:solidFill>
                <a:schemeClr val="tx1"/>
              </a:solidFill>
              <a:latin typeface="+mn-lt"/>
              <a:sym typeface="+mn-lt"/>
            </a:endParaRPr>
          </a:p>
        </p:txBody>
      </p:sp>
      <p:sp>
        <p:nvSpPr>
          <p:cNvPr id="72" name="Text Placeholder 5">
            <a:extLst>
              <a:ext uri="{FF2B5EF4-FFF2-40B4-BE49-F238E27FC236}">
                <a16:creationId xmlns:a16="http://schemas.microsoft.com/office/drawing/2014/main" id="{419424E4-FF1A-4E22-A292-A5C22EA88A9E}"/>
              </a:ext>
            </a:extLst>
          </p:cNvPr>
          <p:cNvSpPr>
            <a:spLocks noGrp="1"/>
          </p:cNvSpPr>
          <p:nvPr>
            <p:custDataLst>
              <p:tags r:id="rId29"/>
            </p:custDataLst>
          </p:nvPr>
        </p:nvSpPr>
        <p:spPr bwMode="auto">
          <a:xfrm>
            <a:off x="10267950"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8F4BC01D-F357-4D0E-A92E-D1A099A82E4D}" type="datetime'''5''''''''''''''''''''''5'''''''''''''''''''''''''''''">
              <a:rPr lang="nl-NL" altLang="en-US" sz="800" b="1" smtClean="0">
                <a:solidFill>
                  <a:schemeClr val="tx1"/>
                </a:solidFill>
              </a:rPr>
              <a:pPr/>
              <a:t>55</a:t>
            </a:fld>
            <a:endParaRPr lang="en-US" sz="800" b="1" dirty="0">
              <a:solidFill>
                <a:schemeClr val="tx1"/>
              </a:solidFill>
              <a:latin typeface="+mn-lt"/>
              <a:sym typeface="+mn-lt"/>
            </a:endParaRPr>
          </a:p>
        </p:txBody>
      </p:sp>
      <p:sp>
        <p:nvSpPr>
          <p:cNvPr id="64" name="Text Placeholder 5">
            <a:extLst>
              <a:ext uri="{FF2B5EF4-FFF2-40B4-BE49-F238E27FC236}">
                <a16:creationId xmlns:a16="http://schemas.microsoft.com/office/drawing/2014/main" id="{09B137AE-A468-4448-AB35-6BBED7E347CC}"/>
              </a:ext>
            </a:extLst>
          </p:cNvPr>
          <p:cNvSpPr>
            <a:spLocks noGrp="1"/>
          </p:cNvSpPr>
          <p:nvPr>
            <p:custDataLst>
              <p:tags r:id="rId30"/>
            </p:custDataLst>
          </p:nvPr>
        </p:nvSpPr>
        <p:spPr bwMode="auto">
          <a:xfrm>
            <a:off x="8655050" y="5649913"/>
            <a:ext cx="12223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77C005AD-E003-41DF-9A8C-0D4B451AB6EE}" type="datetime'''''''''''''4''''''9'''''''''''">
              <a:rPr lang="nl-NL" altLang="en-US" sz="800" b="1" smtClean="0">
                <a:solidFill>
                  <a:schemeClr val="tx1"/>
                </a:solidFill>
              </a:rPr>
              <a:pPr/>
              <a:t>49</a:t>
            </a:fld>
            <a:endParaRPr lang="en-US" sz="800" b="1" dirty="0">
              <a:solidFill>
                <a:schemeClr val="tx1"/>
              </a:solidFill>
              <a:latin typeface="+mn-lt"/>
              <a:sym typeface="+mn-lt"/>
            </a:endParaRPr>
          </a:p>
        </p:txBody>
      </p:sp>
      <p:sp>
        <p:nvSpPr>
          <p:cNvPr id="66" name="Text Placeholder 5">
            <a:extLst>
              <a:ext uri="{FF2B5EF4-FFF2-40B4-BE49-F238E27FC236}">
                <a16:creationId xmlns:a16="http://schemas.microsoft.com/office/drawing/2014/main" id="{1C895755-676E-44E3-9BA0-6DE81084469A}"/>
              </a:ext>
            </a:extLst>
          </p:cNvPr>
          <p:cNvSpPr>
            <a:spLocks noGrp="1"/>
          </p:cNvSpPr>
          <p:nvPr>
            <p:custDataLst>
              <p:tags r:id="rId31"/>
            </p:custDataLst>
          </p:nvPr>
        </p:nvSpPr>
        <p:spPr bwMode="auto">
          <a:xfrm>
            <a:off x="8924925" y="5649913"/>
            <a:ext cx="114300"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C719967D-F0F4-4860-9D01-201C6FD58956}" type="datetime'5''''''''''''''''''''''''0'''''''">
              <a:rPr lang="nl-NL" altLang="en-US" sz="800" b="1" smtClean="0">
                <a:solidFill>
                  <a:schemeClr val="tx1"/>
                </a:solidFill>
              </a:rPr>
              <a:pPr/>
              <a:t>50</a:t>
            </a:fld>
            <a:endParaRPr lang="en-US" sz="800" b="1" dirty="0">
              <a:solidFill>
                <a:schemeClr val="tx1"/>
              </a:solidFill>
              <a:latin typeface="+mn-lt"/>
              <a:sym typeface="+mn-lt"/>
            </a:endParaRPr>
          </a:p>
        </p:txBody>
      </p:sp>
      <p:sp>
        <p:nvSpPr>
          <p:cNvPr id="70" name="Text Placeholder 5">
            <a:extLst>
              <a:ext uri="{FF2B5EF4-FFF2-40B4-BE49-F238E27FC236}">
                <a16:creationId xmlns:a16="http://schemas.microsoft.com/office/drawing/2014/main" id="{F8BE354C-BB33-4660-80AD-5C6A011CC068}"/>
              </a:ext>
            </a:extLst>
          </p:cNvPr>
          <p:cNvSpPr>
            <a:spLocks noGrp="1"/>
          </p:cNvSpPr>
          <p:nvPr>
            <p:custDataLst>
              <p:tags r:id="rId32"/>
            </p:custDataLst>
          </p:nvPr>
        </p:nvSpPr>
        <p:spPr bwMode="auto">
          <a:xfrm>
            <a:off x="9998075" y="5649913"/>
            <a:ext cx="115888"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DC1224D3-3987-43F6-B58A-C4BEA63EF964}" type="datetime'''''''''''''''''''''''''''''''''''''''''''''''5''''''4'''">
              <a:rPr lang="nl-NL" altLang="en-US" sz="800" b="1" smtClean="0">
                <a:solidFill>
                  <a:schemeClr val="tx1"/>
                </a:solidFill>
              </a:rPr>
              <a:pPr/>
              <a:t>54</a:t>
            </a:fld>
            <a:endParaRPr lang="en-US" sz="800" b="1" dirty="0">
              <a:solidFill>
                <a:schemeClr val="tx1"/>
              </a:solidFill>
              <a:latin typeface="+mn-lt"/>
              <a:sym typeface="+mn-lt"/>
            </a:endParaRPr>
          </a:p>
        </p:txBody>
      </p:sp>
      <p:sp>
        <p:nvSpPr>
          <p:cNvPr id="67" name="Text Placeholder 5">
            <a:extLst>
              <a:ext uri="{FF2B5EF4-FFF2-40B4-BE49-F238E27FC236}">
                <a16:creationId xmlns:a16="http://schemas.microsoft.com/office/drawing/2014/main" id="{A1E1DF4F-FF7C-403F-9496-713CA495865E}"/>
              </a:ext>
            </a:extLst>
          </p:cNvPr>
          <p:cNvSpPr>
            <a:spLocks noGrp="1"/>
          </p:cNvSpPr>
          <p:nvPr>
            <p:custDataLst>
              <p:tags r:id="rId33"/>
            </p:custDataLst>
          </p:nvPr>
        </p:nvSpPr>
        <p:spPr bwMode="auto">
          <a:xfrm>
            <a:off x="9194800"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BF5CD7D8-5B9F-4A9F-B643-229F70C730AA}" type="datetime'''''''''''''''''''''''''''''''''''''''''''5''''''''1'''''''">
              <a:rPr lang="nl-NL" altLang="en-US" sz="800" b="1" smtClean="0">
                <a:solidFill>
                  <a:schemeClr val="tx1"/>
                </a:solidFill>
              </a:rPr>
              <a:pPr/>
              <a:t>51</a:t>
            </a:fld>
            <a:endParaRPr lang="en-US" sz="800" b="1" dirty="0">
              <a:solidFill>
                <a:schemeClr val="tx1"/>
              </a:solidFill>
              <a:latin typeface="+mn-lt"/>
              <a:sym typeface="+mn-lt"/>
            </a:endParaRPr>
          </a:p>
        </p:txBody>
      </p:sp>
      <p:sp>
        <p:nvSpPr>
          <p:cNvPr id="68" name="Text Placeholder 5">
            <a:extLst>
              <a:ext uri="{FF2B5EF4-FFF2-40B4-BE49-F238E27FC236}">
                <a16:creationId xmlns:a16="http://schemas.microsoft.com/office/drawing/2014/main" id="{00E554DE-F57F-4C54-AAEA-1D71A5AE4D0D}"/>
              </a:ext>
            </a:extLst>
          </p:cNvPr>
          <p:cNvSpPr>
            <a:spLocks noGrp="1"/>
          </p:cNvSpPr>
          <p:nvPr>
            <p:custDataLst>
              <p:tags r:id="rId34"/>
            </p:custDataLst>
          </p:nvPr>
        </p:nvSpPr>
        <p:spPr bwMode="auto">
          <a:xfrm>
            <a:off x="9463088" y="5649913"/>
            <a:ext cx="11271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6F0A27C2-6ED6-42BC-BC32-5636265299FD}" type="datetime'''''''''''''''''''''''''''5''''2'''''''''''''''''''''''''">
              <a:rPr lang="nl-NL" altLang="en-US" sz="800" b="1" smtClean="0">
                <a:solidFill>
                  <a:schemeClr val="tx1"/>
                </a:solidFill>
              </a:rPr>
              <a:pPr/>
              <a:t>52</a:t>
            </a:fld>
            <a:endParaRPr lang="en-US" sz="800" b="1" dirty="0">
              <a:solidFill>
                <a:schemeClr val="tx1"/>
              </a:solidFill>
              <a:latin typeface="+mn-lt"/>
              <a:sym typeface="+mn-lt"/>
            </a:endParaRPr>
          </a:p>
        </p:txBody>
      </p:sp>
      <p:sp>
        <p:nvSpPr>
          <p:cNvPr id="69" name="Text Placeholder 5">
            <a:extLst>
              <a:ext uri="{FF2B5EF4-FFF2-40B4-BE49-F238E27FC236}">
                <a16:creationId xmlns:a16="http://schemas.microsoft.com/office/drawing/2014/main" id="{55FE50A2-23FD-411C-B02F-28E603159CC3}"/>
              </a:ext>
            </a:extLst>
          </p:cNvPr>
          <p:cNvSpPr>
            <a:spLocks noGrp="1"/>
          </p:cNvSpPr>
          <p:nvPr>
            <p:custDataLst>
              <p:tags r:id="rId35"/>
            </p:custDataLst>
          </p:nvPr>
        </p:nvSpPr>
        <p:spPr bwMode="auto">
          <a:xfrm>
            <a:off x="9731375" y="5649913"/>
            <a:ext cx="11112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5C11301F-36F4-48F6-8DCB-DB44EDB7A3FF}" type="datetime'''''''''''''''''''''''''5''''''''''''''''''''''''''''''''''3'">
              <a:rPr lang="nl-NL" altLang="en-US" sz="800" b="1" smtClean="0">
                <a:solidFill>
                  <a:schemeClr val="tx1"/>
                </a:solidFill>
              </a:rPr>
              <a:pPr/>
              <a:t>53</a:t>
            </a:fld>
            <a:endParaRPr lang="en-US" sz="800" b="1" dirty="0">
              <a:solidFill>
                <a:schemeClr val="tx1"/>
              </a:solidFill>
              <a:latin typeface="+mn-lt"/>
              <a:sym typeface="+mn-lt"/>
            </a:endParaRPr>
          </a:p>
        </p:txBody>
      </p:sp>
      <p:sp>
        <p:nvSpPr>
          <p:cNvPr id="65" name="Text Placeholder 5">
            <a:extLst>
              <a:ext uri="{FF2B5EF4-FFF2-40B4-BE49-F238E27FC236}">
                <a16:creationId xmlns:a16="http://schemas.microsoft.com/office/drawing/2014/main" id="{81133804-26D0-458E-A277-43A3FC5C9891}"/>
              </a:ext>
            </a:extLst>
          </p:cNvPr>
          <p:cNvSpPr>
            <a:spLocks noGrp="1"/>
          </p:cNvSpPr>
          <p:nvPr>
            <p:custDataLst>
              <p:tags r:id="rId36"/>
            </p:custDataLst>
          </p:nvPr>
        </p:nvSpPr>
        <p:spPr bwMode="auto">
          <a:xfrm>
            <a:off x="10533063" y="5649913"/>
            <a:ext cx="117475"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AACFDADA-966F-40C4-A4FE-7F332B8E5785}" type="datetime'5''''''''''''''''''''''6'''''''''''">
              <a:rPr lang="nl-NL" altLang="en-US" sz="800" b="1" smtClean="0">
                <a:solidFill>
                  <a:schemeClr val="tx1"/>
                </a:solidFill>
              </a:rPr>
              <a:pPr/>
              <a:t>56</a:t>
            </a:fld>
            <a:endParaRPr lang="en-US" sz="800" b="1" dirty="0">
              <a:solidFill>
                <a:schemeClr val="tx1"/>
              </a:solidFill>
              <a:latin typeface="+mn-lt"/>
              <a:sym typeface="+mn-lt"/>
            </a:endParaRPr>
          </a:p>
        </p:txBody>
      </p:sp>
      <p:sp>
        <p:nvSpPr>
          <p:cNvPr id="73" name="Text Placeholder 5">
            <a:extLst>
              <a:ext uri="{FF2B5EF4-FFF2-40B4-BE49-F238E27FC236}">
                <a16:creationId xmlns:a16="http://schemas.microsoft.com/office/drawing/2014/main" id="{D94A16D4-F61F-4FF0-820E-9ADA5ACC33D3}"/>
              </a:ext>
            </a:extLst>
          </p:cNvPr>
          <p:cNvSpPr>
            <a:spLocks noGrp="1"/>
          </p:cNvSpPr>
          <p:nvPr>
            <p:custDataLst>
              <p:tags r:id="rId37"/>
            </p:custDataLst>
          </p:nvPr>
        </p:nvSpPr>
        <p:spPr bwMode="auto">
          <a:xfrm>
            <a:off x="11068050" y="5649913"/>
            <a:ext cx="119063" cy="1095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a:spcBef>
                <a:spcPct val="0"/>
              </a:spcBef>
            </a:pPr>
            <a:fld id="{16CAB22D-9C54-4489-A4B4-DFAD8036B87B}" type="datetime'''''''5''''''''8'''''''''''">
              <a:rPr lang="nl-NL" altLang="en-US" sz="800" b="1" smtClean="0">
                <a:solidFill>
                  <a:schemeClr val="tx1"/>
                </a:solidFill>
              </a:rPr>
              <a:pPr/>
              <a:t>58</a:t>
            </a:fld>
            <a:endParaRPr lang="en-US" sz="800" b="1" dirty="0">
              <a:solidFill>
                <a:schemeClr val="tx1"/>
              </a:solidFill>
              <a:latin typeface="+mn-lt"/>
              <a:sym typeface="+mn-lt"/>
            </a:endParaRPr>
          </a:p>
        </p:txBody>
      </p:sp>
      <p:sp>
        <p:nvSpPr>
          <p:cNvPr id="125" name="Rectangle 124">
            <a:extLst>
              <a:ext uri="{FF2B5EF4-FFF2-40B4-BE49-F238E27FC236}">
                <a16:creationId xmlns:a16="http://schemas.microsoft.com/office/drawing/2014/main" id="{EF8E7EAF-8FB9-4819-8ED9-4515F08D1629}"/>
              </a:ext>
            </a:extLst>
          </p:cNvPr>
          <p:cNvSpPr/>
          <p:nvPr/>
        </p:nvSpPr>
        <p:spPr>
          <a:xfrm>
            <a:off x="669052" y="6146118"/>
            <a:ext cx="10862473" cy="173083"/>
          </a:xfrm>
          <a:prstGeom prst="rect">
            <a:avLst/>
          </a:prstGeom>
          <a:solidFill>
            <a:schemeClr val="accent4">
              <a:lumMod val="40000"/>
              <a:lumOff val="60000"/>
            </a:schemeClr>
          </a:solidFill>
          <a:ln w="9525">
            <a:solidFill>
              <a:srgbClr val="22777B"/>
            </a:solidFill>
          </a:ln>
        </p:spPr>
        <p:txBody>
          <a:bodyPr lIns="72000" rIns="72000" rtlCol="0" anchor="ctr">
            <a:noAutofit/>
          </a:bodyPr>
          <a:lstStyle/>
          <a:p>
            <a:pPr marL="0" indent="0" algn="ctr">
              <a:spcBef>
                <a:spcPts val="750"/>
              </a:spcBef>
              <a:buClr>
                <a:srgbClr val="FF0000"/>
              </a:buClr>
              <a:buNone/>
            </a:pPr>
            <a:r>
              <a:rPr lang="nl-NL" sz="1000" b="1" dirty="0">
                <a:solidFill>
                  <a:srgbClr val="000000"/>
                </a:solidFill>
                <a:latin typeface="Corbel" panose="020B0503020204020204" pitchFamily="34" charset="0"/>
                <a:cs typeface="+mn-cs"/>
              </a:rPr>
              <a:t>Netto contante waarde: </a:t>
            </a:r>
            <a:r>
              <a:rPr lang="nl-NL" sz="1000" b="1" dirty="0">
                <a:solidFill>
                  <a:srgbClr val="000000"/>
                </a:solidFill>
                <a:latin typeface="Corbel" panose="020B0503020204020204" pitchFamily="34" charset="0"/>
              </a:rPr>
              <a:t>€ </a:t>
            </a:r>
            <a:r>
              <a:rPr lang="en-GB" sz="1000" b="1" dirty="0">
                <a:solidFill>
                  <a:srgbClr val="000000"/>
                </a:solidFill>
                <a:latin typeface="Corbel" panose="020B0503020204020204" pitchFamily="34" charset="0"/>
              </a:rPr>
              <a:t>453 </a:t>
            </a:r>
            <a:r>
              <a:rPr lang="en-GB" sz="1000" b="1" dirty="0" err="1">
                <a:solidFill>
                  <a:srgbClr val="000000"/>
                </a:solidFill>
                <a:latin typeface="Corbel" panose="020B0503020204020204" pitchFamily="34" charset="0"/>
              </a:rPr>
              <a:t>miljoen</a:t>
            </a:r>
            <a:endParaRPr lang="nl-NL" sz="1000" i="1" dirty="0">
              <a:solidFill>
                <a:srgbClr val="000000"/>
              </a:solidFill>
              <a:highlight>
                <a:srgbClr val="FFFF00"/>
              </a:highlight>
              <a:latin typeface="Corbel" panose="020B0503020204020204" pitchFamily="34" charset="0"/>
              <a:cs typeface="+mn-cs"/>
            </a:endParaRPr>
          </a:p>
        </p:txBody>
      </p:sp>
      <p:cxnSp>
        <p:nvCxnSpPr>
          <p:cNvPr id="127" name="Straight Arrow Connector 126">
            <a:extLst>
              <a:ext uri="{FF2B5EF4-FFF2-40B4-BE49-F238E27FC236}">
                <a16:creationId xmlns:a16="http://schemas.microsoft.com/office/drawing/2014/main" id="{617257B6-F376-41C6-A36F-F826FB102499}"/>
              </a:ext>
            </a:extLst>
          </p:cNvPr>
          <p:cNvCxnSpPr/>
          <p:nvPr/>
        </p:nvCxnSpPr>
        <p:spPr>
          <a:xfrm>
            <a:off x="4425950"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968CCDB6-3CE9-431C-8F0E-9790039D45F4}"/>
              </a:ext>
            </a:extLst>
          </p:cNvPr>
          <p:cNvCxnSpPr/>
          <p:nvPr/>
        </p:nvCxnSpPr>
        <p:spPr>
          <a:xfrm>
            <a:off x="522539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F4117784-BB9B-47C1-BAEE-C9384B5C471A}"/>
              </a:ext>
            </a:extLst>
          </p:cNvPr>
          <p:cNvCxnSpPr/>
          <p:nvPr/>
        </p:nvCxnSpPr>
        <p:spPr>
          <a:xfrm>
            <a:off x="5497512"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073A750F-D829-4AFD-9EA8-AA1360F90F66}"/>
              </a:ext>
            </a:extLst>
          </p:cNvPr>
          <p:cNvCxnSpPr/>
          <p:nvPr/>
        </p:nvCxnSpPr>
        <p:spPr>
          <a:xfrm>
            <a:off x="5766594"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8DC42AEC-B44E-4A33-ACDF-5719590FA374}"/>
              </a:ext>
            </a:extLst>
          </p:cNvPr>
          <p:cNvCxnSpPr/>
          <p:nvPr/>
        </p:nvCxnSpPr>
        <p:spPr>
          <a:xfrm>
            <a:off x="6050568"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78D3CF41-9119-4EDC-92B9-8F6C87E123BF}"/>
              </a:ext>
            </a:extLst>
          </p:cNvPr>
          <p:cNvCxnSpPr/>
          <p:nvPr/>
        </p:nvCxnSpPr>
        <p:spPr>
          <a:xfrm>
            <a:off x="362267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a16="http://schemas.microsoft.com/office/drawing/2014/main" id="{0BD3625B-D01F-462D-B408-BD473B9C64D4}"/>
              </a:ext>
            </a:extLst>
          </p:cNvPr>
          <p:cNvCxnSpPr/>
          <p:nvPr/>
        </p:nvCxnSpPr>
        <p:spPr>
          <a:xfrm>
            <a:off x="6304195"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E638534A-EC6E-44BB-96C2-7531B100D96E}"/>
              </a:ext>
            </a:extLst>
          </p:cNvPr>
          <p:cNvCxnSpPr/>
          <p:nvPr/>
        </p:nvCxnSpPr>
        <p:spPr>
          <a:xfrm>
            <a:off x="6559828"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a16="http://schemas.microsoft.com/office/drawing/2014/main" id="{E872F003-D397-4CE8-8BA8-5766B6A78812}"/>
              </a:ext>
            </a:extLst>
          </p:cNvPr>
          <p:cNvCxnSpPr/>
          <p:nvPr/>
        </p:nvCxnSpPr>
        <p:spPr>
          <a:xfrm>
            <a:off x="6838950"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a16="http://schemas.microsoft.com/office/drawing/2014/main" id="{28E52A47-04AC-40C3-B34C-C851023102A2}"/>
              </a:ext>
            </a:extLst>
          </p:cNvPr>
          <p:cNvCxnSpPr/>
          <p:nvPr/>
        </p:nvCxnSpPr>
        <p:spPr>
          <a:xfrm>
            <a:off x="7106444"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a16="http://schemas.microsoft.com/office/drawing/2014/main" id="{38F20225-B1CF-442C-B612-010ED511F823}"/>
              </a:ext>
            </a:extLst>
          </p:cNvPr>
          <p:cNvCxnSpPr/>
          <p:nvPr/>
        </p:nvCxnSpPr>
        <p:spPr>
          <a:xfrm>
            <a:off x="7391351"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a16="http://schemas.microsoft.com/office/drawing/2014/main" id="{2258326D-FF2C-427C-91B4-3C3E499A4A75}"/>
              </a:ext>
            </a:extLst>
          </p:cNvPr>
          <p:cNvCxnSpPr/>
          <p:nvPr/>
        </p:nvCxnSpPr>
        <p:spPr>
          <a:xfrm>
            <a:off x="764259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a16="http://schemas.microsoft.com/office/drawing/2014/main" id="{CC5BD793-C565-42BA-8665-CE5F303EC376}"/>
              </a:ext>
            </a:extLst>
          </p:cNvPr>
          <p:cNvCxnSpPr/>
          <p:nvPr/>
        </p:nvCxnSpPr>
        <p:spPr>
          <a:xfrm>
            <a:off x="7893841"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1" name="Straight Arrow Connector 140">
            <a:extLst>
              <a:ext uri="{FF2B5EF4-FFF2-40B4-BE49-F238E27FC236}">
                <a16:creationId xmlns:a16="http://schemas.microsoft.com/office/drawing/2014/main" id="{70CE90A3-BFE5-43C6-95B2-D1CCE35EDC6B}"/>
              </a:ext>
            </a:extLst>
          </p:cNvPr>
          <p:cNvCxnSpPr/>
          <p:nvPr/>
        </p:nvCxnSpPr>
        <p:spPr>
          <a:xfrm>
            <a:off x="8173661"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2" name="Straight Arrow Connector 141">
            <a:extLst>
              <a:ext uri="{FF2B5EF4-FFF2-40B4-BE49-F238E27FC236}">
                <a16:creationId xmlns:a16="http://schemas.microsoft.com/office/drawing/2014/main" id="{3A1875A8-A440-4EAC-8B1D-413B93BA83EC}"/>
              </a:ext>
            </a:extLst>
          </p:cNvPr>
          <p:cNvCxnSpPr/>
          <p:nvPr/>
        </p:nvCxnSpPr>
        <p:spPr>
          <a:xfrm>
            <a:off x="8447087"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3" name="Straight Arrow Connector 142">
            <a:extLst>
              <a:ext uri="{FF2B5EF4-FFF2-40B4-BE49-F238E27FC236}">
                <a16:creationId xmlns:a16="http://schemas.microsoft.com/office/drawing/2014/main" id="{A2BE8CCF-D984-420D-8396-D4043060BD6B}"/>
              </a:ext>
            </a:extLst>
          </p:cNvPr>
          <p:cNvCxnSpPr/>
          <p:nvPr/>
        </p:nvCxnSpPr>
        <p:spPr>
          <a:xfrm>
            <a:off x="8716169"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a:extLst>
              <a:ext uri="{FF2B5EF4-FFF2-40B4-BE49-F238E27FC236}">
                <a16:creationId xmlns:a16="http://schemas.microsoft.com/office/drawing/2014/main" id="{886B1106-8336-41BE-A6AD-07C6ED63FEF9}"/>
              </a:ext>
            </a:extLst>
          </p:cNvPr>
          <p:cNvCxnSpPr/>
          <p:nvPr/>
        </p:nvCxnSpPr>
        <p:spPr>
          <a:xfrm>
            <a:off x="900359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5" name="Straight Arrow Connector 144">
            <a:extLst>
              <a:ext uri="{FF2B5EF4-FFF2-40B4-BE49-F238E27FC236}">
                <a16:creationId xmlns:a16="http://schemas.microsoft.com/office/drawing/2014/main" id="{60133C4D-5C73-4298-8A36-4775C20A87A7}"/>
              </a:ext>
            </a:extLst>
          </p:cNvPr>
          <p:cNvCxnSpPr/>
          <p:nvPr/>
        </p:nvCxnSpPr>
        <p:spPr>
          <a:xfrm>
            <a:off x="925115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Arrow Connector 145">
            <a:extLst>
              <a:ext uri="{FF2B5EF4-FFF2-40B4-BE49-F238E27FC236}">
                <a16:creationId xmlns:a16="http://schemas.microsoft.com/office/drawing/2014/main" id="{7242E47D-F831-4865-BD7C-F28B00FC0628}"/>
              </a:ext>
            </a:extLst>
          </p:cNvPr>
          <p:cNvCxnSpPr/>
          <p:nvPr/>
        </p:nvCxnSpPr>
        <p:spPr>
          <a:xfrm>
            <a:off x="9529105"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F291336D-969F-4388-8366-E8C70722CC65}"/>
              </a:ext>
            </a:extLst>
          </p:cNvPr>
          <p:cNvCxnSpPr/>
          <p:nvPr/>
        </p:nvCxnSpPr>
        <p:spPr>
          <a:xfrm>
            <a:off x="9790668"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8" name="Straight Arrow Connector 147">
            <a:extLst>
              <a:ext uri="{FF2B5EF4-FFF2-40B4-BE49-F238E27FC236}">
                <a16:creationId xmlns:a16="http://schemas.microsoft.com/office/drawing/2014/main" id="{06464D1E-3C7E-4E4B-9822-917CE625E140}"/>
              </a:ext>
            </a:extLst>
          </p:cNvPr>
          <p:cNvCxnSpPr/>
          <p:nvPr/>
        </p:nvCxnSpPr>
        <p:spPr>
          <a:xfrm>
            <a:off x="10056019"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49" name="Straight Arrow Connector 148">
            <a:extLst>
              <a:ext uri="{FF2B5EF4-FFF2-40B4-BE49-F238E27FC236}">
                <a16:creationId xmlns:a16="http://schemas.microsoft.com/office/drawing/2014/main" id="{19AEBECB-51F8-40F3-B028-06B98065359A}"/>
              </a:ext>
            </a:extLst>
          </p:cNvPr>
          <p:cNvCxnSpPr/>
          <p:nvPr/>
        </p:nvCxnSpPr>
        <p:spPr>
          <a:xfrm>
            <a:off x="10323512"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50" name="Straight Arrow Connector 149">
            <a:extLst>
              <a:ext uri="{FF2B5EF4-FFF2-40B4-BE49-F238E27FC236}">
                <a16:creationId xmlns:a16="http://schemas.microsoft.com/office/drawing/2014/main" id="{168A14E4-F952-4E26-90FB-B36A4EEAFDFA}"/>
              </a:ext>
            </a:extLst>
          </p:cNvPr>
          <p:cNvCxnSpPr/>
          <p:nvPr/>
        </p:nvCxnSpPr>
        <p:spPr>
          <a:xfrm>
            <a:off x="10591800"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51" name="Straight Arrow Connector 150">
            <a:extLst>
              <a:ext uri="{FF2B5EF4-FFF2-40B4-BE49-F238E27FC236}">
                <a16:creationId xmlns:a16="http://schemas.microsoft.com/office/drawing/2014/main" id="{A60C81CE-DD04-464C-B99F-AB4140A46640}"/>
              </a:ext>
            </a:extLst>
          </p:cNvPr>
          <p:cNvCxnSpPr/>
          <p:nvPr/>
        </p:nvCxnSpPr>
        <p:spPr>
          <a:xfrm>
            <a:off x="10848036"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a16="http://schemas.microsoft.com/office/drawing/2014/main" id="{093248F9-7C6C-470B-BFA6-5710C6A8EDA7}"/>
              </a:ext>
            </a:extLst>
          </p:cNvPr>
          <p:cNvCxnSpPr/>
          <p:nvPr/>
        </p:nvCxnSpPr>
        <p:spPr>
          <a:xfrm>
            <a:off x="11127581"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B844301E-6023-46AE-8069-0A391FA094CA}"/>
              </a:ext>
            </a:extLst>
          </p:cNvPr>
          <p:cNvCxnSpPr/>
          <p:nvPr/>
        </p:nvCxnSpPr>
        <p:spPr>
          <a:xfrm>
            <a:off x="11411268"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87E8E3B6-11B2-45AB-A32B-3935510815B2}"/>
              </a:ext>
            </a:extLst>
          </p:cNvPr>
          <p:cNvSpPr/>
          <p:nvPr/>
        </p:nvSpPr>
        <p:spPr>
          <a:xfrm>
            <a:off x="7317813" y="5861777"/>
            <a:ext cx="916883" cy="147002"/>
          </a:xfrm>
          <a:prstGeom prst="rect">
            <a:avLst/>
          </a:prstGeom>
          <a:solidFill>
            <a:srgbClr val="A6A6A6"/>
          </a:solidFill>
          <a:ln>
            <a:solidFill>
              <a:schemeClr val="accent6"/>
            </a:solidFill>
          </a:ln>
        </p:spPr>
        <p:txBody>
          <a:bodyPr lIns="36000" tIns="36000" rIns="36000" bIns="36000" rtlCol="0" anchor="ctr" anchorCtr="0">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00" b="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erdiscontering</a:t>
            </a:r>
            <a:endParaRPr kumimoji="0" lang="en-NL" sz="1000" b="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cxnSp>
        <p:nvCxnSpPr>
          <p:cNvPr id="174" name="Straight Connector 173">
            <a:extLst>
              <a:ext uri="{FF2B5EF4-FFF2-40B4-BE49-F238E27FC236}">
                <a16:creationId xmlns:a16="http://schemas.microsoft.com/office/drawing/2014/main" id="{458429FB-2D88-4D6C-A9E5-DDA45E39E6FE}"/>
              </a:ext>
            </a:extLst>
          </p:cNvPr>
          <p:cNvCxnSpPr>
            <a:cxnSpLocks/>
          </p:cNvCxnSpPr>
          <p:nvPr/>
        </p:nvCxnSpPr>
        <p:spPr>
          <a:xfrm>
            <a:off x="666746" y="2683580"/>
            <a:ext cx="1086247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6B7DBC12-44E4-466A-AD2E-DDD5ACC9A5E4}"/>
              </a:ext>
            </a:extLst>
          </p:cNvPr>
          <p:cNvCxnSpPr>
            <a:cxnSpLocks/>
          </p:cNvCxnSpPr>
          <p:nvPr/>
        </p:nvCxnSpPr>
        <p:spPr>
          <a:xfrm>
            <a:off x="666746" y="4823891"/>
            <a:ext cx="10862473"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Arrow Connector 187">
            <a:extLst>
              <a:ext uri="{FF2B5EF4-FFF2-40B4-BE49-F238E27FC236}">
                <a16:creationId xmlns:a16="http://schemas.microsoft.com/office/drawing/2014/main" id="{AA902BBA-B452-4054-B0D9-FA1977FB2AF5}"/>
              </a:ext>
            </a:extLst>
          </p:cNvPr>
          <p:cNvCxnSpPr/>
          <p:nvPr/>
        </p:nvCxnSpPr>
        <p:spPr>
          <a:xfrm>
            <a:off x="3890169"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89" name="Straight Arrow Connector 188">
            <a:extLst>
              <a:ext uri="{FF2B5EF4-FFF2-40B4-BE49-F238E27FC236}">
                <a16:creationId xmlns:a16="http://schemas.microsoft.com/office/drawing/2014/main" id="{0EF790C6-A360-4A6E-81D2-81190775C128}"/>
              </a:ext>
            </a:extLst>
          </p:cNvPr>
          <p:cNvCxnSpPr/>
          <p:nvPr/>
        </p:nvCxnSpPr>
        <p:spPr>
          <a:xfrm>
            <a:off x="4159297"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90" name="Straight Arrow Connector 189">
            <a:extLst>
              <a:ext uri="{FF2B5EF4-FFF2-40B4-BE49-F238E27FC236}">
                <a16:creationId xmlns:a16="http://schemas.microsoft.com/office/drawing/2014/main" id="{0A1D4DB3-E0EF-44EB-839E-015144E635D4}"/>
              </a:ext>
            </a:extLst>
          </p:cNvPr>
          <p:cNvCxnSpPr/>
          <p:nvPr/>
        </p:nvCxnSpPr>
        <p:spPr>
          <a:xfrm>
            <a:off x="4695032"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cxnSp>
        <p:nvCxnSpPr>
          <p:cNvPr id="191" name="Straight Arrow Connector 190">
            <a:extLst>
              <a:ext uri="{FF2B5EF4-FFF2-40B4-BE49-F238E27FC236}">
                <a16:creationId xmlns:a16="http://schemas.microsoft.com/office/drawing/2014/main" id="{C3E86013-8AB3-4727-A893-114374A5124D}"/>
              </a:ext>
            </a:extLst>
          </p:cNvPr>
          <p:cNvCxnSpPr/>
          <p:nvPr/>
        </p:nvCxnSpPr>
        <p:spPr>
          <a:xfrm>
            <a:off x="4962525" y="5826260"/>
            <a:ext cx="0" cy="290273"/>
          </a:xfrm>
          <a:prstGeom prst="straightConnector1">
            <a:avLst/>
          </a:prstGeom>
          <a:ln>
            <a:solidFill>
              <a:srgbClr val="A6A6A6"/>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246" name="Chart 245">
            <a:extLst>
              <a:ext uri="{FF2B5EF4-FFF2-40B4-BE49-F238E27FC236}">
                <a16:creationId xmlns:a16="http://schemas.microsoft.com/office/drawing/2014/main" id="{489D9FF7-BD1A-4A5C-A770-CA7B0822B95B}"/>
              </a:ext>
            </a:extLst>
          </p:cNvPr>
          <p:cNvGraphicFramePr/>
          <p:nvPr>
            <p:custDataLst>
              <p:tags r:id="rId38"/>
            </p:custDataLst>
          </p:nvPr>
        </p:nvGraphicFramePr>
        <p:xfrm>
          <a:off x="2065338" y="4064000"/>
          <a:ext cx="9547225" cy="695325"/>
        </p:xfrm>
        <a:graphic>
          <a:graphicData uri="http://schemas.openxmlformats.org/drawingml/2006/chart">
            <c:chart xmlns:c="http://schemas.openxmlformats.org/drawingml/2006/chart" xmlns:r="http://schemas.openxmlformats.org/officeDocument/2006/relationships" r:id="rId51"/>
          </a:graphicData>
        </a:graphic>
      </p:graphicFrame>
      <p:graphicFrame>
        <p:nvGraphicFramePr>
          <p:cNvPr id="247" name="Chart 246">
            <a:extLst>
              <a:ext uri="{FF2B5EF4-FFF2-40B4-BE49-F238E27FC236}">
                <a16:creationId xmlns:a16="http://schemas.microsoft.com/office/drawing/2014/main" id="{12C36D3F-34C3-4ED6-A1AD-241B00304522}"/>
              </a:ext>
            </a:extLst>
          </p:cNvPr>
          <p:cNvGraphicFramePr/>
          <p:nvPr>
            <p:custDataLst>
              <p:tags r:id="rId39"/>
            </p:custDataLst>
          </p:nvPr>
        </p:nvGraphicFramePr>
        <p:xfrm>
          <a:off x="2065338" y="2984500"/>
          <a:ext cx="9547225" cy="695325"/>
        </p:xfrm>
        <a:graphic>
          <a:graphicData uri="http://schemas.openxmlformats.org/drawingml/2006/chart">
            <c:chart xmlns:c="http://schemas.openxmlformats.org/drawingml/2006/chart" xmlns:r="http://schemas.openxmlformats.org/officeDocument/2006/relationships" r:id="rId52"/>
          </a:graphicData>
        </a:graphic>
      </p:graphicFrame>
      <p:graphicFrame>
        <p:nvGraphicFramePr>
          <p:cNvPr id="248" name="Chart 247">
            <a:extLst>
              <a:ext uri="{FF2B5EF4-FFF2-40B4-BE49-F238E27FC236}">
                <a16:creationId xmlns:a16="http://schemas.microsoft.com/office/drawing/2014/main" id="{51693767-98E6-40C8-B0F3-405FE557D188}"/>
              </a:ext>
            </a:extLst>
          </p:cNvPr>
          <p:cNvGraphicFramePr/>
          <p:nvPr>
            <p:custDataLst>
              <p:tags r:id="rId40"/>
            </p:custDataLst>
          </p:nvPr>
        </p:nvGraphicFramePr>
        <p:xfrm>
          <a:off x="2065338" y="1917700"/>
          <a:ext cx="9547225" cy="695325"/>
        </p:xfrm>
        <a:graphic>
          <a:graphicData uri="http://schemas.openxmlformats.org/drawingml/2006/chart">
            <c:chart xmlns:c="http://schemas.openxmlformats.org/drawingml/2006/chart" xmlns:r="http://schemas.openxmlformats.org/officeDocument/2006/relationships" r:id="rId53"/>
          </a:graphicData>
        </a:graphic>
      </p:graphicFrame>
      <p:sp>
        <p:nvSpPr>
          <p:cNvPr id="249" name="Rectangle 248">
            <a:extLst>
              <a:ext uri="{FF2B5EF4-FFF2-40B4-BE49-F238E27FC236}">
                <a16:creationId xmlns:a16="http://schemas.microsoft.com/office/drawing/2014/main" id="{9E69F36D-A867-4BDD-A559-53443947A887}"/>
              </a:ext>
            </a:extLst>
          </p:cNvPr>
          <p:cNvSpPr/>
          <p:nvPr/>
        </p:nvSpPr>
        <p:spPr>
          <a:xfrm rot="256469">
            <a:off x="8956225" y="1106680"/>
            <a:ext cx="2732986" cy="284233"/>
          </a:xfrm>
          <a:prstGeom prst="rect">
            <a:avLst/>
          </a:prstGeom>
          <a:solidFill>
            <a:srgbClr val="FFC000"/>
          </a:solidFill>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Dummygetallen</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5216069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A45D1A71-F746-46D9-9222-CFCDBBEC8FAD}"/>
              </a:ext>
            </a:extLst>
          </p:cNvPr>
          <p:cNvGraphicFramePr>
            <a:graphicFrameLocks noChangeAspect="1"/>
          </p:cNvGraphicFramePr>
          <p:nvPr>
            <p:custDataLst>
              <p:tags r:id="rId1"/>
            </p:custDataLst>
            <p:extLst>
              <p:ext uri="{D42A27DB-BD31-4B8C-83A1-F6EECF244321}">
                <p14:modId xmlns:p14="http://schemas.microsoft.com/office/powerpoint/2010/main" val="3552954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13" name="Object 12" hidden="1">
                        <a:extLst>
                          <a:ext uri="{FF2B5EF4-FFF2-40B4-BE49-F238E27FC236}">
                            <a16:creationId xmlns:a16="http://schemas.microsoft.com/office/drawing/2014/main" id="{A45D1A71-F746-46D9-9222-CFCDBBEC8FA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9EC4A5-CFC7-4F15-BE3C-B49D4D2B1A31}"/>
              </a:ext>
            </a:extLst>
          </p:cNvPr>
          <p:cNvSpPr/>
          <p:nvPr>
            <p:custDataLst>
              <p:tags r:id="rId2"/>
            </p:custDataLst>
          </p:nvPr>
        </p:nvSpPr>
        <p:spPr>
          <a:xfrm>
            <a:off x="0" y="0"/>
            <a:ext cx="158750" cy="158750"/>
          </a:xfrm>
          <a:prstGeom prst="rect">
            <a:avLst/>
          </a:prstGeom>
          <a:solidFill>
            <a:schemeClr val="bg1"/>
          </a:solidFill>
          <a:ln>
            <a:solidFill>
              <a:schemeClr val="bg1"/>
            </a:solidFill>
          </a:ln>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9EF33612-A1C2-4075-A42A-2662BBB2364F}"/>
              </a:ext>
            </a:extLst>
          </p:cNvPr>
          <p:cNvSpPr>
            <a:spLocks noGrp="1"/>
          </p:cNvSpPr>
          <p:nvPr>
            <p:ph type="sldNum" sz="quarter" idx="12"/>
          </p:nvPr>
        </p:nvSpPr>
        <p:spPr>
          <a:xfrm>
            <a:off x="10910098" y="6619875"/>
            <a:ext cx="1023140" cy="163513"/>
          </a:xfrm>
        </p:spPr>
        <p:txBody>
          <a:bodyPr/>
          <a:lstStyle/>
          <a:p>
            <a:fld id="{992CD0B2-8AB2-4C6C-8876-E15753662C9B}" type="slidenum">
              <a:rPr lang="nl-NL" noProof="0" smtClean="0"/>
              <a:pPr/>
              <a:t>9</a:t>
            </a:fld>
            <a:endParaRPr lang="nl-NL" noProof="0" dirty="0"/>
          </a:p>
        </p:txBody>
      </p:sp>
      <p:sp>
        <p:nvSpPr>
          <p:cNvPr id="132" name="Title 2">
            <a:extLst>
              <a:ext uri="{FF2B5EF4-FFF2-40B4-BE49-F238E27FC236}">
                <a16:creationId xmlns:a16="http://schemas.microsoft.com/office/drawing/2014/main" id="{96EB0E6C-530D-4380-A4D6-25AE80704856}"/>
              </a:ext>
            </a:extLst>
          </p:cNvPr>
          <p:cNvSpPr>
            <a:spLocks noGrp="1"/>
          </p:cNvSpPr>
          <p:nvPr>
            <p:ph type="title"/>
          </p:nvPr>
        </p:nvSpPr>
        <p:spPr>
          <a:xfrm>
            <a:off x="666747" y="266699"/>
            <a:ext cx="10866441" cy="930276"/>
          </a:xfrm>
        </p:spPr>
        <p:txBody>
          <a:bodyPr vert="horz"/>
          <a:lstStyle/>
          <a:p>
            <a:r>
              <a:rPr lang="nl-NL"/>
              <a:t>Casus metro</a:t>
            </a:r>
            <a:r>
              <a:rPr lang="en-NL"/>
              <a:t>-</a:t>
            </a:r>
            <a:r>
              <a:rPr lang="nl-NL"/>
              <a:t>uitbreiding – </a:t>
            </a:r>
            <a:r>
              <a:rPr lang="en-NL"/>
              <a:t>G</a:t>
            </a:r>
            <a:r>
              <a:rPr lang="nl-NL"/>
              <a:t>rote </a:t>
            </a:r>
            <a:r>
              <a:rPr lang="nl-NL" dirty="0"/>
              <a:t>verscheidenheid aan maatschappelijke </a:t>
            </a:r>
            <a:r>
              <a:rPr lang="nl-NL"/>
              <a:t>baten </a:t>
            </a:r>
            <a:r>
              <a:rPr lang="en-NL"/>
              <a:t>waar mogelijk </a:t>
            </a:r>
            <a:r>
              <a:rPr lang="nl-NL"/>
              <a:t>te </a:t>
            </a:r>
            <a:r>
              <a:rPr lang="nl-NL" dirty="0" err="1"/>
              <a:t>monetariseren</a:t>
            </a:r>
            <a:endParaRPr lang="nl-NL" dirty="0"/>
          </a:p>
        </p:txBody>
      </p:sp>
      <p:sp>
        <p:nvSpPr>
          <p:cNvPr id="7" name="Text Placeholder 6">
            <a:extLst>
              <a:ext uri="{FF2B5EF4-FFF2-40B4-BE49-F238E27FC236}">
                <a16:creationId xmlns:a16="http://schemas.microsoft.com/office/drawing/2014/main" id="{6D8B714C-975F-4671-ADBD-01273EA7435F}"/>
              </a:ext>
            </a:extLst>
          </p:cNvPr>
          <p:cNvSpPr>
            <a:spLocks noGrp="1"/>
          </p:cNvSpPr>
          <p:nvPr>
            <p:ph type="body" sz="quarter" idx="20"/>
          </p:nvPr>
        </p:nvSpPr>
        <p:spPr/>
        <p:txBody>
          <a:bodyPr/>
          <a:lstStyle/>
          <a:p>
            <a:pPr marL="0" indent="0" algn="l">
              <a:buNone/>
            </a:pPr>
            <a:r>
              <a:rPr lang="nl-NL" dirty="0"/>
              <a:t>Bron: </a:t>
            </a:r>
            <a:r>
              <a:rPr lang="nl-NL" sz="800" b="0" i="0" u="none" strike="noStrike" baseline="0" dirty="0">
                <a:solidFill>
                  <a:srgbClr val="000000"/>
                </a:solidFill>
                <a:latin typeface="Franklin Gothic Book" panose="020B0503020102020204" pitchFamily="34" charset="0"/>
              </a:rPr>
              <a:t> </a:t>
            </a:r>
            <a:r>
              <a:rPr lang="nl-NL" dirty="0"/>
              <a:t>Quick scan maatschappelijke businesscase Amsterdam Westflank (jan-2019) </a:t>
            </a:r>
          </a:p>
        </p:txBody>
      </p:sp>
      <p:sp>
        <p:nvSpPr>
          <p:cNvPr id="83" name="Rectangle 82">
            <a:extLst>
              <a:ext uri="{FF2B5EF4-FFF2-40B4-BE49-F238E27FC236}">
                <a16:creationId xmlns:a16="http://schemas.microsoft.com/office/drawing/2014/main" id="{BE1180E5-8307-4124-996F-C4EA25DB3CC1}"/>
              </a:ext>
            </a:extLst>
          </p:cNvPr>
          <p:cNvSpPr/>
          <p:nvPr/>
        </p:nvSpPr>
        <p:spPr>
          <a:xfrm>
            <a:off x="747057"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1</a:t>
            </a:r>
          </a:p>
        </p:txBody>
      </p:sp>
      <p:sp>
        <p:nvSpPr>
          <p:cNvPr id="84" name="Rectangle 83">
            <a:extLst>
              <a:ext uri="{FF2B5EF4-FFF2-40B4-BE49-F238E27FC236}">
                <a16:creationId xmlns:a16="http://schemas.microsoft.com/office/drawing/2014/main" id="{E228852D-7838-4461-8523-5967B4F072CB}"/>
              </a:ext>
            </a:extLst>
          </p:cNvPr>
          <p:cNvSpPr/>
          <p:nvPr/>
        </p:nvSpPr>
        <p:spPr>
          <a:xfrm>
            <a:off x="1361643" y="41563"/>
            <a:ext cx="3125831" cy="180000"/>
          </a:xfrm>
          <a:prstGeom prst="rect">
            <a:avLst/>
          </a:prstGeom>
          <a:noFill/>
          <a:ln w="9525">
            <a:noFill/>
          </a:ln>
          <a:extLst>
            <a:ext uri="{909E8E84-426E-40DD-AFC4-6F175D3DCCD1}">
              <a14:hiddenFill xmlns:a14="http://schemas.microsoft.com/office/drawing/2010/main">
                <a:solidFill>
                  <a:srgbClr val="DFDFDF"/>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rtl="0" eaLnBrk="1" fontAlgn="auto" latinLnBrk="0" hangingPunct="1">
              <a:lnSpc>
                <a:spcPct val="106000"/>
              </a:lnSpc>
              <a:spcBef>
                <a:spcPts val="0"/>
              </a:spcBef>
              <a:spcAft>
                <a:spcPts val="0"/>
              </a:spcAft>
              <a:buClr>
                <a:schemeClr val="dk1"/>
              </a:buClr>
              <a:buSzPts val="1200"/>
              <a:buFont typeface="Corbel"/>
              <a:buNone/>
              <a:tabLst/>
              <a:defRPr/>
            </a:pPr>
            <a:r>
              <a:rPr lang="nl-NL" sz="1000" b="1" dirty="0">
                <a:sym typeface="Corbel" panose="020B0503020204020204" pitchFamily="34" charset="0"/>
              </a:rPr>
              <a:t>Maatschappelijke kosten en baten</a:t>
            </a:r>
            <a:endParaRPr lang="nl-NL" sz="1000" b="0" dirty="0">
              <a:sym typeface="Corbel" panose="020B0503020204020204" pitchFamily="34" charset="0"/>
            </a:endParaRPr>
          </a:p>
        </p:txBody>
      </p:sp>
      <p:sp>
        <p:nvSpPr>
          <p:cNvPr id="87" name="Rectangle 86">
            <a:extLst>
              <a:ext uri="{FF2B5EF4-FFF2-40B4-BE49-F238E27FC236}">
                <a16:creationId xmlns:a16="http://schemas.microsoft.com/office/drawing/2014/main" id="{FDF7F5DE-2CA7-4B8C-86E0-6A2349FF6FA4}"/>
              </a:ext>
            </a:extLst>
          </p:cNvPr>
          <p:cNvSpPr/>
          <p:nvPr/>
        </p:nvSpPr>
        <p:spPr>
          <a:xfrm>
            <a:off x="961661" y="41563"/>
            <a:ext cx="180000" cy="180000"/>
          </a:xfrm>
          <a:prstGeom prst="rect">
            <a:avLst/>
          </a:prstGeom>
          <a:solidFill>
            <a:schemeClr val="bg1">
              <a:lumMod val="65000"/>
            </a:schemeClr>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2</a:t>
            </a:r>
          </a:p>
        </p:txBody>
      </p:sp>
      <p:sp>
        <p:nvSpPr>
          <p:cNvPr id="90" name="Rectangle 89">
            <a:extLst>
              <a:ext uri="{FF2B5EF4-FFF2-40B4-BE49-F238E27FC236}">
                <a16:creationId xmlns:a16="http://schemas.microsoft.com/office/drawing/2014/main" id="{10901BD1-1804-43AE-988C-CF91ED63C7DB}"/>
              </a:ext>
            </a:extLst>
          </p:cNvPr>
          <p:cNvSpPr/>
          <p:nvPr/>
        </p:nvSpPr>
        <p:spPr>
          <a:xfrm>
            <a:off x="1182898" y="41563"/>
            <a:ext cx="180000" cy="180000"/>
          </a:xfrm>
          <a:prstGeom prst="rect">
            <a:avLst/>
          </a:prstGeom>
          <a:solidFill>
            <a:srgbClr val="22777B"/>
          </a:solidFill>
          <a:ln w="9525">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100" b="1" dirty="0">
                <a:solidFill>
                  <a:srgbClr val="FFFFFF"/>
                </a:solidFill>
                <a:sym typeface="Corbel" panose="020B0503020204020204" pitchFamily="34" charset="0"/>
              </a:rPr>
              <a:t>3</a:t>
            </a:r>
          </a:p>
        </p:txBody>
      </p:sp>
      <p:grpSp>
        <p:nvGrpSpPr>
          <p:cNvPr id="18" name="Group 17">
            <a:extLst>
              <a:ext uri="{FF2B5EF4-FFF2-40B4-BE49-F238E27FC236}">
                <a16:creationId xmlns:a16="http://schemas.microsoft.com/office/drawing/2014/main" id="{502DFCB4-4A30-4C85-BCA8-DD33C918028A}"/>
              </a:ext>
            </a:extLst>
          </p:cNvPr>
          <p:cNvGrpSpPr/>
          <p:nvPr/>
        </p:nvGrpSpPr>
        <p:grpSpPr>
          <a:xfrm>
            <a:off x="5286417" y="1917308"/>
            <a:ext cx="6246771" cy="4195555"/>
            <a:chOff x="-618352" y="1634668"/>
            <a:chExt cx="6959213" cy="4674057"/>
          </a:xfrm>
        </p:grpSpPr>
        <p:grpSp>
          <p:nvGrpSpPr>
            <p:cNvPr id="17" name="Group 16">
              <a:extLst>
                <a:ext uri="{FF2B5EF4-FFF2-40B4-BE49-F238E27FC236}">
                  <a16:creationId xmlns:a16="http://schemas.microsoft.com/office/drawing/2014/main" id="{52A2A846-2AFF-4C93-9ED4-EF09442977F5}"/>
                </a:ext>
              </a:extLst>
            </p:cNvPr>
            <p:cNvGrpSpPr/>
            <p:nvPr/>
          </p:nvGrpSpPr>
          <p:grpSpPr>
            <a:xfrm>
              <a:off x="-491745" y="1933962"/>
              <a:ext cx="6832606" cy="4374763"/>
              <a:chOff x="2715633" y="1876425"/>
              <a:chExt cx="6804805" cy="4356961"/>
            </a:xfrm>
          </p:grpSpPr>
          <p:grpSp>
            <p:nvGrpSpPr>
              <p:cNvPr id="63" name="Group 62">
                <a:extLst>
                  <a:ext uri="{FF2B5EF4-FFF2-40B4-BE49-F238E27FC236}">
                    <a16:creationId xmlns:a16="http://schemas.microsoft.com/office/drawing/2014/main" id="{5EB4898E-D898-41F0-BE30-3A198596542B}"/>
                  </a:ext>
                </a:extLst>
              </p:cNvPr>
              <p:cNvGrpSpPr/>
              <p:nvPr/>
            </p:nvGrpSpPr>
            <p:grpSpPr>
              <a:xfrm>
                <a:off x="2715633" y="1876425"/>
                <a:ext cx="6804805" cy="4356961"/>
                <a:chOff x="3762072" y="3698731"/>
                <a:chExt cx="3229742" cy="2067930"/>
              </a:xfrm>
            </p:grpSpPr>
            <p:sp>
              <p:nvSpPr>
                <p:cNvPr id="62" name="Freeform: Shape 61">
                  <a:extLst>
                    <a:ext uri="{FF2B5EF4-FFF2-40B4-BE49-F238E27FC236}">
                      <a16:creationId xmlns:a16="http://schemas.microsoft.com/office/drawing/2014/main" id="{0DA9DF4A-D2A3-45EF-9737-86C7D9A14698}"/>
                    </a:ext>
                  </a:extLst>
                </p:cNvPr>
                <p:cNvSpPr/>
                <p:nvPr/>
              </p:nvSpPr>
              <p:spPr>
                <a:xfrm>
                  <a:off x="3762072" y="3698731"/>
                  <a:ext cx="1613457" cy="2067930"/>
                </a:xfrm>
                <a:custGeom>
                  <a:avLst/>
                  <a:gdLst>
                    <a:gd name="connsiteX0" fmla="*/ 1024995 w 1613457"/>
                    <a:gd name="connsiteY0" fmla="*/ 0 h 2067930"/>
                    <a:gd name="connsiteX1" fmla="*/ 1124230 w 1613457"/>
                    <a:gd name="connsiteY1" fmla="*/ 25827 h 2067930"/>
                    <a:gd name="connsiteX2" fmla="*/ 1064688 w 1613457"/>
                    <a:gd name="connsiteY2" fmla="*/ 309950 h 2067930"/>
                    <a:gd name="connsiteX3" fmla="*/ 1230083 w 1613457"/>
                    <a:gd name="connsiteY3" fmla="*/ 348697 h 2067930"/>
                    <a:gd name="connsiteX4" fmla="*/ 1236698 w 1613457"/>
                    <a:gd name="connsiteY4" fmla="*/ 516587 h 2067930"/>
                    <a:gd name="connsiteX5" fmla="*/ 1236588 w 1613457"/>
                    <a:gd name="connsiteY5" fmla="*/ 516694 h 2067930"/>
                    <a:gd name="connsiteX6" fmla="*/ 1254912 w 1613457"/>
                    <a:gd name="connsiteY6" fmla="*/ 564383 h 2067930"/>
                    <a:gd name="connsiteX7" fmla="*/ 1228353 w 1613457"/>
                    <a:gd name="connsiteY7" fmla="*/ 706965 h 2067930"/>
                    <a:gd name="connsiteX8" fmla="*/ 1234992 w 1613457"/>
                    <a:gd name="connsiteY8" fmla="*/ 732886 h 2067930"/>
                    <a:gd name="connsiteX9" fmla="*/ 1440824 w 1613457"/>
                    <a:gd name="connsiteY9" fmla="*/ 868982 h 2067930"/>
                    <a:gd name="connsiteX10" fmla="*/ 1487303 w 1613457"/>
                    <a:gd name="connsiteY10" fmla="*/ 933791 h 2067930"/>
                    <a:gd name="connsiteX11" fmla="*/ 1600176 w 1613457"/>
                    <a:gd name="connsiteY11" fmla="*/ 1011559 h 2067930"/>
                    <a:gd name="connsiteX12" fmla="*/ 1613457 w 1613457"/>
                    <a:gd name="connsiteY12" fmla="*/ 1037485 h 2067930"/>
                    <a:gd name="connsiteX13" fmla="*/ 1593537 w 1613457"/>
                    <a:gd name="connsiteY13" fmla="*/ 1160618 h 2067930"/>
                    <a:gd name="connsiteX14" fmla="*/ 1553700 w 1613457"/>
                    <a:gd name="connsiteY14" fmla="*/ 1212465 h 2067930"/>
                    <a:gd name="connsiteX15" fmla="*/ 1467383 w 1613457"/>
                    <a:gd name="connsiteY15" fmla="*/ 1270793 h 2067930"/>
                    <a:gd name="connsiteX16" fmla="*/ 1434185 w 1613457"/>
                    <a:gd name="connsiteY16" fmla="*/ 1368005 h 2067930"/>
                    <a:gd name="connsiteX17" fmla="*/ 1374427 w 1613457"/>
                    <a:gd name="connsiteY17" fmla="*/ 1426329 h 2067930"/>
                    <a:gd name="connsiteX18" fmla="*/ 1288110 w 1613457"/>
                    <a:gd name="connsiteY18" fmla="*/ 1484657 h 2067930"/>
                    <a:gd name="connsiteX19" fmla="*/ 1175234 w 1613457"/>
                    <a:gd name="connsiteY19" fmla="*/ 1530023 h 2067930"/>
                    <a:gd name="connsiteX20" fmla="*/ 1128754 w 1613457"/>
                    <a:gd name="connsiteY20" fmla="*/ 1568907 h 2067930"/>
                    <a:gd name="connsiteX21" fmla="*/ 1068997 w 1613457"/>
                    <a:gd name="connsiteY21" fmla="*/ 1594832 h 2067930"/>
                    <a:gd name="connsiteX22" fmla="*/ 1015882 w 1613457"/>
                    <a:gd name="connsiteY22" fmla="*/ 1653160 h 2067930"/>
                    <a:gd name="connsiteX23" fmla="*/ 976041 w 1613457"/>
                    <a:gd name="connsiteY23" fmla="*/ 1685563 h 2067930"/>
                    <a:gd name="connsiteX24" fmla="*/ 903006 w 1613457"/>
                    <a:gd name="connsiteY24" fmla="*/ 1795738 h 2067930"/>
                    <a:gd name="connsiteX25" fmla="*/ 783491 w 1613457"/>
                    <a:gd name="connsiteY25" fmla="*/ 1841103 h 2067930"/>
                    <a:gd name="connsiteX26" fmla="*/ 756932 w 1613457"/>
                    <a:gd name="connsiteY26" fmla="*/ 1879987 h 2067930"/>
                    <a:gd name="connsiteX27" fmla="*/ 683892 w 1613457"/>
                    <a:gd name="connsiteY27" fmla="*/ 1944792 h 2067930"/>
                    <a:gd name="connsiteX28" fmla="*/ 637417 w 1613457"/>
                    <a:gd name="connsiteY28" fmla="*/ 1964236 h 2067930"/>
                    <a:gd name="connsiteX29" fmla="*/ 571020 w 1613457"/>
                    <a:gd name="connsiteY29" fmla="*/ 2009602 h 2067930"/>
                    <a:gd name="connsiteX30" fmla="*/ 491342 w 1613457"/>
                    <a:gd name="connsiteY30" fmla="*/ 2054967 h 2067930"/>
                    <a:gd name="connsiteX31" fmla="*/ 405025 w 1613457"/>
                    <a:gd name="connsiteY31" fmla="*/ 2067930 h 2067930"/>
                    <a:gd name="connsiteX32" fmla="*/ 305431 w 1613457"/>
                    <a:gd name="connsiteY32" fmla="*/ 2067930 h 2067930"/>
                    <a:gd name="connsiteX33" fmla="*/ 192555 w 1613457"/>
                    <a:gd name="connsiteY33" fmla="*/ 2029042 h 2067930"/>
                    <a:gd name="connsiteX34" fmla="*/ 119515 w 1613457"/>
                    <a:gd name="connsiteY34" fmla="*/ 2042004 h 2067930"/>
                    <a:gd name="connsiteX35" fmla="*/ 33198 w 1613457"/>
                    <a:gd name="connsiteY35" fmla="*/ 2022564 h 2067930"/>
                    <a:gd name="connsiteX36" fmla="*/ 0 w 1613457"/>
                    <a:gd name="connsiteY36" fmla="*/ 1951274 h 2067930"/>
                    <a:gd name="connsiteX37" fmla="*/ 19921 w 1613457"/>
                    <a:gd name="connsiteY37" fmla="*/ 1905908 h 2067930"/>
                    <a:gd name="connsiteX38" fmla="*/ 59758 w 1613457"/>
                    <a:gd name="connsiteY38" fmla="*/ 1886468 h 2067930"/>
                    <a:gd name="connsiteX39" fmla="*/ 73039 w 1613457"/>
                    <a:gd name="connsiteY39" fmla="*/ 1873506 h 2067930"/>
                    <a:gd name="connsiteX40" fmla="*/ 112877 w 1613457"/>
                    <a:gd name="connsiteY40" fmla="*/ 1640197 h 2067930"/>
                    <a:gd name="connsiteX41" fmla="*/ 106238 w 1613457"/>
                    <a:gd name="connsiteY41" fmla="*/ 1555948 h 2067930"/>
                    <a:gd name="connsiteX42" fmla="*/ 232392 w 1613457"/>
                    <a:gd name="connsiteY42" fmla="*/ 1439292 h 2067930"/>
                    <a:gd name="connsiteX43" fmla="*/ 278871 w 1613457"/>
                    <a:gd name="connsiteY43" fmla="*/ 1335598 h 2067930"/>
                    <a:gd name="connsiteX44" fmla="*/ 285510 w 1613457"/>
                    <a:gd name="connsiteY44" fmla="*/ 1283752 h 2067930"/>
                    <a:gd name="connsiteX45" fmla="*/ 325347 w 1613457"/>
                    <a:gd name="connsiteY45" fmla="*/ 1199502 h 2067930"/>
                    <a:gd name="connsiteX46" fmla="*/ 371827 w 1613457"/>
                    <a:gd name="connsiteY46" fmla="*/ 1141174 h 2067930"/>
                    <a:gd name="connsiteX47" fmla="*/ 371827 w 1613457"/>
                    <a:gd name="connsiteY47" fmla="*/ 1018041 h 2067930"/>
                    <a:gd name="connsiteX48" fmla="*/ 405025 w 1613457"/>
                    <a:gd name="connsiteY48" fmla="*/ 953231 h 2067930"/>
                    <a:gd name="connsiteX49" fmla="*/ 484703 w 1613457"/>
                    <a:gd name="connsiteY49" fmla="*/ 901389 h 2067930"/>
                    <a:gd name="connsiteX50" fmla="*/ 597576 w 1613457"/>
                    <a:gd name="connsiteY50" fmla="*/ 875463 h 2067930"/>
                    <a:gd name="connsiteX51" fmla="*/ 750293 w 1613457"/>
                    <a:gd name="connsiteY51" fmla="*/ 771770 h 2067930"/>
                    <a:gd name="connsiteX52" fmla="*/ 763570 w 1613457"/>
                    <a:gd name="connsiteY52" fmla="*/ 726405 h 2067930"/>
                    <a:gd name="connsiteX53" fmla="*/ 737011 w 1613457"/>
                    <a:gd name="connsiteY53" fmla="*/ 577346 h 2067930"/>
                    <a:gd name="connsiteX54" fmla="*/ 750293 w 1613457"/>
                    <a:gd name="connsiteY54" fmla="*/ 544943 h 2067930"/>
                    <a:gd name="connsiteX55" fmla="*/ 776852 w 1613457"/>
                    <a:gd name="connsiteY55" fmla="*/ 525499 h 2067930"/>
                    <a:gd name="connsiteX56" fmla="*/ 896341 w 1613457"/>
                    <a:gd name="connsiteY56" fmla="*/ 491807 h 2067930"/>
                    <a:gd name="connsiteX57" fmla="*/ 753750 w 1613457"/>
                    <a:gd name="connsiteY57" fmla="*/ 529502 h 2067930"/>
                    <a:gd name="connsiteX58" fmla="*/ 806672 w 1613457"/>
                    <a:gd name="connsiteY58" fmla="*/ 477843 h 2067930"/>
                    <a:gd name="connsiteX59" fmla="*/ 813291 w 1613457"/>
                    <a:gd name="connsiteY59" fmla="*/ 432642 h 2067930"/>
                    <a:gd name="connsiteX60" fmla="*/ 786828 w 1613457"/>
                    <a:gd name="connsiteY60" fmla="*/ 426184 h 2067930"/>
                    <a:gd name="connsiteX61" fmla="*/ 780213 w 1613457"/>
                    <a:gd name="connsiteY61" fmla="*/ 406810 h 2067930"/>
                    <a:gd name="connsiteX62" fmla="*/ 760364 w 1613457"/>
                    <a:gd name="connsiteY62" fmla="*/ 413268 h 2067930"/>
                    <a:gd name="connsiteX63" fmla="*/ 740516 w 1613457"/>
                    <a:gd name="connsiteY63" fmla="*/ 400352 h 2067930"/>
                    <a:gd name="connsiteX64" fmla="*/ 733901 w 1613457"/>
                    <a:gd name="connsiteY64" fmla="*/ 374525 h 2067930"/>
                    <a:gd name="connsiteX65" fmla="*/ 766979 w 1613457"/>
                    <a:gd name="connsiteY65" fmla="*/ 322866 h 2067930"/>
                    <a:gd name="connsiteX66" fmla="*/ 707438 w 1613457"/>
                    <a:gd name="connsiteY66" fmla="*/ 303496 h 2067930"/>
                    <a:gd name="connsiteX67" fmla="*/ 707438 w 1613457"/>
                    <a:gd name="connsiteY67" fmla="*/ 277665 h 2067930"/>
                    <a:gd name="connsiteX68" fmla="*/ 740516 w 1613457"/>
                    <a:gd name="connsiteY68" fmla="*/ 251833 h 2067930"/>
                    <a:gd name="connsiteX69" fmla="*/ 727286 w 1613457"/>
                    <a:gd name="connsiteY69" fmla="*/ 226006 h 2067930"/>
                    <a:gd name="connsiteX70" fmla="*/ 747131 w 1613457"/>
                    <a:gd name="connsiteY70" fmla="*/ 226006 h 2067930"/>
                    <a:gd name="connsiteX71" fmla="*/ 780213 w 1613457"/>
                    <a:gd name="connsiteY71" fmla="*/ 200178 h 2067930"/>
                    <a:gd name="connsiteX72" fmla="*/ 899296 w 1613457"/>
                    <a:gd name="connsiteY72" fmla="*/ 77486 h 2067930"/>
                    <a:gd name="connsiteX73" fmla="*/ 958838 w 1613457"/>
                    <a:gd name="connsiteY73" fmla="*/ 51659 h 2067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1613457" h="2067930">
                      <a:moveTo>
                        <a:pt x="1024995" y="0"/>
                      </a:moveTo>
                      <a:lnTo>
                        <a:pt x="1124230" y="25827"/>
                      </a:lnTo>
                      <a:lnTo>
                        <a:pt x="1064688" y="309950"/>
                      </a:lnTo>
                      <a:lnTo>
                        <a:pt x="1230083" y="348697"/>
                      </a:lnTo>
                      <a:lnTo>
                        <a:pt x="1236698" y="516587"/>
                      </a:lnTo>
                      <a:lnTo>
                        <a:pt x="1236588" y="516694"/>
                      </a:lnTo>
                      <a:lnTo>
                        <a:pt x="1254912" y="564383"/>
                      </a:lnTo>
                      <a:lnTo>
                        <a:pt x="1228353" y="706965"/>
                      </a:lnTo>
                      <a:lnTo>
                        <a:pt x="1234992" y="732886"/>
                      </a:lnTo>
                      <a:lnTo>
                        <a:pt x="1440824" y="868982"/>
                      </a:lnTo>
                      <a:lnTo>
                        <a:pt x="1487303" y="933791"/>
                      </a:lnTo>
                      <a:lnTo>
                        <a:pt x="1600176" y="1011559"/>
                      </a:lnTo>
                      <a:lnTo>
                        <a:pt x="1613457" y="1037485"/>
                      </a:lnTo>
                      <a:lnTo>
                        <a:pt x="1593537" y="1160618"/>
                      </a:lnTo>
                      <a:lnTo>
                        <a:pt x="1553700" y="1212465"/>
                      </a:lnTo>
                      <a:lnTo>
                        <a:pt x="1467383" y="1270793"/>
                      </a:lnTo>
                      <a:lnTo>
                        <a:pt x="1434185" y="1368005"/>
                      </a:lnTo>
                      <a:lnTo>
                        <a:pt x="1374427" y="1426329"/>
                      </a:lnTo>
                      <a:lnTo>
                        <a:pt x="1288110" y="1484657"/>
                      </a:lnTo>
                      <a:lnTo>
                        <a:pt x="1175234" y="1530023"/>
                      </a:lnTo>
                      <a:lnTo>
                        <a:pt x="1128754" y="1568907"/>
                      </a:lnTo>
                      <a:lnTo>
                        <a:pt x="1068997" y="1594832"/>
                      </a:lnTo>
                      <a:lnTo>
                        <a:pt x="1015882" y="1653160"/>
                      </a:lnTo>
                      <a:lnTo>
                        <a:pt x="976041" y="1685563"/>
                      </a:lnTo>
                      <a:lnTo>
                        <a:pt x="903006" y="1795738"/>
                      </a:lnTo>
                      <a:lnTo>
                        <a:pt x="783491" y="1841103"/>
                      </a:lnTo>
                      <a:lnTo>
                        <a:pt x="756932" y="1879987"/>
                      </a:lnTo>
                      <a:lnTo>
                        <a:pt x="683892" y="1944792"/>
                      </a:lnTo>
                      <a:lnTo>
                        <a:pt x="637417" y="1964236"/>
                      </a:lnTo>
                      <a:lnTo>
                        <a:pt x="571020" y="2009602"/>
                      </a:lnTo>
                      <a:lnTo>
                        <a:pt x="491342" y="2054967"/>
                      </a:lnTo>
                      <a:lnTo>
                        <a:pt x="405025" y="2067930"/>
                      </a:lnTo>
                      <a:lnTo>
                        <a:pt x="305431" y="2067930"/>
                      </a:lnTo>
                      <a:lnTo>
                        <a:pt x="192555" y="2029042"/>
                      </a:lnTo>
                      <a:lnTo>
                        <a:pt x="119515" y="2042004"/>
                      </a:lnTo>
                      <a:lnTo>
                        <a:pt x="33198" y="2022564"/>
                      </a:lnTo>
                      <a:lnTo>
                        <a:pt x="0" y="1951274"/>
                      </a:lnTo>
                      <a:lnTo>
                        <a:pt x="19921" y="1905908"/>
                      </a:lnTo>
                      <a:lnTo>
                        <a:pt x="59758" y="1886468"/>
                      </a:lnTo>
                      <a:lnTo>
                        <a:pt x="73039" y="1873506"/>
                      </a:lnTo>
                      <a:lnTo>
                        <a:pt x="112877" y="1640197"/>
                      </a:lnTo>
                      <a:lnTo>
                        <a:pt x="106238" y="1555948"/>
                      </a:lnTo>
                      <a:lnTo>
                        <a:pt x="232392" y="1439292"/>
                      </a:lnTo>
                      <a:lnTo>
                        <a:pt x="278871" y="1335598"/>
                      </a:lnTo>
                      <a:lnTo>
                        <a:pt x="285510" y="1283752"/>
                      </a:lnTo>
                      <a:lnTo>
                        <a:pt x="325347" y="1199502"/>
                      </a:lnTo>
                      <a:lnTo>
                        <a:pt x="371827" y="1141174"/>
                      </a:lnTo>
                      <a:lnTo>
                        <a:pt x="371827" y="1018041"/>
                      </a:lnTo>
                      <a:lnTo>
                        <a:pt x="405025" y="953231"/>
                      </a:lnTo>
                      <a:lnTo>
                        <a:pt x="484703" y="901389"/>
                      </a:lnTo>
                      <a:lnTo>
                        <a:pt x="597576" y="875463"/>
                      </a:lnTo>
                      <a:lnTo>
                        <a:pt x="750293" y="771770"/>
                      </a:lnTo>
                      <a:lnTo>
                        <a:pt x="763570" y="726405"/>
                      </a:lnTo>
                      <a:lnTo>
                        <a:pt x="737011" y="577346"/>
                      </a:lnTo>
                      <a:lnTo>
                        <a:pt x="750293" y="544943"/>
                      </a:lnTo>
                      <a:lnTo>
                        <a:pt x="776852" y="525499"/>
                      </a:lnTo>
                      <a:lnTo>
                        <a:pt x="896341" y="491807"/>
                      </a:lnTo>
                      <a:lnTo>
                        <a:pt x="753750" y="529502"/>
                      </a:lnTo>
                      <a:lnTo>
                        <a:pt x="806672" y="477843"/>
                      </a:lnTo>
                      <a:lnTo>
                        <a:pt x="813291" y="432642"/>
                      </a:lnTo>
                      <a:lnTo>
                        <a:pt x="786828" y="426184"/>
                      </a:lnTo>
                      <a:lnTo>
                        <a:pt x="780213" y="406810"/>
                      </a:lnTo>
                      <a:lnTo>
                        <a:pt x="760364" y="413268"/>
                      </a:lnTo>
                      <a:lnTo>
                        <a:pt x="740516" y="400352"/>
                      </a:lnTo>
                      <a:lnTo>
                        <a:pt x="733901" y="374525"/>
                      </a:lnTo>
                      <a:lnTo>
                        <a:pt x="766979" y="322866"/>
                      </a:lnTo>
                      <a:lnTo>
                        <a:pt x="707438" y="303496"/>
                      </a:lnTo>
                      <a:lnTo>
                        <a:pt x="707438" y="277665"/>
                      </a:lnTo>
                      <a:lnTo>
                        <a:pt x="740516" y="251833"/>
                      </a:lnTo>
                      <a:lnTo>
                        <a:pt x="727286" y="226006"/>
                      </a:lnTo>
                      <a:lnTo>
                        <a:pt x="747131" y="226006"/>
                      </a:lnTo>
                      <a:lnTo>
                        <a:pt x="780213" y="200178"/>
                      </a:lnTo>
                      <a:lnTo>
                        <a:pt x="899296" y="77486"/>
                      </a:lnTo>
                      <a:lnTo>
                        <a:pt x="958838" y="51659"/>
                      </a:lnTo>
                      <a:close/>
                    </a:path>
                  </a:pathLst>
                </a:custGeom>
                <a:solidFill>
                  <a:schemeClr val="bg1">
                    <a:lumMod val="85000"/>
                  </a:schemeClr>
                </a:solidFill>
                <a:ln w="1905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endParaRPr>
                </a:p>
              </p:txBody>
            </p:sp>
            <p:sp>
              <p:nvSpPr>
                <p:cNvPr id="42" name="TextBox 41">
                  <a:extLst>
                    <a:ext uri="{FF2B5EF4-FFF2-40B4-BE49-F238E27FC236}">
                      <a16:creationId xmlns:a16="http://schemas.microsoft.com/office/drawing/2014/main" id="{DF2AB2F3-938B-4A97-95D7-767C63B01C31}"/>
                    </a:ext>
                  </a:extLst>
                </p:cNvPr>
                <p:cNvSpPr txBox="1"/>
                <p:nvPr/>
              </p:nvSpPr>
              <p:spPr>
                <a:xfrm>
                  <a:off x="4923215" y="3943641"/>
                  <a:ext cx="1437502" cy="376449"/>
                </a:xfrm>
                <a:prstGeom prst="rect">
                  <a:avLst/>
                </a:prstGeom>
                <a:noFill/>
              </p:spPr>
              <p:txBody>
                <a:bodyPr wrap="square" rtlCol="0">
                  <a:spAutoFit/>
                </a:bodyPr>
                <a:lstStyle/>
                <a:p>
                  <a:pPr algn="ctr"/>
                  <a:r>
                    <a:rPr lang="nl-NL" sz="500" b="1" dirty="0">
                      <a:solidFill>
                        <a:schemeClr val="bg1"/>
                      </a:solidFill>
                      <a:latin typeface="+mj-lt"/>
                    </a:rPr>
                    <a:t>Amsterdam</a:t>
                  </a:r>
                </a:p>
              </p:txBody>
            </p:sp>
            <p:grpSp>
              <p:nvGrpSpPr>
                <p:cNvPr id="60" name="Group 59">
                  <a:extLst>
                    <a:ext uri="{FF2B5EF4-FFF2-40B4-BE49-F238E27FC236}">
                      <a16:creationId xmlns:a16="http://schemas.microsoft.com/office/drawing/2014/main" id="{886E381C-8319-4663-AEAD-445EEC807CCA}"/>
                    </a:ext>
                  </a:extLst>
                </p:cNvPr>
                <p:cNvGrpSpPr/>
                <p:nvPr/>
              </p:nvGrpSpPr>
              <p:grpSpPr>
                <a:xfrm>
                  <a:off x="4815432" y="3724546"/>
                  <a:ext cx="2176382" cy="1442706"/>
                  <a:chOff x="4815432" y="3724546"/>
                  <a:chExt cx="2176382" cy="1442706"/>
                </a:xfrm>
                <a:solidFill>
                  <a:schemeClr val="accent1">
                    <a:lumMod val="40000"/>
                    <a:lumOff val="60000"/>
                  </a:schemeClr>
                </a:solidFill>
              </p:grpSpPr>
              <p:sp>
                <p:nvSpPr>
                  <p:cNvPr id="52" name="Freeform: Shape 51">
                    <a:extLst>
                      <a:ext uri="{FF2B5EF4-FFF2-40B4-BE49-F238E27FC236}">
                        <a16:creationId xmlns:a16="http://schemas.microsoft.com/office/drawing/2014/main" id="{E8FAC547-3801-4C5C-BD06-4D0FACEC9933}"/>
                      </a:ext>
                    </a:extLst>
                  </p:cNvPr>
                  <p:cNvSpPr/>
                  <p:nvPr/>
                </p:nvSpPr>
                <p:spPr>
                  <a:xfrm>
                    <a:off x="5714698" y="4127236"/>
                    <a:ext cx="362520" cy="288275"/>
                  </a:xfrm>
                  <a:custGeom>
                    <a:avLst/>
                    <a:gdLst>
                      <a:gd name="connsiteX0" fmla="*/ 662104 w 1276350"/>
                      <a:gd name="connsiteY0" fmla="*/ 646615 h 676275"/>
                      <a:gd name="connsiteX1" fmla="*/ 648372 w 1276350"/>
                      <a:gd name="connsiteY1" fmla="*/ 650173 h 676275"/>
                      <a:gd name="connsiteX2" fmla="*/ 597938 w 1276350"/>
                      <a:gd name="connsiteY2" fmla="*/ 660000 h 676275"/>
                      <a:gd name="connsiteX3" fmla="*/ 545247 w 1276350"/>
                      <a:gd name="connsiteY3" fmla="*/ 670737 h 676275"/>
                      <a:gd name="connsiteX4" fmla="*/ 535789 w 1276350"/>
                      <a:gd name="connsiteY4" fmla="*/ 672624 h 676275"/>
                      <a:gd name="connsiteX5" fmla="*/ 530387 w 1276350"/>
                      <a:gd name="connsiteY5" fmla="*/ 673384 h 676275"/>
                      <a:gd name="connsiteX6" fmla="*/ 523836 w 1276350"/>
                      <a:gd name="connsiteY6" fmla="*/ 674035 h 676275"/>
                      <a:gd name="connsiteX7" fmla="*/ 519064 w 1276350"/>
                      <a:gd name="connsiteY7" fmla="*/ 674339 h 676275"/>
                      <a:gd name="connsiteX8" fmla="*/ 478694 w 1276350"/>
                      <a:gd name="connsiteY8" fmla="*/ 671909 h 676275"/>
                      <a:gd name="connsiteX9" fmla="*/ 367325 w 1276350"/>
                      <a:gd name="connsiteY9" fmla="*/ 665206 h 676275"/>
                      <a:gd name="connsiteX10" fmla="*/ 363746 w 1276350"/>
                      <a:gd name="connsiteY10" fmla="*/ 664902 h 676275"/>
                      <a:gd name="connsiteX11" fmla="*/ 359755 w 1276350"/>
                      <a:gd name="connsiteY11" fmla="*/ 664447 h 676275"/>
                      <a:gd name="connsiteX12" fmla="*/ 353855 w 1276350"/>
                      <a:gd name="connsiteY12" fmla="*/ 663493 h 676275"/>
                      <a:gd name="connsiteX13" fmla="*/ 345502 w 1276350"/>
                      <a:gd name="connsiteY13" fmla="*/ 661562 h 676275"/>
                      <a:gd name="connsiteX14" fmla="*/ 336717 w 1276350"/>
                      <a:gd name="connsiteY14" fmla="*/ 658698 h 676275"/>
                      <a:gd name="connsiteX15" fmla="*/ 332336 w 1276350"/>
                      <a:gd name="connsiteY15" fmla="*/ 656875 h 676275"/>
                      <a:gd name="connsiteX16" fmla="*/ 328257 w 1276350"/>
                      <a:gd name="connsiteY16" fmla="*/ 654858 h 676275"/>
                      <a:gd name="connsiteX17" fmla="*/ 321229 w 1276350"/>
                      <a:gd name="connsiteY17" fmla="*/ 650672 h 676275"/>
                      <a:gd name="connsiteX18" fmla="*/ 314873 w 1276350"/>
                      <a:gd name="connsiteY18" fmla="*/ 645943 h 676275"/>
                      <a:gd name="connsiteX19" fmla="*/ 310209 w 1276350"/>
                      <a:gd name="connsiteY19" fmla="*/ 641670 h 676275"/>
                      <a:gd name="connsiteX20" fmla="*/ 307823 w 1276350"/>
                      <a:gd name="connsiteY20" fmla="*/ 638763 h 676275"/>
                      <a:gd name="connsiteX21" fmla="*/ 305220 w 1276350"/>
                      <a:gd name="connsiteY21" fmla="*/ 636029 h 676275"/>
                      <a:gd name="connsiteX22" fmla="*/ 300231 w 1276350"/>
                      <a:gd name="connsiteY22" fmla="*/ 631778 h 676275"/>
                      <a:gd name="connsiteX23" fmla="*/ 293918 w 1276350"/>
                      <a:gd name="connsiteY23" fmla="*/ 627591 h 676275"/>
                      <a:gd name="connsiteX24" fmla="*/ 288040 w 1276350"/>
                      <a:gd name="connsiteY24" fmla="*/ 624489 h 676275"/>
                      <a:gd name="connsiteX25" fmla="*/ 264416 w 1276350"/>
                      <a:gd name="connsiteY25" fmla="*/ 612623 h 676275"/>
                      <a:gd name="connsiteX26" fmla="*/ 244589 w 1276350"/>
                      <a:gd name="connsiteY26" fmla="*/ 602710 h 676275"/>
                      <a:gd name="connsiteX27" fmla="*/ 223699 w 1276350"/>
                      <a:gd name="connsiteY27" fmla="*/ 592254 h 676275"/>
                      <a:gd name="connsiteX28" fmla="*/ 219838 w 1276350"/>
                      <a:gd name="connsiteY28" fmla="*/ 590692 h 676275"/>
                      <a:gd name="connsiteX29" fmla="*/ 215738 w 1276350"/>
                      <a:gd name="connsiteY29" fmla="*/ 589478 h 676275"/>
                      <a:gd name="connsiteX30" fmla="*/ 211248 w 1276350"/>
                      <a:gd name="connsiteY30" fmla="*/ 588588 h 676275"/>
                      <a:gd name="connsiteX31" fmla="*/ 206757 w 1276350"/>
                      <a:gd name="connsiteY31" fmla="*/ 588089 h 676275"/>
                      <a:gd name="connsiteX32" fmla="*/ 184892 w 1276350"/>
                      <a:gd name="connsiteY32" fmla="*/ 587720 h 676275"/>
                      <a:gd name="connsiteX33" fmla="*/ 181876 w 1276350"/>
                      <a:gd name="connsiteY33" fmla="*/ 587460 h 676275"/>
                      <a:gd name="connsiteX34" fmla="*/ 179643 w 1276350"/>
                      <a:gd name="connsiteY34" fmla="*/ 587070 h 676275"/>
                      <a:gd name="connsiteX35" fmla="*/ 177473 w 1276350"/>
                      <a:gd name="connsiteY35" fmla="*/ 586506 h 676275"/>
                      <a:gd name="connsiteX36" fmla="*/ 173243 w 1276350"/>
                      <a:gd name="connsiteY36" fmla="*/ 584922 h 676275"/>
                      <a:gd name="connsiteX37" fmla="*/ 168666 w 1276350"/>
                      <a:gd name="connsiteY37" fmla="*/ 582622 h 676275"/>
                      <a:gd name="connsiteX38" fmla="*/ 166735 w 1276350"/>
                      <a:gd name="connsiteY38" fmla="*/ 581104 h 676275"/>
                      <a:gd name="connsiteX39" fmla="*/ 164957 w 1276350"/>
                      <a:gd name="connsiteY39" fmla="*/ 579151 h 676275"/>
                      <a:gd name="connsiteX40" fmla="*/ 162917 w 1276350"/>
                      <a:gd name="connsiteY40" fmla="*/ 575117 h 676275"/>
                      <a:gd name="connsiteX41" fmla="*/ 161963 w 1276350"/>
                      <a:gd name="connsiteY41" fmla="*/ 569564 h 676275"/>
                      <a:gd name="connsiteX42" fmla="*/ 160639 w 1276350"/>
                      <a:gd name="connsiteY42" fmla="*/ 565789 h 676275"/>
                      <a:gd name="connsiteX43" fmla="*/ 159620 w 1276350"/>
                      <a:gd name="connsiteY43" fmla="*/ 563751 h 676275"/>
                      <a:gd name="connsiteX44" fmla="*/ 158405 w 1276350"/>
                      <a:gd name="connsiteY44" fmla="*/ 561689 h 676275"/>
                      <a:gd name="connsiteX45" fmla="*/ 154566 w 1276350"/>
                      <a:gd name="connsiteY45" fmla="*/ 558609 h 676275"/>
                      <a:gd name="connsiteX46" fmla="*/ 152071 w 1276350"/>
                      <a:gd name="connsiteY46" fmla="*/ 556613 h 676275"/>
                      <a:gd name="connsiteX47" fmla="*/ 146214 w 1276350"/>
                      <a:gd name="connsiteY47" fmla="*/ 552687 h 676275"/>
                      <a:gd name="connsiteX48" fmla="*/ 143112 w 1276350"/>
                      <a:gd name="connsiteY48" fmla="*/ 550865 h 676275"/>
                      <a:gd name="connsiteX49" fmla="*/ 139533 w 1276350"/>
                      <a:gd name="connsiteY49" fmla="*/ 549064 h 676275"/>
                      <a:gd name="connsiteX50" fmla="*/ 132418 w 1276350"/>
                      <a:gd name="connsiteY50" fmla="*/ 546223 h 676275"/>
                      <a:gd name="connsiteX51" fmla="*/ 122461 w 1276350"/>
                      <a:gd name="connsiteY51" fmla="*/ 543381 h 676275"/>
                      <a:gd name="connsiteX52" fmla="*/ 118730 w 1276350"/>
                      <a:gd name="connsiteY52" fmla="*/ 541689 h 676275"/>
                      <a:gd name="connsiteX53" fmla="*/ 116821 w 1276350"/>
                      <a:gd name="connsiteY53" fmla="*/ 540409 h 676275"/>
                      <a:gd name="connsiteX54" fmla="*/ 115172 w 1276350"/>
                      <a:gd name="connsiteY54" fmla="*/ 538890 h 676275"/>
                      <a:gd name="connsiteX55" fmla="*/ 113849 w 1276350"/>
                      <a:gd name="connsiteY55" fmla="*/ 537155 h 676275"/>
                      <a:gd name="connsiteX56" fmla="*/ 112938 w 1276350"/>
                      <a:gd name="connsiteY56" fmla="*/ 535312 h 676275"/>
                      <a:gd name="connsiteX57" fmla="*/ 111593 w 1276350"/>
                      <a:gd name="connsiteY57" fmla="*/ 531602 h 676275"/>
                      <a:gd name="connsiteX58" fmla="*/ 111051 w 1276350"/>
                      <a:gd name="connsiteY58" fmla="*/ 529064 h 676275"/>
                      <a:gd name="connsiteX59" fmla="*/ 110790 w 1276350"/>
                      <a:gd name="connsiteY59" fmla="*/ 526526 h 676275"/>
                      <a:gd name="connsiteX60" fmla="*/ 110942 w 1276350"/>
                      <a:gd name="connsiteY60" fmla="*/ 522708 h 676275"/>
                      <a:gd name="connsiteX61" fmla="*/ 111094 w 1276350"/>
                      <a:gd name="connsiteY61" fmla="*/ 521341 h 676275"/>
                      <a:gd name="connsiteX62" fmla="*/ 110790 w 1276350"/>
                      <a:gd name="connsiteY62" fmla="*/ 518326 h 676275"/>
                      <a:gd name="connsiteX63" fmla="*/ 109597 w 1276350"/>
                      <a:gd name="connsiteY63" fmla="*/ 514118 h 676275"/>
                      <a:gd name="connsiteX64" fmla="*/ 107580 w 1276350"/>
                      <a:gd name="connsiteY64" fmla="*/ 510191 h 676275"/>
                      <a:gd name="connsiteX65" fmla="*/ 103177 w 1276350"/>
                      <a:gd name="connsiteY65" fmla="*/ 504161 h 676275"/>
                      <a:gd name="connsiteX66" fmla="*/ 99575 w 1276350"/>
                      <a:gd name="connsiteY66" fmla="*/ 500538 h 676275"/>
                      <a:gd name="connsiteX67" fmla="*/ 95953 w 1276350"/>
                      <a:gd name="connsiteY67" fmla="*/ 497632 h 676275"/>
                      <a:gd name="connsiteX68" fmla="*/ 92981 w 1276350"/>
                      <a:gd name="connsiteY68" fmla="*/ 495636 h 676275"/>
                      <a:gd name="connsiteX69" fmla="*/ 87340 w 1276350"/>
                      <a:gd name="connsiteY69" fmla="*/ 492664 h 676275"/>
                      <a:gd name="connsiteX70" fmla="*/ 81961 w 1276350"/>
                      <a:gd name="connsiteY70" fmla="*/ 489258 h 676275"/>
                      <a:gd name="connsiteX71" fmla="*/ 76907 w 1276350"/>
                      <a:gd name="connsiteY71" fmla="*/ 485397 h 676275"/>
                      <a:gd name="connsiteX72" fmla="*/ 73913 w 1276350"/>
                      <a:gd name="connsiteY72" fmla="*/ 482642 h 676275"/>
                      <a:gd name="connsiteX73" fmla="*/ 72026 w 1276350"/>
                      <a:gd name="connsiteY73" fmla="*/ 478694 h 676275"/>
                      <a:gd name="connsiteX74" fmla="*/ 70551 w 1276350"/>
                      <a:gd name="connsiteY74" fmla="*/ 474789 h 676275"/>
                      <a:gd name="connsiteX75" fmla="*/ 69618 w 1276350"/>
                      <a:gd name="connsiteY75" fmla="*/ 471167 h 676275"/>
                      <a:gd name="connsiteX76" fmla="*/ 68425 w 1276350"/>
                      <a:gd name="connsiteY76" fmla="*/ 462446 h 676275"/>
                      <a:gd name="connsiteX77" fmla="*/ 66993 w 1276350"/>
                      <a:gd name="connsiteY77" fmla="*/ 458216 h 676275"/>
                      <a:gd name="connsiteX78" fmla="*/ 63957 w 1276350"/>
                      <a:gd name="connsiteY78" fmla="*/ 452685 h 676275"/>
                      <a:gd name="connsiteX79" fmla="*/ 58511 w 1276350"/>
                      <a:gd name="connsiteY79" fmla="*/ 445093 h 676275"/>
                      <a:gd name="connsiteX80" fmla="*/ 56212 w 1276350"/>
                      <a:gd name="connsiteY80" fmla="*/ 441860 h 676275"/>
                      <a:gd name="connsiteX81" fmla="*/ 55323 w 1276350"/>
                      <a:gd name="connsiteY81" fmla="*/ 440949 h 676275"/>
                      <a:gd name="connsiteX82" fmla="*/ 47535 w 1276350"/>
                      <a:gd name="connsiteY82" fmla="*/ 435027 h 676275"/>
                      <a:gd name="connsiteX83" fmla="*/ 40811 w 1276350"/>
                      <a:gd name="connsiteY83" fmla="*/ 428801 h 676275"/>
                      <a:gd name="connsiteX84" fmla="*/ 36776 w 1276350"/>
                      <a:gd name="connsiteY84" fmla="*/ 424289 h 676275"/>
                      <a:gd name="connsiteX85" fmla="*/ 33912 w 1276350"/>
                      <a:gd name="connsiteY85" fmla="*/ 420428 h 676275"/>
                      <a:gd name="connsiteX86" fmla="*/ 20267 w 1276350"/>
                      <a:gd name="connsiteY86" fmla="*/ 397803 h 676275"/>
                      <a:gd name="connsiteX87" fmla="*/ 8532 w 1276350"/>
                      <a:gd name="connsiteY87" fmla="*/ 371642 h 676275"/>
                      <a:gd name="connsiteX88" fmla="*/ 7404 w 1276350"/>
                      <a:gd name="connsiteY88" fmla="*/ 367933 h 676275"/>
                      <a:gd name="connsiteX89" fmla="*/ 7144 w 1276350"/>
                      <a:gd name="connsiteY89" fmla="*/ 364873 h 676275"/>
                      <a:gd name="connsiteX90" fmla="*/ 8076 w 1276350"/>
                      <a:gd name="connsiteY90" fmla="*/ 362205 h 676275"/>
                      <a:gd name="connsiteX91" fmla="*/ 9660 w 1276350"/>
                      <a:gd name="connsiteY91" fmla="*/ 359473 h 676275"/>
                      <a:gd name="connsiteX92" fmla="*/ 12263 w 1276350"/>
                      <a:gd name="connsiteY92" fmla="*/ 356327 h 676275"/>
                      <a:gd name="connsiteX93" fmla="*/ 14563 w 1276350"/>
                      <a:gd name="connsiteY93" fmla="*/ 354266 h 676275"/>
                      <a:gd name="connsiteX94" fmla="*/ 15604 w 1276350"/>
                      <a:gd name="connsiteY94" fmla="*/ 353463 h 676275"/>
                      <a:gd name="connsiteX95" fmla="*/ 22957 w 1276350"/>
                      <a:gd name="connsiteY95" fmla="*/ 349190 h 676275"/>
                      <a:gd name="connsiteX96" fmla="*/ 24411 w 1276350"/>
                      <a:gd name="connsiteY96" fmla="*/ 348106 h 676275"/>
                      <a:gd name="connsiteX97" fmla="*/ 25691 w 1276350"/>
                      <a:gd name="connsiteY97" fmla="*/ 346761 h 676275"/>
                      <a:gd name="connsiteX98" fmla="*/ 28229 w 1276350"/>
                      <a:gd name="connsiteY98" fmla="*/ 343268 h 676275"/>
                      <a:gd name="connsiteX99" fmla="*/ 29292 w 1276350"/>
                      <a:gd name="connsiteY99" fmla="*/ 340839 h 676275"/>
                      <a:gd name="connsiteX100" fmla="*/ 29834 w 1276350"/>
                      <a:gd name="connsiteY100" fmla="*/ 338647 h 676275"/>
                      <a:gd name="connsiteX101" fmla="*/ 29574 w 1276350"/>
                      <a:gd name="connsiteY101" fmla="*/ 332140 h 676275"/>
                      <a:gd name="connsiteX102" fmla="*/ 29965 w 1276350"/>
                      <a:gd name="connsiteY102" fmla="*/ 327064 h 676275"/>
                      <a:gd name="connsiteX103" fmla="*/ 30442 w 1276350"/>
                      <a:gd name="connsiteY103" fmla="*/ 324179 h 676275"/>
                      <a:gd name="connsiteX104" fmla="*/ 31049 w 1276350"/>
                      <a:gd name="connsiteY104" fmla="*/ 321120 h 676275"/>
                      <a:gd name="connsiteX105" fmla="*/ 37795 w 1276350"/>
                      <a:gd name="connsiteY105" fmla="*/ 321857 h 676275"/>
                      <a:gd name="connsiteX106" fmla="*/ 38532 w 1276350"/>
                      <a:gd name="connsiteY106" fmla="*/ 318972 h 676275"/>
                      <a:gd name="connsiteX107" fmla="*/ 40875 w 1276350"/>
                      <a:gd name="connsiteY107" fmla="*/ 314156 h 676275"/>
                      <a:gd name="connsiteX108" fmla="*/ 53826 w 1276350"/>
                      <a:gd name="connsiteY108" fmla="*/ 293549 h 676275"/>
                      <a:gd name="connsiteX109" fmla="*/ 84651 w 1276350"/>
                      <a:gd name="connsiteY109" fmla="*/ 244242 h 676275"/>
                      <a:gd name="connsiteX110" fmla="*/ 82395 w 1276350"/>
                      <a:gd name="connsiteY110" fmla="*/ 243700 h 676275"/>
                      <a:gd name="connsiteX111" fmla="*/ 86061 w 1276350"/>
                      <a:gd name="connsiteY111" fmla="*/ 238016 h 676275"/>
                      <a:gd name="connsiteX112" fmla="*/ 86559 w 1276350"/>
                      <a:gd name="connsiteY112" fmla="*/ 238125 h 676275"/>
                      <a:gd name="connsiteX113" fmla="*/ 90725 w 1276350"/>
                      <a:gd name="connsiteY113" fmla="*/ 231443 h 676275"/>
                      <a:gd name="connsiteX114" fmla="*/ 86538 w 1276350"/>
                      <a:gd name="connsiteY114" fmla="*/ 230402 h 676275"/>
                      <a:gd name="connsiteX115" fmla="*/ 87970 w 1276350"/>
                      <a:gd name="connsiteY115" fmla="*/ 228081 h 676275"/>
                      <a:gd name="connsiteX116" fmla="*/ 124738 w 1276350"/>
                      <a:gd name="connsiteY116" fmla="*/ 169230 h 676275"/>
                      <a:gd name="connsiteX117" fmla="*/ 124978 w 1276350"/>
                      <a:gd name="connsiteY117" fmla="*/ 167863 h 676275"/>
                      <a:gd name="connsiteX118" fmla="*/ 124587 w 1276350"/>
                      <a:gd name="connsiteY118" fmla="*/ 166605 h 676275"/>
                      <a:gd name="connsiteX119" fmla="*/ 119749 w 1276350"/>
                      <a:gd name="connsiteY119" fmla="*/ 161247 h 676275"/>
                      <a:gd name="connsiteX120" fmla="*/ 118839 w 1276350"/>
                      <a:gd name="connsiteY120" fmla="*/ 159620 h 676275"/>
                      <a:gd name="connsiteX121" fmla="*/ 118469 w 1276350"/>
                      <a:gd name="connsiteY121" fmla="*/ 157949 h 676275"/>
                      <a:gd name="connsiteX122" fmla="*/ 118578 w 1276350"/>
                      <a:gd name="connsiteY122" fmla="*/ 156431 h 676275"/>
                      <a:gd name="connsiteX123" fmla="*/ 119012 w 1276350"/>
                      <a:gd name="connsiteY123" fmla="*/ 155238 h 676275"/>
                      <a:gd name="connsiteX124" fmla="*/ 119923 w 1276350"/>
                      <a:gd name="connsiteY124" fmla="*/ 153784 h 676275"/>
                      <a:gd name="connsiteX125" fmla="*/ 121333 w 1276350"/>
                      <a:gd name="connsiteY125" fmla="*/ 152310 h 676275"/>
                      <a:gd name="connsiteX126" fmla="*/ 123611 w 1276350"/>
                      <a:gd name="connsiteY126" fmla="*/ 150812 h 676275"/>
                      <a:gd name="connsiteX127" fmla="*/ 129945 w 1276350"/>
                      <a:gd name="connsiteY127" fmla="*/ 148296 h 676275"/>
                      <a:gd name="connsiteX128" fmla="*/ 134978 w 1276350"/>
                      <a:gd name="connsiteY128" fmla="*/ 145672 h 676275"/>
                      <a:gd name="connsiteX129" fmla="*/ 138296 w 1276350"/>
                      <a:gd name="connsiteY129" fmla="*/ 143372 h 676275"/>
                      <a:gd name="connsiteX130" fmla="*/ 141876 w 1276350"/>
                      <a:gd name="connsiteY130" fmla="*/ 140032 h 676275"/>
                      <a:gd name="connsiteX131" fmla="*/ 144262 w 1276350"/>
                      <a:gd name="connsiteY131" fmla="*/ 136930 h 676275"/>
                      <a:gd name="connsiteX132" fmla="*/ 163894 w 1276350"/>
                      <a:gd name="connsiteY132" fmla="*/ 105020 h 676275"/>
                      <a:gd name="connsiteX133" fmla="*/ 167472 w 1276350"/>
                      <a:gd name="connsiteY133" fmla="*/ 99467 h 676275"/>
                      <a:gd name="connsiteX134" fmla="*/ 178753 w 1276350"/>
                      <a:gd name="connsiteY134" fmla="*/ 83197 h 676275"/>
                      <a:gd name="connsiteX135" fmla="*/ 183981 w 1276350"/>
                      <a:gd name="connsiteY135" fmla="*/ 77210 h 676275"/>
                      <a:gd name="connsiteX136" fmla="*/ 193677 w 1276350"/>
                      <a:gd name="connsiteY136" fmla="*/ 65474 h 676275"/>
                      <a:gd name="connsiteX137" fmla="*/ 198015 w 1276350"/>
                      <a:gd name="connsiteY137" fmla="*/ 60247 h 676275"/>
                      <a:gd name="connsiteX138" fmla="*/ 214589 w 1276350"/>
                      <a:gd name="connsiteY138" fmla="*/ 36407 h 676275"/>
                      <a:gd name="connsiteX139" fmla="*/ 225022 w 1276350"/>
                      <a:gd name="connsiteY139" fmla="*/ 13911 h 676275"/>
                      <a:gd name="connsiteX140" fmla="*/ 252507 w 1276350"/>
                      <a:gd name="connsiteY140" fmla="*/ 18510 h 676275"/>
                      <a:gd name="connsiteX141" fmla="*/ 257409 w 1276350"/>
                      <a:gd name="connsiteY141" fmla="*/ 19335 h 676275"/>
                      <a:gd name="connsiteX142" fmla="*/ 366696 w 1276350"/>
                      <a:gd name="connsiteY142" fmla="*/ 12588 h 676275"/>
                      <a:gd name="connsiteX143" fmla="*/ 389669 w 1276350"/>
                      <a:gd name="connsiteY143" fmla="*/ 11157 h 676275"/>
                      <a:gd name="connsiteX144" fmla="*/ 392683 w 1276350"/>
                      <a:gd name="connsiteY144" fmla="*/ 18011 h 676275"/>
                      <a:gd name="connsiteX145" fmla="*/ 394745 w 1276350"/>
                      <a:gd name="connsiteY145" fmla="*/ 17642 h 676275"/>
                      <a:gd name="connsiteX146" fmla="*/ 394593 w 1276350"/>
                      <a:gd name="connsiteY146" fmla="*/ 17317 h 676275"/>
                      <a:gd name="connsiteX147" fmla="*/ 394809 w 1276350"/>
                      <a:gd name="connsiteY147" fmla="*/ 14823 h 676275"/>
                      <a:gd name="connsiteX148" fmla="*/ 396025 w 1276350"/>
                      <a:gd name="connsiteY148" fmla="*/ 10788 h 676275"/>
                      <a:gd name="connsiteX149" fmla="*/ 454963 w 1276350"/>
                      <a:gd name="connsiteY149" fmla="*/ 7144 h 676275"/>
                      <a:gd name="connsiteX150" fmla="*/ 467479 w 1276350"/>
                      <a:gd name="connsiteY150" fmla="*/ 45517 h 676275"/>
                      <a:gd name="connsiteX151" fmla="*/ 472187 w 1276350"/>
                      <a:gd name="connsiteY151" fmla="*/ 57687 h 676275"/>
                      <a:gd name="connsiteX152" fmla="*/ 480191 w 1276350"/>
                      <a:gd name="connsiteY152" fmla="*/ 73154 h 676275"/>
                      <a:gd name="connsiteX153" fmla="*/ 491406 w 1276350"/>
                      <a:gd name="connsiteY153" fmla="*/ 89684 h 676275"/>
                      <a:gd name="connsiteX154" fmla="*/ 503271 w 1276350"/>
                      <a:gd name="connsiteY154" fmla="*/ 103045 h 676275"/>
                      <a:gd name="connsiteX155" fmla="*/ 516374 w 1276350"/>
                      <a:gd name="connsiteY155" fmla="*/ 115953 h 676275"/>
                      <a:gd name="connsiteX156" fmla="*/ 532622 w 1276350"/>
                      <a:gd name="connsiteY156" fmla="*/ 129641 h 676275"/>
                      <a:gd name="connsiteX157" fmla="*/ 534965 w 1276350"/>
                      <a:gd name="connsiteY157" fmla="*/ 131246 h 676275"/>
                      <a:gd name="connsiteX158" fmla="*/ 550301 w 1276350"/>
                      <a:gd name="connsiteY158" fmla="*/ 141766 h 676275"/>
                      <a:gd name="connsiteX159" fmla="*/ 562905 w 1276350"/>
                      <a:gd name="connsiteY159" fmla="*/ 148947 h 676275"/>
                      <a:gd name="connsiteX160" fmla="*/ 569585 w 1276350"/>
                      <a:gd name="connsiteY160" fmla="*/ 152743 h 676275"/>
                      <a:gd name="connsiteX161" fmla="*/ 587287 w 1276350"/>
                      <a:gd name="connsiteY161" fmla="*/ 161789 h 676275"/>
                      <a:gd name="connsiteX162" fmla="*/ 607070 w 1276350"/>
                      <a:gd name="connsiteY162" fmla="*/ 169728 h 676275"/>
                      <a:gd name="connsiteX163" fmla="*/ 610692 w 1276350"/>
                      <a:gd name="connsiteY163" fmla="*/ 171203 h 676275"/>
                      <a:gd name="connsiteX164" fmla="*/ 632407 w 1276350"/>
                      <a:gd name="connsiteY164" fmla="*/ 178882 h 676275"/>
                      <a:gd name="connsiteX165" fmla="*/ 655163 w 1276350"/>
                      <a:gd name="connsiteY165" fmla="*/ 185629 h 676275"/>
                      <a:gd name="connsiteX166" fmla="*/ 680369 w 1276350"/>
                      <a:gd name="connsiteY166" fmla="*/ 191247 h 676275"/>
                      <a:gd name="connsiteX167" fmla="*/ 691887 w 1276350"/>
                      <a:gd name="connsiteY167" fmla="*/ 193373 h 676275"/>
                      <a:gd name="connsiteX168" fmla="*/ 700629 w 1276350"/>
                      <a:gd name="connsiteY168" fmla="*/ 194804 h 676275"/>
                      <a:gd name="connsiteX169" fmla="*/ 703277 w 1276350"/>
                      <a:gd name="connsiteY169" fmla="*/ 195261 h 676275"/>
                      <a:gd name="connsiteX170" fmla="*/ 726943 w 1276350"/>
                      <a:gd name="connsiteY170" fmla="*/ 198189 h 676275"/>
                      <a:gd name="connsiteX171" fmla="*/ 749980 w 1276350"/>
                      <a:gd name="connsiteY171" fmla="*/ 198796 h 676275"/>
                      <a:gd name="connsiteX172" fmla="*/ 791391 w 1276350"/>
                      <a:gd name="connsiteY172" fmla="*/ 197560 h 676275"/>
                      <a:gd name="connsiteX173" fmla="*/ 803647 w 1276350"/>
                      <a:gd name="connsiteY173" fmla="*/ 246954 h 676275"/>
                      <a:gd name="connsiteX174" fmla="*/ 821566 w 1276350"/>
                      <a:gd name="connsiteY174" fmla="*/ 248168 h 676275"/>
                      <a:gd name="connsiteX175" fmla="*/ 823778 w 1276350"/>
                      <a:gd name="connsiteY175" fmla="*/ 256759 h 676275"/>
                      <a:gd name="connsiteX176" fmla="*/ 822715 w 1276350"/>
                      <a:gd name="connsiteY176" fmla="*/ 258342 h 676275"/>
                      <a:gd name="connsiteX177" fmla="*/ 819852 w 1276350"/>
                      <a:gd name="connsiteY177" fmla="*/ 258624 h 676275"/>
                      <a:gd name="connsiteX178" fmla="*/ 821479 w 1276350"/>
                      <a:gd name="connsiteY178" fmla="*/ 265153 h 676275"/>
                      <a:gd name="connsiteX179" fmla="*/ 823692 w 1276350"/>
                      <a:gd name="connsiteY179" fmla="*/ 264980 h 676275"/>
                      <a:gd name="connsiteX180" fmla="*/ 823887 w 1276350"/>
                      <a:gd name="connsiteY180" fmla="*/ 265414 h 676275"/>
                      <a:gd name="connsiteX181" fmla="*/ 824711 w 1276350"/>
                      <a:gd name="connsiteY181" fmla="*/ 265652 h 676275"/>
                      <a:gd name="connsiteX182" fmla="*/ 830676 w 1276350"/>
                      <a:gd name="connsiteY182" fmla="*/ 265327 h 676275"/>
                      <a:gd name="connsiteX183" fmla="*/ 837727 w 1276350"/>
                      <a:gd name="connsiteY183" fmla="*/ 265153 h 676275"/>
                      <a:gd name="connsiteX184" fmla="*/ 850156 w 1276350"/>
                      <a:gd name="connsiteY184" fmla="*/ 265392 h 676275"/>
                      <a:gd name="connsiteX185" fmla="*/ 856858 w 1276350"/>
                      <a:gd name="connsiteY185" fmla="*/ 265826 h 676275"/>
                      <a:gd name="connsiteX186" fmla="*/ 867835 w 1276350"/>
                      <a:gd name="connsiteY186" fmla="*/ 266932 h 676275"/>
                      <a:gd name="connsiteX187" fmla="*/ 876382 w 1276350"/>
                      <a:gd name="connsiteY187" fmla="*/ 268147 h 676275"/>
                      <a:gd name="connsiteX188" fmla="*/ 1006320 w 1276350"/>
                      <a:gd name="connsiteY188" fmla="*/ 289253 h 676275"/>
                      <a:gd name="connsiteX189" fmla="*/ 1022524 w 1276350"/>
                      <a:gd name="connsiteY189" fmla="*/ 291661 h 676275"/>
                      <a:gd name="connsiteX190" fmla="*/ 1022806 w 1276350"/>
                      <a:gd name="connsiteY190" fmla="*/ 290924 h 676275"/>
                      <a:gd name="connsiteX191" fmla="*/ 1023218 w 1276350"/>
                      <a:gd name="connsiteY191" fmla="*/ 290968 h 676275"/>
                      <a:gd name="connsiteX192" fmla="*/ 1023478 w 1276350"/>
                      <a:gd name="connsiteY192" fmla="*/ 290642 h 676275"/>
                      <a:gd name="connsiteX193" fmla="*/ 1026060 w 1276350"/>
                      <a:gd name="connsiteY193" fmla="*/ 291011 h 676275"/>
                      <a:gd name="connsiteX194" fmla="*/ 1029401 w 1276350"/>
                      <a:gd name="connsiteY194" fmla="*/ 291488 h 676275"/>
                      <a:gd name="connsiteX195" fmla="*/ 1028945 w 1276350"/>
                      <a:gd name="connsiteY195" fmla="*/ 292638 h 676275"/>
                      <a:gd name="connsiteX196" fmla="*/ 1061332 w 1276350"/>
                      <a:gd name="connsiteY196" fmla="*/ 297584 h 676275"/>
                      <a:gd name="connsiteX197" fmla="*/ 1071722 w 1276350"/>
                      <a:gd name="connsiteY197" fmla="*/ 299579 h 676275"/>
                      <a:gd name="connsiteX198" fmla="*/ 1080313 w 1276350"/>
                      <a:gd name="connsiteY198" fmla="*/ 301641 h 676275"/>
                      <a:gd name="connsiteX199" fmla="*/ 1087797 w 1276350"/>
                      <a:gd name="connsiteY199" fmla="*/ 303701 h 676275"/>
                      <a:gd name="connsiteX200" fmla="*/ 1102440 w 1276350"/>
                      <a:gd name="connsiteY200" fmla="*/ 308408 h 676275"/>
                      <a:gd name="connsiteX201" fmla="*/ 1162419 w 1276350"/>
                      <a:gd name="connsiteY201" fmla="*/ 327692 h 676275"/>
                      <a:gd name="connsiteX202" fmla="*/ 1166974 w 1276350"/>
                      <a:gd name="connsiteY202" fmla="*/ 329016 h 676275"/>
                      <a:gd name="connsiteX203" fmla="*/ 1180923 w 1276350"/>
                      <a:gd name="connsiteY203" fmla="*/ 332769 h 676275"/>
                      <a:gd name="connsiteX204" fmla="*/ 1199404 w 1276350"/>
                      <a:gd name="connsiteY204" fmla="*/ 337237 h 676275"/>
                      <a:gd name="connsiteX205" fmla="*/ 1209231 w 1276350"/>
                      <a:gd name="connsiteY205" fmla="*/ 340036 h 676275"/>
                      <a:gd name="connsiteX206" fmla="*/ 1216520 w 1276350"/>
                      <a:gd name="connsiteY206" fmla="*/ 342639 h 676275"/>
                      <a:gd name="connsiteX207" fmla="*/ 1224307 w 1276350"/>
                      <a:gd name="connsiteY207" fmla="*/ 345871 h 676275"/>
                      <a:gd name="connsiteX208" fmla="*/ 1231444 w 1276350"/>
                      <a:gd name="connsiteY208" fmla="*/ 349255 h 676275"/>
                      <a:gd name="connsiteX209" fmla="*/ 1237930 w 1276350"/>
                      <a:gd name="connsiteY209" fmla="*/ 352943 h 676275"/>
                      <a:gd name="connsiteX210" fmla="*/ 1244373 w 1276350"/>
                      <a:gd name="connsiteY210" fmla="*/ 357151 h 676275"/>
                      <a:gd name="connsiteX211" fmla="*/ 1250317 w 1276350"/>
                      <a:gd name="connsiteY211" fmla="*/ 361641 h 676275"/>
                      <a:gd name="connsiteX212" fmla="*/ 1255198 w 1276350"/>
                      <a:gd name="connsiteY212" fmla="*/ 365828 h 676275"/>
                      <a:gd name="connsiteX213" fmla="*/ 1258321 w 1276350"/>
                      <a:gd name="connsiteY213" fmla="*/ 369711 h 676275"/>
                      <a:gd name="connsiteX214" fmla="*/ 1259666 w 1276350"/>
                      <a:gd name="connsiteY214" fmla="*/ 370145 h 676275"/>
                      <a:gd name="connsiteX215" fmla="*/ 1261359 w 1276350"/>
                      <a:gd name="connsiteY215" fmla="*/ 370037 h 676275"/>
                      <a:gd name="connsiteX216" fmla="*/ 1264351 w 1276350"/>
                      <a:gd name="connsiteY216" fmla="*/ 373898 h 676275"/>
                      <a:gd name="connsiteX217" fmla="*/ 1262964 w 1276350"/>
                      <a:gd name="connsiteY217" fmla="*/ 374657 h 676275"/>
                      <a:gd name="connsiteX218" fmla="*/ 1262704 w 1276350"/>
                      <a:gd name="connsiteY218" fmla="*/ 375048 h 676275"/>
                      <a:gd name="connsiteX219" fmla="*/ 1262811 w 1276350"/>
                      <a:gd name="connsiteY219" fmla="*/ 375763 h 676275"/>
                      <a:gd name="connsiteX220" fmla="*/ 1266738 w 1276350"/>
                      <a:gd name="connsiteY220" fmla="*/ 379971 h 676275"/>
                      <a:gd name="connsiteX221" fmla="*/ 1269384 w 1276350"/>
                      <a:gd name="connsiteY221" fmla="*/ 384874 h 676275"/>
                      <a:gd name="connsiteX222" fmla="*/ 1272421 w 1276350"/>
                      <a:gd name="connsiteY222" fmla="*/ 393030 h 676275"/>
                      <a:gd name="connsiteX223" fmla="*/ 1272747 w 1276350"/>
                      <a:gd name="connsiteY223" fmla="*/ 397000 h 676275"/>
                      <a:gd name="connsiteX224" fmla="*/ 1273484 w 1276350"/>
                      <a:gd name="connsiteY224" fmla="*/ 397586 h 676275"/>
                      <a:gd name="connsiteX225" fmla="*/ 1274200 w 1276350"/>
                      <a:gd name="connsiteY225" fmla="*/ 397803 h 676275"/>
                      <a:gd name="connsiteX226" fmla="*/ 1275177 w 1276350"/>
                      <a:gd name="connsiteY226" fmla="*/ 397781 h 676275"/>
                      <a:gd name="connsiteX227" fmla="*/ 1275285 w 1276350"/>
                      <a:gd name="connsiteY227" fmla="*/ 398172 h 676275"/>
                      <a:gd name="connsiteX228" fmla="*/ 1275588 w 1276350"/>
                      <a:gd name="connsiteY228" fmla="*/ 398150 h 676275"/>
                      <a:gd name="connsiteX229" fmla="*/ 1276196 w 1276350"/>
                      <a:gd name="connsiteY229" fmla="*/ 400753 h 676275"/>
                      <a:gd name="connsiteX230" fmla="*/ 1276868 w 1276350"/>
                      <a:gd name="connsiteY230" fmla="*/ 403769 h 676275"/>
                      <a:gd name="connsiteX231" fmla="*/ 1275350 w 1276350"/>
                      <a:gd name="connsiteY231" fmla="*/ 404679 h 676275"/>
                      <a:gd name="connsiteX232" fmla="*/ 1275697 w 1276350"/>
                      <a:gd name="connsiteY232" fmla="*/ 411556 h 676275"/>
                      <a:gd name="connsiteX233" fmla="*/ 1276369 w 1276350"/>
                      <a:gd name="connsiteY233" fmla="*/ 414680 h 676275"/>
                      <a:gd name="connsiteX234" fmla="*/ 1275306 w 1276350"/>
                      <a:gd name="connsiteY234" fmla="*/ 425048 h 676275"/>
                      <a:gd name="connsiteX235" fmla="*/ 1273810 w 1276350"/>
                      <a:gd name="connsiteY235" fmla="*/ 432250 h 676275"/>
                      <a:gd name="connsiteX236" fmla="*/ 1272118 w 1276350"/>
                      <a:gd name="connsiteY236" fmla="*/ 437348 h 676275"/>
                      <a:gd name="connsiteX237" fmla="*/ 1269819 w 1276350"/>
                      <a:gd name="connsiteY237" fmla="*/ 442728 h 676275"/>
                      <a:gd name="connsiteX238" fmla="*/ 1268408 w 1276350"/>
                      <a:gd name="connsiteY238" fmla="*/ 445440 h 676275"/>
                      <a:gd name="connsiteX239" fmla="*/ 1257779 w 1276350"/>
                      <a:gd name="connsiteY239" fmla="*/ 463206 h 676275"/>
                      <a:gd name="connsiteX240" fmla="*/ 1258256 w 1276350"/>
                      <a:gd name="connsiteY240" fmla="*/ 463292 h 676275"/>
                      <a:gd name="connsiteX241" fmla="*/ 1258170 w 1276350"/>
                      <a:gd name="connsiteY241" fmla="*/ 464138 h 676275"/>
                      <a:gd name="connsiteX242" fmla="*/ 1258538 w 1276350"/>
                      <a:gd name="connsiteY242" fmla="*/ 464637 h 676275"/>
                      <a:gd name="connsiteX243" fmla="*/ 1259883 w 1276350"/>
                      <a:gd name="connsiteY243" fmla="*/ 465331 h 676275"/>
                      <a:gd name="connsiteX244" fmla="*/ 1255523 w 1276350"/>
                      <a:gd name="connsiteY244" fmla="*/ 472576 h 676275"/>
                      <a:gd name="connsiteX245" fmla="*/ 1246781 w 1276350"/>
                      <a:gd name="connsiteY245" fmla="*/ 487024 h 676275"/>
                      <a:gd name="connsiteX246" fmla="*/ 1158579 w 1276350"/>
                      <a:gd name="connsiteY246" fmla="*/ 488499 h 676275"/>
                      <a:gd name="connsiteX247" fmla="*/ 1154610 w 1276350"/>
                      <a:gd name="connsiteY247" fmla="*/ 488759 h 676275"/>
                      <a:gd name="connsiteX248" fmla="*/ 1150250 w 1276350"/>
                      <a:gd name="connsiteY248" fmla="*/ 489389 h 676275"/>
                      <a:gd name="connsiteX249" fmla="*/ 1146823 w 1276350"/>
                      <a:gd name="connsiteY249" fmla="*/ 490213 h 676275"/>
                      <a:gd name="connsiteX250" fmla="*/ 1144284 w 1276350"/>
                      <a:gd name="connsiteY250" fmla="*/ 490994 h 676275"/>
                      <a:gd name="connsiteX251" fmla="*/ 1141008 w 1276350"/>
                      <a:gd name="connsiteY251" fmla="*/ 492317 h 676275"/>
                      <a:gd name="connsiteX252" fmla="*/ 1138405 w 1276350"/>
                      <a:gd name="connsiteY252" fmla="*/ 493662 h 676275"/>
                      <a:gd name="connsiteX253" fmla="*/ 1116973 w 1276350"/>
                      <a:gd name="connsiteY253" fmla="*/ 506634 h 676275"/>
                      <a:gd name="connsiteX254" fmla="*/ 1099120 w 1276350"/>
                      <a:gd name="connsiteY254" fmla="*/ 515680 h 676275"/>
                      <a:gd name="connsiteX255" fmla="*/ 1045627 w 1276350"/>
                      <a:gd name="connsiteY255" fmla="*/ 547980 h 676275"/>
                      <a:gd name="connsiteX256" fmla="*/ 1043046 w 1276350"/>
                      <a:gd name="connsiteY256" fmla="*/ 549715 h 676275"/>
                      <a:gd name="connsiteX257" fmla="*/ 1040398 w 1276350"/>
                      <a:gd name="connsiteY257" fmla="*/ 551038 h 676275"/>
                      <a:gd name="connsiteX258" fmla="*/ 1037622 w 1276350"/>
                      <a:gd name="connsiteY258" fmla="*/ 552102 h 676275"/>
                      <a:gd name="connsiteX259" fmla="*/ 1033674 w 1276350"/>
                      <a:gd name="connsiteY259" fmla="*/ 553164 h 676275"/>
                      <a:gd name="connsiteX260" fmla="*/ 1028837 w 1276350"/>
                      <a:gd name="connsiteY260" fmla="*/ 553924 h 676275"/>
                      <a:gd name="connsiteX261" fmla="*/ 1018706 w 1276350"/>
                      <a:gd name="connsiteY261" fmla="*/ 555160 h 676275"/>
                      <a:gd name="connsiteX262" fmla="*/ 1003804 w 1276350"/>
                      <a:gd name="connsiteY262" fmla="*/ 556396 h 676275"/>
                      <a:gd name="connsiteX263" fmla="*/ 1000290 w 1276350"/>
                      <a:gd name="connsiteY263" fmla="*/ 557091 h 676275"/>
                      <a:gd name="connsiteX264" fmla="*/ 996905 w 1276350"/>
                      <a:gd name="connsiteY264" fmla="*/ 558045 h 676275"/>
                      <a:gd name="connsiteX265" fmla="*/ 992827 w 1276350"/>
                      <a:gd name="connsiteY265" fmla="*/ 559628 h 676275"/>
                      <a:gd name="connsiteX266" fmla="*/ 989530 w 1276350"/>
                      <a:gd name="connsiteY266" fmla="*/ 561386 h 676275"/>
                      <a:gd name="connsiteX267" fmla="*/ 982133 w 1276350"/>
                      <a:gd name="connsiteY267" fmla="*/ 567416 h 676275"/>
                      <a:gd name="connsiteX268" fmla="*/ 974475 w 1276350"/>
                      <a:gd name="connsiteY268" fmla="*/ 574076 h 676275"/>
                      <a:gd name="connsiteX269" fmla="*/ 970615 w 1276350"/>
                      <a:gd name="connsiteY269" fmla="*/ 576462 h 676275"/>
                      <a:gd name="connsiteX270" fmla="*/ 966991 w 1276350"/>
                      <a:gd name="connsiteY270" fmla="*/ 578241 h 676275"/>
                      <a:gd name="connsiteX271" fmla="*/ 960852 w 1276350"/>
                      <a:gd name="connsiteY271" fmla="*/ 580496 h 676275"/>
                      <a:gd name="connsiteX272" fmla="*/ 954214 w 1276350"/>
                      <a:gd name="connsiteY272" fmla="*/ 582123 h 676275"/>
                      <a:gd name="connsiteX273" fmla="*/ 946991 w 1276350"/>
                      <a:gd name="connsiteY273" fmla="*/ 583100 h 676275"/>
                      <a:gd name="connsiteX274" fmla="*/ 941004 w 1276350"/>
                      <a:gd name="connsiteY274" fmla="*/ 583317 h 676275"/>
                      <a:gd name="connsiteX275" fmla="*/ 917793 w 1276350"/>
                      <a:gd name="connsiteY275" fmla="*/ 584206 h 676275"/>
                      <a:gd name="connsiteX276" fmla="*/ 914322 w 1276350"/>
                      <a:gd name="connsiteY276" fmla="*/ 584597 h 676275"/>
                      <a:gd name="connsiteX277" fmla="*/ 908249 w 1276350"/>
                      <a:gd name="connsiteY277" fmla="*/ 585616 h 676275"/>
                      <a:gd name="connsiteX278" fmla="*/ 903693 w 1276350"/>
                      <a:gd name="connsiteY278" fmla="*/ 586635 h 676275"/>
                      <a:gd name="connsiteX279" fmla="*/ 888725 w 1276350"/>
                      <a:gd name="connsiteY279" fmla="*/ 590779 h 676275"/>
                      <a:gd name="connsiteX280" fmla="*/ 866079 w 1276350"/>
                      <a:gd name="connsiteY280" fmla="*/ 597092 h 676275"/>
                      <a:gd name="connsiteX281" fmla="*/ 840113 w 1276350"/>
                      <a:gd name="connsiteY281" fmla="*/ 600085 h 676275"/>
                      <a:gd name="connsiteX282" fmla="*/ 816814 w 1276350"/>
                      <a:gd name="connsiteY282" fmla="*/ 602492 h 676275"/>
                      <a:gd name="connsiteX283" fmla="*/ 814082 w 1276350"/>
                      <a:gd name="connsiteY283" fmla="*/ 602970 h 676275"/>
                      <a:gd name="connsiteX284" fmla="*/ 810871 w 1276350"/>
                      <a:gd name="connsiteY284" fmla="*/ 603924 h 676275"/>
                      <a:gd name="connsiteX285" fmla="*/ 808441 w 1276350"/>
                      <a:gd name="connsiteY285" fmla="*/ 605009 h 676275"/>
                      <a:gd name="connsiteX286" fmla="*/ 806880 w 1276350"/>
                      <a:gd name="connsiteY286" fmla="*/ 605942 h 676275"/>
                      <a:gd name="connsiteX287" fmla="*/ 804299 w 1276350"/>
                      <a:gd name="connsiteY287" fmla="*/ 608003 h 676275"/>
                      <a:gd name="connsiteX288" fmla="*/ 801456 w 1276350"/>
                      <a:gd name="connsiteY288" fmla="*/ 609869 h 676275"/>
                      <a:gd name="connsiteX289" fmla="*/ 796706 w 1276350"/>
                      <a:gd name="connsiteY289" fmla="*/ 612277 h 676275"/>
                      <a:gd name="connsiteX290" fmla="*/ 790806 w 1276350"/>
                      <a:gd name="connsiteY290" fmla="*/ 614424 h 676275"/>
                      <a:gd name="connsiteX291" fmla="*/ 787117 w 1276350"/>
                      <a:gd name="connsiteY291" fmla="*/ 615400 h 676275"/>
                      <a:gd name="connsiteX292" fmla="*/ 783842 w 1276350"/>
                      <a:gd name="connsiteY292" fmla="*/ 616050 h 676275"/>
                      <a:gd name="connsiteX293" fmla="*/ 777682 w 1276350"/>
                      <a:gd name="connsiteY293" fmla="*/ 616809 h 676275"/>
                      <a:gd name="connsiteX294" fmla="*/ 771217 w 1276350"/>
                      <a:gd name="connsiteY294" fmla="*/ 617005 h 676275"/>
                      <a:gd name="connsiteX295" fmla="*/ 764797 w 1276350"/>
                      <a:gd name="connsiteY295" fmla="*/ 616571 h 676275"/>
                      <a:gd name="connsiteX296" fmla="*/ 757659 w 1276350"/>
                      <a:gd name="connsiteY296" fmla="*/ 615400 h 676275"/>
                      <a:gd name="connsiteX297" fmla="*/ 752779 w 1276350"/>
                      <a:gd name="connsiteY297" fmla="*/ 615205 h 676275"/>
                      <a:gd name="connsiteX298" fmla="*/ 747031 w 1276350"/>
                      <a:gd name="connsiteY298" fmla="*/ 615660 h 676275"/>
                      <a:gd name="connsiteX299" fmla="*/ 742106 w 1276350"/>
                      <a:gd name="connsiteY299" fmla="*/ 616745 h 676275"/>
                      <a:gd name="connsiteX300" fmla="*/ 734578 w 1276350"/>
                      <a:gd name="connsiteY300" fmla="*/ 618697 h 676275"/>
                      <a:gd name="connsiteX301" fmla="*/ 730457 w 1276350"/>
                      <a:gd name="connsiteY301" fmla="*/ 620172 h 676275"/>
                      <a:gd name="connsiteX302" fmla="*/ 727441 w 1276350"/>
                      <a:gd name="connsiteY302" fmla="*/ 621496 h 676275"/>
                      <a:gd name="connsiteX303" fmla="*/ 724492 w 1276350"/>
                      <a:gd name="connsiteY303" fmla="*/ 623014 h 676275"/>
                      <a:gd name="connsiteX304" fmla="*/ 721671 w 1276350"/>
                      <a:gd name="connsiteY304" fmla="*/ 624771 h 676275"/>
                      <a:gd name="connsiteX305" fmla="*/ 715685 w 1276350"/>
                      <a:gd name="connsiteY305" fmla="*/ 629435 h 676275"/>
                      <a:gd name="connsiteX306" fmla="*/ 711758 w 1276350"/>
                      <a:gd name="connsiteY306" fmla="*/ 632211 h 676275"/>
                      <a:gd name="connsiteX307" fmla="*/ 705684 w 1276350"/>
                      <a:gd name="connsiteY307" fmla="*/ 635509 h 676275"/>
                      <a:gd name="connsiteX308" fmla="*/ 702713 w 1276350"/>
                      <a:gd name="connsiteY308" fmla="*/ 636810 h 676275"/>
                      <a:gd name="connsiteX309" fmla="*/ 695467 w 1276350"/>
                      <a:gd name="connsiteY309" fmla="*/ 639283 h 676275"/>
                      <a:gd name="connsiteX310" fmla="*/ 691215 w 1276350"/>
                      <a:gd name="connsiteY310" fmla="*/ 640412 h 676275"/>
                      <a:gd name="connsiteX311" fmla="*/ 673601 w 1276350"/>
                      <a:gd name="connsiteY311" fmla="*/ 643665 h 676275"/>
                      <a:gd name="connsiteX312" fmla="*/ 662104 w 1276350"/>
                      <a:gd name="connsiteY312" fmla="*/ 646615 h 67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1276350" h="676275">
                        <a:moveTo>
                          <a:pt x="662104" y="646615"/>
                        </a:moveTo>
                        <a:lnTo>
                          <a:pt x="648372" y="650173"/>
                        </a:lnTo>
                        <a:lnTo>
                          <a:pt x="597938" y="660000"/>
                        </a:lnTo>
                        <a:lnTo>
                          <a:pt x="545247" y="670737"/>
                        </a:lnTo>
                        <a:lnTo>
                          <a:pt x="535789" y="672624"/>
                        </a:lnTo>
                        <a:lnTo>
                          <a:pt x="530387" y="673384"/>
                        </a:lnTo>
                        <a:lnTo>
                          <a:pt x="523836" y="674035"/>
                        </a:lnTo>
                        <a:lnTo>
                          <a:pt x="519064" y="674339"/>
                        </a:lnTo>
                        <a:lnTo>
                          <a:pt x="478694" y="671909"/>
                        </a:lnTo>
                        <a:lnTo>
                          <a:pt x="367325" y="665206"/>
                        </a:lnTo>
                        <a:lnTo>
                          <a:pt x="363746" y="664902"/>
                        </a:lnTo>
                        <a:lnTo>
                          <a:pt x="359755" y="664447"/>
                        </a:lnTo>
                        <a:lnTo>
                          <a:pt x="353855" y="663493"/>
                        </a:lnTo>
                        <a:lnTo>
                          <a:pt x="345502" y="661562"/>
                        </a:lnTo>
                        <a:lnTo>
                          <a:pt x="336717" y="658698"/>
                        </a:lnTo>
                        <a:lnTo>
                          <a:pt x="332336" y="656875"/>
                        </a:lnTo>
                        <a:lnTo>
                          <a:pt x="328257" y="654858"/>
                        </a:lnTo>
                        <a:lnTo>
                          <a:pt x="321229" y="650672"/>
                        </a:lnTo>
                        <a:lnTo>
                          <a:pt x="314873" y="645943"/>
                        </a:lnTo>
                        <a:lnTo>
                          <a:pt x="310209" y="641670"/>
                        </a:lnTo>
                        <a:lnTo>
                          <a:pt x="307823" y="638763"/>
                        </a:lnTo>
                        <a:lnTo>
                          <a:pt x="305220" y="636029"/>
                        </a:lnTo>
                        <a:lnTo>
                          <a:pt x="300231" y="631778"/>
                        </a:lnTo>
                        <a:lnTo>
                          <a:pt x="293918" y="627591"/>
                        </a:lnTo>
                        <a:lnTo>
                          <a:pt x="288040" y="624489"/>
                        </a:lnTo>
                        <a:lnTo>
                          <a:pt x="264416" y="612623"/>
                        </a:lnTo>
                        <a:lnTo>
                          <a:pt x="244589" y="602710"/>
                        </a:lnTo>
                        <a:lnTo>
                          <a:pt x="223699" y="592254"/>
                        </a:lnTo>
                        <a:lnTo>
                          <a:pt x="219838" y="590692"/>
                        </a:lnTo>
                        <a:lnTo>
                          <a:pt x="215738" y="589478"/>
                        </a:lnTo>
                        <a:lnTo>
                          <a:pt x="211248" y="588588"/>
                        </a:lnTo>
                        <a:lnTo>
                          <a:pt x="206757" y="588089"/>
                        </a:lnTo>
                        <a:lnTo>
                          <a:pt x="184892" y="587720"/>
                        </a:lnTo>
                        <a:lnTo>
                          <a:pt x="181876" y="587460"/>
                        </a:lnTo>
                        <a:lnTo>
                          <a:pt x="179643" y="587070"/>
                        </a:lnTo>
                        <a:lnTo>
                          <a:pt x="177473" y="586506"/>
                        </a:lnTo>
                        <a:lnTo>
                          <a:pt x="173243" y="584922"/>
                        </a:lnTo>
                        <a:lnTo>
                          <a:pt x="168666" y="582622"/>
                        </a:lnTo>
                        <a:lnTo>
                          <a:pt x="166735" y="581104"/>
                        </a:lnTo>
                        <a:lnTo>
                          <a:pt x="164957" y="579151"/>
                        </a:lnTo>
                        <a:lnTo>
                          <a:pt x="162917" y="575117"/>
                        </a:lnTo>
                        <a:lnTo>
                          <a:pt x="161963" y="569564"/>
                        </a:lnTo>
                        <a:lnTo>
                          <a:pt x="160639" y="565789"/>
                        </a:lnTo>
                        <a:lnTo>
                          <a:pt x="159620" y="563751"/>
                        </a:lnTo>
                        <a:lnTo>
                          <a:pt x="158405" y="561689"/>
                        </a:lnTo>
                        <a:lnTo>
                          <a:pt x="154566" y="558609"/>
                        </a:lnTo>
                        <a:lnTo>
                          <a:pt x="152071" y="556613"/>
                        </a:lnTo>
                        <a:lnTo>
                          <a:pt x="146214" y="552687"/>
                        </a:lnTo>
                        <a:lnTo>
                          <a:pt x="143112" y="550865"/>
                        </a:lnTo>
                        <a:lnTo>
                          <a:pt x="139533" y="549064"/>
                        </a:lnTo>
                        <a:lnTo>
                          <a:pt x="132418" y="546223"/>
                        </a:lnTo>
                        <a:lnTo>
                          <a:pt x="122461" y="543381"/>
                        </a:lnTo>
                        <a:lnTo>
                          <a:pt x="118730" y="541689"/>
                        </a:lnTo>
                        <a:lnTo>
                          <a:pt x="116821" y="540409"/>
                        </a:lnTo>
                        <a:lnTo>
                          <a:pt x="115172" y="538890"/>
                        </a:lnTo>
                        <a:lnTo>
                          <a:pt x="113849" y="537155"/>
                        </a:lnTo>
                        <a:lnTo>
                          <a:pt x="112938" y="535312"/>
                        </a:lnTo>
                        <a:lnTo>
                          <a:pt x="111593" y="531602"/>
                        </a:lnTo>
                        <a:lnTo>
                          <a:pt x="111051" y="529064"/>
                        </a:lnTo>
                        <a:lnTo>
                          <a:pt x="110790" y="526526"/>
                        </a:lnTo>
                        <a:lnTo>
                          <a:pt x="110942" y="522708"/>
                        </a:lnTo>
                        <a:lnTo>
                          <a:pt x="111094" y="521341"/>
                        </a:lnTo>
                        <a:lnTo>
                          <a:pt x="110790" y="518326"/>
                        </a:lnTo>
                        <a:lnTo>
                          <a:pt x="109597" y="514118"/>
                        </a:lnTo>
                        <a:lnTo>
                          <a:pt x="107580" y="510191"/>
                        </a:lnTo>
                        <a:lnTo>
                          <a:pt x="103177" y="504161"/>
                        </a:lnTo>
                        <a:lnTo>
                          <a:pt x="99575" y="500538"/>
                        </a:lnTo>
                        <a:lnTo>
                          <a:pt x="95953" y="497632"/>
                        </a:lnTo>
                        <a:lnTo>
                          <a:pt x="92981" y="495636"/>
                        </a:lnTo>
                        <a:lnTo>
                          <a:pt x="87340" y="492664"/>
                        </a:lnTo>
                        <a:lnTo>
                          <a:pt x="81961" y="489258"/>
                        </a:lnTo>
                        <a:lnTo>
                          <a:pt x="76907" y="485397"/>
                        </a:lnTo>
                        <a:lnTo>
                          <a:pt x="73913" y="482642"/>
                        </a:lnTo>
                        <a:lnTo>
                          <a:pt x="72026" y="478694"/>
                        </a:lnTo>
                        <a:lnTo>
                          <a:pt x="70551" y="474789"/>
                        </a:lnTo>
                        <a:lnTo>
                          <a:pt x="69618" y="471167"/>
                        </a:lnTo>
                        <a:lnTo>
                          <a:pt x="68425" y="462446"/>
                        </a:lnTo>
                        <a:lnTo>
                          <a:pt x="66993" y="458216"/>
                        </a:lnTo>
                        <a:lnTo>
                          <a:pt x="63957" y="452685"/>
                        </a:lnTo>
                        <a:lnTo>
                          <a:pt x="58511" y="445093"/>
                        </a:lnTo>
                        <a:lnTo>
                          <a:pt x="56212" y="441860"/>
                        </a:lnTo>
                        <a:lnTo>
                          <a:pt x="55323" y="440949"/>
                        </a:lnTo>
                        <a:lnTo>
                          <a:pt x="47535" y="435027"/>
                        </a:lnTo>
                        <a:lnTo>
                          <a:pt x="40811" y="428801"/>
                        </a:lnTo>
                        <a:lnTo>
                          <a:pt x="36776" y="424289"/>
                        </a:lnTo>
                        <a:lnTo>
                          <a:pt x="33912" y="420428"/>
                        </a:lnTo>
                        <a:lnTo>
                          <a:pt x="20267" y="397803"/>
                        </a:lnTo>
                        <a:lnTo>
                          <a:pt x="8532" y="371642"/>
                        </a:lnTo>
                        <a:lnTo>
                          <a:pt x="7404" y="367933"/>
                        </a:lnTo>
                        <a:lnTo>
                          <a:pt x="7144" y="364873"/>
                        </a:lnTo>
                        <a:lnTo>
                          <a:pt x="8076" y="362205"/>
                        </a:lnTo>
                        <a:lnTo>
                          <a:pt x="9660" y="359473"/>
                        </a:lnTo>
                        <a:lnTo>
                          <a:pt x="12263" y="356327"/>
                        </a:lnTo>
                        <a:lnTo>
                          <a:pt x="14563" y="354266"/>
                        </a:lnTo>
                        <a:lnTo>
                          <a:pt x="15604" y="353463"/>
                        </a:lnTo>
                        <a:lnTo>
                          <a:pt x="22957" y="349190"/>
                        </a:lnTo>
                        <a:lnTo>
                          <a:pt x="24411" y="348106"/>
                        </a:lnTo>
                        <a:lnTo>
                          <a:pt x="25691" y="346761"/>
                        </a:lnTo>
                        <a:lnTo>
                          <a:pt x="28229" y="343268"/>
                        </a:lnTo>
                        <a:lnTo>
                          <a:pt x="29292" y="340839"/>
                        </a:lnTo>
                        <a:lnTo>
                          <a:pt x="29834" y="338647"/>
                        </a:lnTo>
                        <a:lnTo>
                          <a:pt x="29574" y="332140"/>
                        </a:lnTo>
                        <a:lnTo>
                          <a:pt x="29965" y="327064"/>
                        </a:lnTo>
                        <a:lnTo>
                          <a:pt x="30442" y="324179"/>
                        </a:lnTo>
                        <a:lnTo>
                          <a:pt x="31049" y="321120"/>
                        </a:lnTo>
                        <a:lnTo>
                          <a:pt x="37795" y="321857"/>
                        </a:lnTo>
                        <a:lnTo>
                          <a:pt x="38532" y="318972"/>
                        </a:lnTo>
                        <a:lnTo>
                          <a:pt x="40875" y="314156"/>
                        </a:lnTo>
                        <a:lnTo>
                          <a:pt x="53826" y="293549"/>
                        </a:lnTo>
                        <a:lnTo>
                          <a:pt x="84651" y="244242"/>
                        </a:lnTo>
                        <a:lnTo>
                          <a:pt x="82395" y="243700"/>
                        </a:lnTo>
                        <a:lnTo>
                          <a:pt x="86061" y="238016"/>
                        </a:lnTo>
                        <a:lnTo>
                          <a:pt x="86559" y="238125"/>
                        </a:lnTo>
                        <a:lnTo>
                          <a:pt x="90725" y="231443"/>
                        </a:lnTo>
                        <a:lnTo>
                          <a:pt x="86538" y="230402"/>
                        </a:lnTo>
                        <a:lnTo>
                          <a:pt x="87970" y="228081"/>
                        </a:lnTo>
                        <a:lnTo>
                          <a:pt x="124738" y="169230"/>
                        </a:lnTo>
                        <a:lnTo>
                          <a:pt x="124978" y="167863"/>
                        </a:lnTo>
                        <a:lnTo>
                          <a:pt x="124587" y="166605"/>
                        </a:lnTo>
                        <a:lnTo>
                          <a:pt x="119749" y="161247"/>
                        </a:lnTo>
                        <a:lnTo>
                          <a:pt x="118839" y="159620"/>
                        </a:lnTo>
                        <a:lnTo>
                          <a:pt x="118469" y="157949"/>
                        </a:lnTo>
                        <a:lnTo>
                          <a:pt x="118578" y="156431"/>
                        </a:lnTo>
                        <a:lnTo>
                          <a:pt x="119012" y="155238"/>
                        </a:lnTo>
                        <a:lnTo>
                          <a:pt x="119923" y="153784"/>
                        </a:lnTo>
                        <a:lnTo>
                          <a:pt x="121333" y="152310"/>
                        </a:lnTo>
                        <a:lnTo>
                          <a:pt x="123611" y="150812"/>
                        </a:lnTo>
                        <a:lnTo>
                          <a:pt x="129945" y="148296"/>
                        </a:lnTo>
                        <a:lnTo>
                          <a:pt x="134978" y="145672"/>
                        </a:lnTo>
                        <a:lnTo>
                          <a:pt x="138296" y="143372"/>
                        </a:lnTo>
                        <a:lnTo>
                          <a:pt x="141876" y="140032"/>
                        </a:lnTo>
                        <a:lnTo>
                          <a:pt x="144262" y="136930"/>
                        </a:lnTo>
                        <a:lnTo>
                          <a:pt x="163894" y="105020"/>
                        </a:lnTo>
                        <a:lnTo>
                          <a:pt x="167472" y="99467"/>
                        </a:lnTo>
                        <a:lnTo>
                          <a:pt x="178753" y="83197"/>
                        </a:lnTo>
                        <a:lnTo>
                          <a:pt x="183981" y="77210"/>
                        </a:lnTo>
                        <a:lnTo>
                          <a:pt x="193677" y="65474"/>
                        </a:lnTo>
                        <a:lnTo>
                          <a:pt x="198015" y="60247"/>
                        </a:lnTo>
                        <a:lnTo>
                          <a:pt x="214589" y="36407"/>
                        </a:lnTo>
                        <a:lnTo>
                          <a:pt x="225022" y="13911"/>
                        </a:lnTo>
                        <a:lnTo>
                          <a:pt x="252507" y="18510"/>
                        </a:lnTo>
                        <a:lnTo>
                          <a:pt x="257409" y="19335"/>
                        </a:lnTo>
                        <a:lnTo>
                          <a:pt x="366696" y="12588"/>
                        </a:lnTo>
                        <a:lnTo>
                          <a:pt x="389669" y="11157"/>
                        </a:lnTo>
                        <a:lnTo>
                          <a:pt x="392683" y="18011"/>
                        </a:lnTo>
                        <a:lnTo>
                          <a:pt x="394745" y="17642"/>
                        </a:lnTo>
                        <a:lnTo>
                          <a:pt x="394593" y="17317"/>
                        </a:lnTo>
                        <a:lnTo>
                          <a:pt x="394809" y="14823"/>
                        </a:lnTo>
                        <a:lnTo>
                          <a:pt x="396025" y="10788"/>
                        </a:lnTo>
                        <a:lnTo>
                          <a:pt x="454963" y="7144"/>
                        </a:lnTo>
                        <a:lnTo>
                          <a:pt x="467479" y="45517"/>
                        </a:lnTo>
                        <a:lnTo>
                          <a:pt x="472187" y="57687"/>
                        </a:lnTo>
                        <a:lnTo>
                          <a:pt x="480191" y="73154"/>
                        </a:lnTo>
                        <a:lnTo>
                          <a:pt x="491406" y="89684"/>
                        </a:lnTo>
                        <a:lnTo>
                          <a:pt x="503271" y="103045"/>
                        </a:lnTo>
                        <a:lnTo>
                          <a:pt x="516374" y="115953"/>
                        </a:lnTo>
                        <a:lnTo>
                          <a:pt x="532622" y="129641"/>
                        </a:lnTo>
                        <a:lnTo>
                          <a:pt x="534965" y="131246"/>
                        </a:lnTo>
                        <a:lnTo>
                          <a:pt x="550301" y="141766"/>
                        </a:lnTo>
                        <a:lnTo>
                          <a:pt x="562905" y="148947"/>
                        </a:lnTo>
                        <a:lnTo>
                          <a:pt x="569585" y="152743"/>
                        </a:lnTo>
                        <a:lnTo>
                          <a:pt x="587287" y="161789"/>
                        </a:lnTo>
                        <a:lnTo>
                          <a:pt x="607070" y="169728"/>
                        </a:lnTo>
                        <a:lnTo>
                          <a:pt x="610692" y="171203"/>
                        </a:lnTo>
                        <a:lnTo>
                          <a:pt x="632407" y="178882"/>
                        </a:lnTo>
                        <a:lnTo>
                          <a:pt x="655163" y="185629"/>
                        </a:lnTo>
                        <a:lnTo>
                          <a:pt x="680369" y="191247"/>
                        </a:lnTo>
                        <a:lnTo>
                          <a:pt x="691887" y="193373"/>
                        </a:lnTo>
                        <a:lnTo>
                          <a:pt x="700629" y="194804"/>
                        </a:lnTo>
                        <a:lnTo>
                          <a:pt x="703277" y="195261"/>
                        </a:lnTo>
                        <a:lnTo>
                          <a:pt x="726943" y="198189"/>
                        </a:lnTo>
                        <a:lnTo>
                          <a:pt x="749980" y="198796"/>
                        </a:lnTo>
                        <a:lnTo>
                          <a:pt x="791391" y="197560"/>
                        </a:lnTo>
                        <a:lnTo>
                          <a:pt x="803647" y="246954"/>
                        </a:lnTo>
                        <a:lnTo>
                          <a:pt x="821566" y="248168"/>
                        </a:lnTo>
                        <a:lnTo>
                          <a:pt x="823778" y="256759"/>
                        </a:lnTo>
                        <a:lnTo>
                          <a:pt x="822715" y="258342"/>
                        </a:lnTo>
                        <a:lnTo>
                          <a:pt x="819852" y="258624"/>
                        </a:lnTo>
                        <a:lnTo>
                          <a:pt x="821479" y="265153"/>
                        </a:lnTo>
                        <a:lnTo>
                          <a:pt x="823692" y="264980"/>
                        </a:lnTo>
                        <a:lnTo>
                          <a:pt x="823887" y="265414"/>
                        </a:lnTo>
                        <a:lnTo>
                          <a:pt x="824711" y="265652"/>
                        </a:lnTo>
                        <a:lnTo>
                          <a:pt x="830676" y="265327"/>
                        </a:lnTo>
                        <a:lnTo>
                          <a:pt x="837727" y="265153"/>
                        </a:lnTo>
                        <a:lnTo>
                          <a:pt x="850156" y="265392"/>
                        </a:lnTo>
                        <a:lnTo>
                          <a:pt x="856858" y="265826"/>
                        </a:lnTo>
                        <a:lnTo>
                          <a:pt x="867835" y="266932"/>
                        </a:lnTo>
                        <a:lnTo>
                          <a:pt x="876382" y="268147"/>
                        </a:lnTo>
                        <a:lnTo>
                          <a:pt x="1006320" y="289253"/>
                        </a:lnTo>
                        <a:lnTo>
                          <a:pt x="1022524" y="291661"/>
                        </a:lnTo>
                        <a:lnTo>
                          <a:pt x="1022806" y="290924"/>
                        </a:lnTo>
                        <a:lnTo>
                          <a:pt x="1023218" y="290968"/>
                        </a:lnTo>
                        <a:lnTo>
                          <a:pt x="1023478" y="290642"/>
                        </a:lnTo>
                        <a:lnTo>
                          <a:pt x="1026060" y="291011"/>
                        </a:lnTo>
                        <a:lnTo>
                          <a:pt x="1029401" y="291488"/>
                        </a:lnTo>
                        <a:lnTo>
                          <a:pt x="1028945" y="292638"/>
                        </a:lnTo>
                        <a:lnTo>
                          <a:pt x="1061332" y="297584"/>
                        </a:lnTo>
                        <a:lnTo>
                          <a:pt x="1071722" y="299579"/>
                        </a:lnTo>
                        <a:lnTo>
                          <a:pt x="1080313" y="301641"/>
                        </a:lnTo>
                        <a:lnTo>
                          <a:pt x="1087797" y="303701"/>
                        </a:lnTo>
                        <a:lnTo>
                          <a:pt x="1102440" y="308408"/>
                        </a:lnTo>
                        <a:lnTo>
                          <a:pt x="1162419" y="327692"/>
                        </a:lnTo>
                        <a:lnTo>
                          <a:pt x="1166974" y="329016"/>
                        </a:lnTo>
                        <a:lnTo>
                          <a:pt x="1180923" y="332769"/>
                        </a:lnTo>
                        <a:lnTo>
                          <a:pt x="1199404" y="337237"/>
                        </a:lnTo>
                        <a:lnTo>
                          <a:pt x="1209231" y="340036"/>
                        </a:lnTo>
                        <a:lnTo>
                          <a:pt x="1216520" y="342639"/>
                        </a:lnTo>
                        <a:lnTo>
                          <a:pt x="1224307" y="345871"/>
                        </a:lnTo>
                        <a:lnTo>
                          <a:pt x="1231444" y="349255"/>
                        </a:lnTo>
                        <a:lnTo>
                          <a:pt x="1237930" y="352943"/>
                        </a:lnTo>
                        <a:lnTo>
                          <a:pt x="1244373" y="357151"/>
                        </a:lnTo>
                        <a:lnTo>
                          <a:pt x="1250317" y="361641"/>
                        </a:lnTo>
                        <a:lnTo>
                          <a:pt x="1255198" y="365828"/>
                        </a:lnTo>
                        <a:lnTo>
                          <a:pt x="1258321" y="369711"/>
                        </a:lnTo>
                        <a:lnTo>
                          <a:pt x="1259666" y="370145"/>
                        </a:lnTo>
                        <a:lnTo>
                          <a:pt x="1261359" y="370037"/>
                        </a:lnTo>
                        <a:lnTo>
                          <a:pt x="1264351" y="373898"/>
                        </a:lnTo>
                        <a:lnTo>
                          <a:pt x="1262964" y="374657"/>
                        </a:lnTo>
                        <a:lnTo>
                          <a:pt x="1262704" y="375048"/>
                        </a:lnTo>
                        <a:lnTo>
                          <a:pt x="1262811" y="375763"/>
                        </a:lnTo>
                        <a:lnTo>
                          <a:pt x="1266738" y="379971"/>
                        </a:lnTo>
                        <a:lnTo>
                          <a:pt x="1269384" y="384874"/>
                        </a:lnTo>
                        <a:lnTo>
                          <a:pt x="1272421" y="393030"/>
                        </a:lnTo>
                        <a:lnTo>
                          <a:pt x="1272747" y="397000"/>
                        </a:lnTo>
                        <a:lnTo>
                          <a:pt x="1273484" y="397586"/>
                        </a:lnTo>
                        <a:lnTo>
                          <a:pt x="1274200" y="397803"/>
                        </a:lnTo>
                        <a:lnTo>
                          <a:pt x="1275177" y="397781"/>
                        </a:lnTo>
                        <a:lnTo>
                          <a:pt x="1275285" y="398172"/>
                        </a:lnTo>
                        <a:lnTo>
                          <a:pt x="1275588" y="398150"/>
                        </a:lnTo>
                        <a:lnTo>
                          <a:pt x="1276196" y="400753"/>
                        </a:lnTo>
                        <a:lnTo>
                          <a:pt x="1276868" y="403769"/>
                        </a:lnTo>
                        <a:lnTo>
                          <a:pt x="1275350" y="404679"/>
                        </a:lnTo>
                        <a:lnTo>
                          <a:pt x="1275697" y="411556"/>
                        </a:lnTo>
                        <a:lnTo>
                          <a:pt x="1276369" y="414680"/>
                        </a:lnTo>
                        <a:lnTo>
                          <a:pt x="1275306" y="425048"/>
                        </a:lnTo>
                        <a:lnTo>
                          <a:pt x="1273810" y="432250"/>
                        </a:lnTo>
                        <a:lnTo>
                          <a:pt x="1272118" y="437348"/>
                        </a:lnTo>
                        <a:lnTo>
                          <a:pt x="1269819" y="442728"/>
                        </a:lnTo>
                        <a:lnTo>
                          <a:pt x="1268408" y="445440"/>
                        </a:lnTo>
                        <a:lnTo>
                          <a:pt x="1257779" y="463206"/>
                        </a:lnTo>
                        <a:lnTo>
                          <a:pt x="1258256" y="463292"/>
                        </a:lnTo>
                        <a:lnTo>
                          <a:pt x="1258170" y="464138"/>
                        </a:lnTo>
                        <a:lnTo>
                          <a:pt x="1258538" y="464637"/>
                        </a:lnTo>
                        <a:lnTo>
                          <a:pt x="1259883" y="465331"/>
                        </a:lnTo>
                        <a:lnTo>
                          <a:pt x="1255523" y="472576"/>
                        </a:lnTo>
                        <a:lnTo>
                          <a:pt x="1246781" y="487024"/>
                        </a:lnTo>
                        <a:lnTo>
                          <a:pt x="1158579" y="488499"/>
                        </a:lnTo>
                        <a:lnTo>
                          <a:pt x="1154610" y="488759"/>
                        </a:lnTo>
                        <a:lnTo>
                          <a:pt x="1150250" y="489389"/>
                        </a:lnTo>
                        <a:lnTo>
                          <a:pt x="1146823" y="490213"/>
                        </a:lnTo>
                        <a:lnTo>
                          <a:pt x="1144284" y="490994"/>
                        </a:lnTo>
                        <a:lnTo>
                          <a:pt x="1141008" y="492317"/>
                        </a:lnTo>
                        <a:lnTo>
                          <a:pt x="1138405" y="493662"/>
                        </a:lnTo>
                        <a:lnTo>
                          <a:pt x="1116973" y="506634"/>
                        </a:lnTo>
                        <a:lnTo>
                          <a:pt x="1099120" y="515680"/>
                        </a:lnTo>
                        <a:lnTo>
                          <a:pt x="1045627" y="547980"/>
                        </a:lnTo>
                        <a:lnTo>
                          <a:pt x="1043046" y="549715"/>
                        </a:lnTo>
                        <a:lnTo>
                          <a:pt x="1040398" y="551038"/>
                        </a:lnTo>
                        <a:lnTo>
                          <a:pt x="1037622" y="552102"/>
                        </a:lnTo>
                        <a:lnTo>
                          <a:pt x="1033674" y="553164"/>
                        </a:lnTo>
                        <a:lnTo>
                          <a:pt x="1028837" y="553924"/>
                        </a:lnTo>
                        <a:lnTo>
                          <a:pt x="1018706" y="555160"/>
                        </a:lnTo>
                        <a:lnTo>
                          <a:pt x="1003804" y="556396"/>
                        </a:lnTo>
                        <a:lnTo>
                          <a:pt x="1000290" y="557091"/>
                        </a:lnTo>
                        <a:lnTo>
                          <a:pt x="996905" y="558045"/>
                        </a:lnTo>
                        <a:lnTo>
                          <a:pt x="992827" y="559628"/>
                        </a:lnTo>
                        <a:lnTo>
                          <a:pt x="989530" y="561386"/>
                        </a:lnTo>
                        <a:lnTo>
                          <a:pt x="982133" y="567416"/>
                        </a:lnTo>
                        <a:lnTo>
                          <a:pt x="974475" y="574076"/>
                        </a:lnTo>
                        <a:lnTo>
                          <a:pt x="970615" y="576462"/>
                        </a:lnTo>
                        <a:lnTo>
                          <a:pt x="966991" y="578241"/>
                        </a:lnTo>
                        <a:lnTo>
                          <a:pt x="960852" y="580496"/>
                        </a:lnTo>
                        <a:lnTo>
                          <a:pt x="954214" y="582123"/>
                        </a:lnTo>
                        <a:lnTo>
                          <a:pt x="946991" y="583100"/>
                        </a:lnTo>
                        <a:lnTo>
                          <a:pt x="941004" y="583317"/>
                        </a:lnTo>
                        <a:lnTo>
                          <a:pt x="917793" y="584206"/>
                        </a:lnTo>
                        <a:lnTo>
                          <a:pt x="914322" y="584597"/>
                        </a:lnTo>
                        <a:lnTo>
                          <a:pt x="908249" y="585616"/>
                        </a:lnTo>
                        <a:lnTo>
                          <a:pt x="903693" y="586635"/>
                        </a:lnTo>
                        <a:lnTo>
                          <a:pt x="888725" y="590779"/>
                        </a:lnTo>
                        <a:lnTo>
                          <a:pt x="866079" y="597092"/>
                        </a:lnTo>
                        <a:lnTo>
                          <a:pt x="840113" y="600085"/>
                        </a:lnTo>
                        <a:lnTo>
                          <a:pt x="816814" y="602492"/>
                        </a:lnTo>
                        <a:lnTo>
                          <a:pt x="814082" y="602970"/>
                        </a:lnTo>
                        <a:lnTo>
                          <a:pt x="810871" y="603924"/>
                        </a:lnTo>
                        <a:lnTo>
                          <a:pt x="808441" y="605009"/>
                        </a:lnTo>
                        <a:lnTo>
                          <a:pt x="806880" y="605942"/>
                        </a:lnTo>
                        <a:lnTo>
                          <a:pt x="804299" y="608003"/>
                        </a:lnTo>
                        <a:lnTo>
                          <a:pt x="801456" y="609869"/>
                        </a:lnTo>
                        <a:lnTo>
                          <a:pt x="796706" y="612277"/>
                        </a:lnTo>
                        <a:lnTo>
                          <a:pt x="790806" y="614424"/>
                        </a:lnTo>
                        <a:lnTo>
                          <a:pt x="787117" y="615400"/>
                        </a:lnTo>
                        <a:lnTo>
                          <a:pt x="783842" y="616050"/>
                        </a:lnTo>
                        <a:lnTo>
                          <a:pt x="777682" y="616809"/>
                        </a:lnTo>
                        <a:lnTo>
                          <a:pt x="771217" y="617005"/>
                        </a:lnTo>
                        <a:lnTo>
                          <a:pt x="764797" y="616571"/>
                        </a:lnTo>
                        <a:lnTo>
                          <a:pt x="757659" y="615400"/>
                        </a:lnTo>
                        <a:lnTo>
                          <a:pt x="752779" y="615205"/>
                        </a:lnTo>
                        <a:lnTo>
                          <a:pt x="747031" y="615660"/>
                        </a:lnTo>
                        <a:lnTo>
                          <a:pt x="742106" y="616745"/>
                        </a:lnTo>
                        <a:lnTo>
                          <a:pt x="734578" y="618697"/>
                        </a:lnTo>
                        <a:lnTo>
                          <a:pt x="730457" y="620172"/>
                        </a:lnTo>
                        <a:lnTo>
                          <a:pt x="727441" y="621496"/>
                        </a:lnTo>
                        <a:lnTo>
                          <a:pt x="724492" y="623014"/>
                        </a:lnTo>
                        <a:lnTo>
                          <a:pt x="721671" y="624771"/>
                        </a:lnTo>
                        <a:lnTo>
                          <a:pt x="715685" y="629435"/>
                        </a:lnTo>
                        <a:lnTo>
                          <a:pt x="711758" y="632211"/>
                        </a:lnTo>
                        <a:lnTo>
                          <a:pt x="705684" y="635509"/>
                        </a:lnTo>
                        <a:lnTo>
                          <a:pt x="702713" y="636810"/>
                        </a:lnTo>
                        <a:lnTo>
                          <a:pt x="695467" y="639283"/>
                        </a:lnTo>
                        <a:lnTo>
                          <a:pt x="691215" y="640412"/>
                        </a:lnTo>
                        <a:lnTo>
                          <a:pt x="673601" y="643665"/>
                        </a:lnTo>
                        <a:lnTo>
                          <a:pt x="662104" y="646615"/>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53" name="Freeform: Shape 52">
                    <a:extLst>
                      <a:ext uri="{FF2B5EF4-FFF2-40B4-BE49-F238E27FC236}">
                        <a16:creationId xmlns:a16="http://schemas.microsoft.com/office/drawing/2014/main" id="{3258F964-C582-46FF-8BDC-0FE163507788}"/>
                      </a:ext>
                    </a:extLst>
                  </p:cNvPr>
                  <p:cNvSpPr/>
                  <p:nvPr/>
                </p:nvSpPr>
                <p:spPr>
                  <a:xfrm>
                    <a:off x="4815432" y="3724546"/>
                    <a:ext cx="971230" cy="365419"/>
                  </a:xfrm>
                  <a:custGeom>
                    <a:avLst/>
                    <a:gdLst>
                      <a:gd name="connsiteX0" fmla="*/ 3414877 w 3419475"/>
                      <a:gd name="connsiteY0" fmla="*/ 694513 h 857250"/>
                      <a:gd name="connsiteX1" fmla="*/ 3406591 w 3419475"/>
                      <a:gd name="connsiteY1" fmla="*/ 699111 h 857250"/>
                      <a:gd name="connsiteX2" fmla="*/ 3213463 w 3419475"/>
                      <a:gd name="connsiteY2" fmla="*/ 798007 h 857250"/>
                      <a:gd name="connsiteX3" fmla="*/ 3209905 w 3419475"/>
                      <a:gd name="connsiteY3" fmla="*/ 799266 h 857250"/>
                      <a:gd name="connsiteX4" fmla="*/ 3207519 w 3419475"/>
                      <a:gd name="connsiteY4" fmla="*/ 799808 h 857250"/>
                      <a:gd name="connsiteX5" fmla="*/ 3203853 w 3419475"/>
                      <a:gd name="connsiteY5" fmla="*/ 800351 h 857250"/>
                      <a:gd name="connsiteX6" fmla="*/ 3200447 w 3419475"/>
                      <a:gd name="connsiteY6" fmla="*/ 800502 h 857250"/>
                      <a:gd name="connsiteX7" fmla="*/ 3197779 w 3419475"/>
                      <a:gd name="connsiteY7" fmla="*/ 800415 h 857250"/>
                      <a:gd name="connsiteX8" fmla="*/ 3131855 w 3419475"/>
                      <a:gd name="connsiteY8" fmla="*/ 794515 h 857250"/>
                      <a:gd name="connsiteX9" fmla="*/ 3128992 w 3419475"/>
                      <a:gd name="connsiteY9" fmla="*/ 794558 h 857250"/>
                      <a:gd name="connsiteX10" fmla="*/ 3125391 w 3419475"/>
                      <a:gd name="connsiteY10" fmla="*/ 794883 h 857250"/>
                      <a:gd name="connsiteX11" fmla="*/ 3109404 w 3419475"/>
                      <a:gd name="connsiteY11" fmla="*/ 797704 h 857250"/>
                      <a:gd name="connsiteX12" fmla="*/ 3107495 w 3419475"/>
                      <a:gd name="connsiteY12" fmla="*/ 794472 h 857250"/>
                      <a:gd name="connsiteX13" fmla="*/ 3103439 w 3419475"/>
                      <a:gd name="connsiteY13" fmla="*/ 789330 h 857250"/>
                      <a:gd name="connsiteX14" fmla="*/ 3103243 w 3419475"/>
                      <a:gd name="connsiteY14" fmla="*/ 787769 h 857250"/>
                      <a:gd name="connsiteX15" fmla="*/ 3098731 w 3419475"/>
                      <a:gd name="connsiteY15" fmla="*/ 783821 h 857250"/>
                      <a:gd name="connsiteX16" fmla="*/ 3010486 w 3419475"/>
                      <a:gd name="connsiteY16" fmla="*/ 825470 h 857250"/>
                      <a:gd name="connsiteX17" fmla="*/ 3007037 w 3419475"/>
                      <a:gd name="connsiteY17" fmla="*/ 825123 h 857250"/>
                      <a:gd name="connsiteX18" fmla="*/ 3003176 w 3419475"/>
                      <a:gd name="connsiteY18" fmla="*/ 824494 h 857250"/>
                      <a:gd name="connsiteX19" fmla="*/ 2997298 w 3419475"/>
                      <a:gd name="connsiteY19" fmla="*/ 823084 h 857250"/>
                      <a:gd name="connsiteX20" fmla="*/ 2992329 w 3419475"/>
                      <a:gd name="connsiteY20" fmla="*/ 821566 h 857250"/>
                      <a:gd name="connsiteX21" fmla="*/ 2985973 w 3419475"/>
                      <a:gd name="connsiteY21" fmla="*/ 819027 h 857250"/>
                      <a:gd name="connsiteX22" fmla="*/ 2985648 w 3419475"/>
                      <a:gd name="connsiteY22" fmla="*/ 819309 h 857250"/>
                      <a:gd name="connsiteX23" fmla="*/ 2984954 w 3419475"/>
                      <a:gd name="connsiteY23" fmla="*/ 819005 h 857250"/>
                      <a:gd name="connsiteX24" fmla="*/ 2981093 w 3419475"/>
                      <a:gd name="connsiteY24" fmla="*/ 822172 h 857250"/>
                      <a:gd name="connsiteX25" fmla="*/ 2977102 w 3419475"/>
                      <a:gd name="connsiteY25" fmla="*/ 828572 h 857250"/>
                      <a:gd name="connsiteX26" fmla="*/ 2976256 w 3419475"/>
                      <a:gd name="connsiteY26" fmla="*/ 828420 h 857250"/>
                      <a:gd name="connsiteX27" fmla="*/ 2975605 w 3419475"/>
                      <a:gd name="connsiteY27" fmla="*/ 829331 h 857250"/>
                      <a:gd name="connsiteX28" fmla="*/ 2974173 w 3419475"/>
                      <a:gd name="connsiteY28" fmla="*/ 829678 h 857250"/>
                      <a:gd name="connsiteX29" fmla="*/ 2960789 w 3419475"/>
                      <a:gd name="connsiteY29" fmla="*/ 832476 h 857250"/>
                      <a:gd name="connsiteX30" fmla="*/ 2945365 w 3419475"/>
                      <a:gd name="connsiteY30" fmla="*/ 835709 h 857250"/>
                      <a:gd name="connsiteX31" fmla="*/ 2945539 w 3419475"/>
                      <a:gd name="connsiteY31" fmla="*/ 835622 h 857250"/>
                      <a:gd name="connsiteX32" fmla="*/ 2927837 w 3419475"/>
                      <a:gd name="connsiteY32" fmla="*/ 821869 h 857250"/>
                      <a:gd name="connsiteX33" fmla="*/ 2921678 w 3419475"/>
                      <a:gd name="connsiteY33" fmla="*/ 817487 h 857250"/>
                      <a:gd name="connsiteX34" fmla="*/ 2911243 w 3419475"/>
                      <a:gd name="connsiteY34" fmla="*/ 810828 h 857250"/>
                      <a:gd name="connsiteX35" fmla="*/ 2905451 w 3419475"/>
                      <a:gd name="connsiteY35" fmla="*/ 807595 h 857250"/>
                      <a:gd name="connsiteX36" fmla="*/ 2894518 w 3419475"/>
                      <a:gd name="connsiteY36" fmla="*/ 802107 h 857250"/>
                      <a:gd name="connsiteX37" fmla="*/ 2888444 w 3419475"/>
                      <a:gd name="connsiteY37" fmla="*/ 799526 h 857250"/>
                      <a:gd name="connsiteX38" fmla="*/ 2874539 w 3419475"/>
                      <a:gd name="connsiteY38" fmla="*/ 794276 h 857250"/>
                      <a:gd name="connsiteX39" fmla="*/ 2866643 w 3419475"/>
                      <a:gd name="connsiteY39" fmla="*/ 791847 h 857250"/>
                      <a:gd name="connsiteX40" fmla="*/ 2857576 w 3419475"/>
                      <a:gd name="connsiteY40" fmla="*/ 789439 h 857250"/>
                      <a:gd name="connsiteX41" fmla="*/ 2848400 w 3419475"/>
                      <a:gd name="connsiteY41" fmla="*/ 787226 h 857250"/>
                      <a:gd name="connsiteX42" fmla="*/ 2839267 w 3419475"/>
                      <a:gd name="connsiteY42" fmla="*/ 785426 h 857250"/>
                      <a:gd name="connsiteX43" fmla="*/ 2830634 w 3419475"/>
                      <a:gd name="connsiteY43" fmla="*/ 783928 h 857250"/>
                      <a:gd name="connsiteX44" fmla="*/ 2812890 w 3419475"/>
                      <a:gd name="connsiteY44" fmla="*/ 781803 h 857250"/>
                      <a:gd name="connsiteX45" fmla="*/ 2804473 w 3419475"/>
                      <a:gd name="connsiteY45" fmla="*/ 781218 h 857250"/>
                      <a:gd name="connsiteX46" fmla="*/ 2796555 w 3419475"/>
                      <a:gd name="connsiteY46" fmla="*/ 780849 h 857250"/>
                      <a:gd name="connsiteX47" fmla="*/ 2786750 w 3419475"/>
                      <a:gd name="connsiteY47" fmla="*/ 780761 h 857250"/>
                      <a:gd name="connsiteX48" fmla="*/ 2759027 w 3419475"/>
                      <a:gd name="connsiteY48" fmla="*/ 780805 h 857250"/>
                      <a:gd name="connsiteX49" fmla="*/ 2758897 w 3419475"/>
                      <a:gd name="connsiteY49" fmla="*/ 778354 h 857250"/>
                      <a:gd name="connsiteX50" fmla="*/ 2744710 w 3419475"/>
                      <a:gd name="connsiteY50" fmla="*/ 778441 h 857250"/>
                      <a:gd name="connsiteX51" fmla="*/ 2744776 w 3419475"/>
                      <a:gd name="connsiteY51" fmla="*/ 778115 h 857250"/>
                      <a:gd name="connsiteX52" fmla="*/ 2654947 w 3419475"/>
                      <a:gd name="connsiteY52" fmla="*/ 778679 h 857250"/>
                      <a:gd name="connsiteX53" fmla="*/ 2655012 w 3419475"/>
                      <a:gd name="connsiteY53" fmla="*/ 778939 h 857250"/>
                      <a:gd name="connsiteX54" fmla="*/ 2648114 w 3419475"/>
                      <a:gd name="connsiteY54" fmla="*/ 778983 h 857250"/>
                      <a:gd name="connsiteX55" fmla="*/ 2648114 w 3419475"/>
                      <a:gd name="connsiteY55" fmla="*/ 778723 h 857250"/>
                      <a:gd name="connsiteX56" fmla="*/ 2616595 w 3419475"/>
                      <a:gd name="connsiteY56" fmla="*/ 778918 h 857250"/>
                      <a:gd name="connsiteX57" fmla="*/ 2574272 w 3419475"/>
                      <a:gd name="connsiteY57" fmla="*/ 779287 h 857250"/>
                      <a:gd name="connsiteX58" fmla="*/ 2574316 w 3419475"/>
                      <a:gd name="connsiteY58" fmla="*/ 779504 h 857250"/>
                      <a:gd name="connsiteX59" fmla="*/ 2566550 w 3419475"/>
                      <a:gd name="connsiteY59" fmla="*/ 779525 h 857250"/>
                      <a:gd name="connsiteX60" fmla="*/ 2566529 w 3419475"/>
                      <a:gd name="connsiteY60" fmla="*/ 778159 h 857250"/>
                      <a:gd name="connsiteX61" fmla="*/ 2550281 w 3419475"/>
                      <a:gd name="connsiteY61" fmla="*/ 778462 h 857250"/>
                      <a:gd name="connsiteX62" fmla="*/ 2540216 w 3419475"/>
                      <a:gd name="connsiteY62" fmla="*/ 778875 h 857250"/>
                      <a:gd name="connsiteX63" fmla="*/ 2539348 w 3419475"/>
                      <a:gd name="connsiteY63" fmla="*/ 778961 h 857250"/>
                      <a:gd name="connsiteX64" fmla="*/ 2538090 w 3419475"/>
                      <a:gd name="connsiteY64" fmla="*/ 779612 h 857250"/>
                      <a:gd name="connsiteX65" fmla="*/ 2527091 w 3419475"/>
                      <a:gd name="connsiteY65" fmla="*/ 780458 h 857250"/>
                      <a:gd name="connsiteX66" fmla="*/ 2525226 w 3419475"/>
                      <a:gd name="connsiteY66" fmla="*/ 781022 h 857250"/>
                      <a:gd name="connsiteX67" fmla="*/ 2513708 w 3419475"/>
                      <a:gd name="connsiteY67" fmla="*/ 782887 h 857250"/>
                      <a:gd name="connsiteX68" fmla="*/ 2506613 w 3419475"/>
                      <a:gd name="connsiteY68" fmla="*/ 783886 h 857250"/>
                      <a:gd name="connsiteX69" fmla="*/ 2500019 w 3419475"/>
                      <a:gd name="connsiteY69" fmla="*/ 784450 h 857250"/>
                      <a:gd name="connsiteX70" fmla="*/ 2490995 w 3419475"/>
                      <a:gd name="connsiteY70" fmla="*/ 786424 h 857250"/>
                      <a:gd name="connsiteX71" fmla="*/ 2484032 w 3419475"/>
                      <a:gd name="connsiteY71" fmla="*/ 788159 h 857250"/>
                      <a:gd name="connsiteX72" fmla="*/ 2474552 w 3419475"/>
                      <a:gd name="connsiteY72" fmla="*/ 790936 h 857250"/>
                      <a:gd name="connsiteX73" fmla="*/ 2471645 w 3419475"/>
                      <a:gd name="connsiteY73" fmla="*/ 791305 h 857250"/>
                      <a:gd name="connsiteX74" fmla="*/ 2468760 w 3419475"/>
                      <a:gd name="connsiteY74" fmla="*/ 792042 h 857250"/>
                      <a:gd name="connsiteX75" fmla="*/ 2461407 w 3419475"/>
                      <a:gd name="connsiteY75" fmla="*/ 794645 h 857250"/>
                      <a:gd name="connsiteX76" fmla="*/ 2454682 w 3419475"/>
                      <a:gd name="connsiteY76" fmla="*/ 797226 h 857250"/>
                      <a:gd name="connsiteX77" fmla="*/ 2443663 w 3419475"/>
                      <a:gd name="connsiteY77" fmla="*/ 801998 h 857250"/>
                      <a:gd name="connsiteX78" fmla="*/ 2434486 w 3419475"/>
                      <a:gd name="connsiteY78" fmla="*/ 806598 h 857250"/>
                      <a:gd name="connsiteX79" fmla="*/ 2451624 w 3419475"/>
                      <a:gd name="connsiteY79" fmla="*/ 793213 h 857250"/>
                      <a:gd name="connsiteX80" fmla="*/ 2458304 w 3419475"/>
                      <a:gd name="connsiteY80" fmla="*/ 787660 h 857250"/>
                      <a:gd name="connsiteX81" fmla="*/ 2427458 w 3419475"/>
                      <a:gd name="connsiteY81" fmla="*/ 777616 h 857250"/>
                      <a:gd name="connsiteX82" fmla="*/ 2409844 w 3419475"/>
                      <a:gd name="connsiteY82" fmla="*/ 772063 h 857250"/>
                      <a:gd name="connsiteX83" fmla="*/ 2408997 w 3419475"/>
                      <a:gd name="connsiteY83" fmla="*/ 768180 h 857250"/>
                      <a:gd name="connsiteX84" fmla="*/ 2395201 w 3419475"/>
                      <a:gd name="connsiteY84" fmla="*/ 764016 h 857250"/>
                      <a:gd name="connsiteX85" fmla="*/ 2374333 w 3419475"/>
                      <a:gd name="connsiteY85" fmla="*/ 780089 h 857250"/>
                      <a:gd name="connsiteX86" fmla="*/ 2361751 w 3419475"/>
                      <a:gd name="connsiteY86" fmla="*/ 779894 h 857250"/>
                      <a:gd name="connsiteX87" fmla="*/ 2336285 w 3419475"/>
                      <a:gd name="connsiteY87" fmla="*/ 780024 h 857250"/>
                      <a:gd name="connsiteX88" fmla="*/ 2328866 w 3419475"/>
                      <a:gd name="connsiteY88" fmla="*/ 780068 h 857250"/>
                      <a:gd name="connsiteX89" fmla="*/ 2327760 w 3419475"/>
                      <a:gd name="connsiteY89" fmla="*/ 788810 h 857250"/>
                      <a:gd name="connsiteX90" fmla="*/ 2325959 w 3419475"/>
                      <a:gd name="connsiteY90" fmla="*/ 815860 h 857250"/>
                      <a:gd name="connsiteX91" fmla="*/ 2325243 w 3419475"/>
                      <a:gd name="connsiteY91" fmla="*/ 832607 h 857250"/>
                      <a:gd name="connsiteX92" fmla="*/ 2324158 w 3419475"/>
                      <a:gd name="connsiteY92" fmla="*/ 838269 h 857250"/>
                      <a:gd name="connsiteX93" fmla="*/ 2324180 w 3419475"/>
                      <a:gd name="connsiteY93" fmla="*/ 847532 h 857250"/>
                      <a:gd name="connsiteX94" fmla="*/ 2323052 w 3419475"/>
                      <a:gd name="connsiteY94" fmla="*/ 850417 h 857250"/>
                      <a:gd name="connsiteX95" fmla="*/ 2321317 w 3419475"/>
                      <a:gd name="connsiteY95" fmla="*/ 851869 h 857250"/>
                      <a:gd name="connsiteX96" fmla="*/ 2309928 w 3419475"/>
                      <a:gd name="connsiteY96" fmla="*/ 853713 h 857250"/>
                      <a:gd name="connsiteX97" fmla="*/ 2296458 w 3419475"/>
                      <a:gd name="connsiteY97" fmla="*/ 855276 h 857250"/>
                      <a:gd name="connsiteX98" fmla="*/ 2282423 w 3419475"/>
                      <a:gd name="connsiteY98" fmla="*/ 856208 h 857250"/>
                      <a:gd name="connsiteX99" fmla="*/ 2268496 w 3419475"/>
                      <a:gd name="connsiteY99" fmla="*/ 856534 h 857250"/>
                      <a:gd name="connsiteX100" fmla="*/ 1959834 w 3419475"/>
                      <a:gd name="connsiteY100" fmla="*/ 856838 h 857250"/>
                      <a:gd name="connsiteX101" fmla="*/ 1931352 w 3419475"/>
                      <a:gd name="connsiteY101" fmla="*/ 856794 h 857250"/>
                      <a:gd name="connsiteX102" fmla="*/ 1903325 w 3419475"/>
                      <a:gd name="connsiteY102" fmla="*/ 856469 h 857250"/>
                      <a:gd name="connsiteX103" fmla="*/ 1891828 w 3419475"/>
                      <a:gd name="connsiteY103" fmla="*/ 854820 h 857250"/>
                      <a:gd name="connsiteX104" fmla="*/ 1885754 w 3419475"/>
                      <a:gd name="connsiteY104" fmla="*/ 853605 h 857250"/>
                      <a:gd name="connsiteX105" fmla="*/ 1880678 w 3419475"/>
                      <a:gd name="connsiteY105" fmla="*/ 852477 h 857250"/>
                      <a:gd name="connsiteX106" fmla="*/ 1870070 w 3419475"/>
                      <a:gd name="connsiteY106" fmla="*/ 849700 h 857250"/>
                      <a:gd name="connsiteX107" fmla="*/ 1863693 w 3419475"/>
                      <a:gd name="connsiteY107" fmla="*/ 847727 h 857250"/>
                      <a:gd name="connsiteX108" fmla="*/ 1849745 w 3419475"/>
                      <a:gd name="connsiteY108" fmla="*/ 842845 h 857250"/>
                      <a:gd name="connsiteX109" fmla="*/ 1835428 w 3419475"/>
                      <a:gd name="connsiteY109" fmla="*/ 837336 h 857250"/>
                      <a:gd name="connsiteX110" fmla="*/ 1822607 w 3419475"/>
                      <a:gd name="connsiteY110" fmla="*/ 831913 h 857250"/>
                      <a:gd name="connsiteX111" fmla="*/ 1814885 w 3419475"/>
                      <a:gd name="connsiteY111" fmla="*/ 828246 h 857250"/>
                      <a:gd name="connsiteX112" fmla="*/ 1807444 w 3419475"/>
                      <a:gd name="connsiteY112" fmla="*/ 824429 h 857250"/>
                      <a:gd name="connsiteX113" fmla="*/ 1787465 w 3419475"/>
                      <a:gd name="connsiteY113" fmla="*/ 813019 h 857250"/>
                      <a:gd name="connsiteX114" fmla="*/ 1782216 w 3419475"/>
                      <a:gd name="connsiteY114" fmla="*/ 809656 h 857250"/>
                      <a:gd name="connsiteX115" fmla="*/ 1769938 w 3419475"/>
                      <a:gd name="connsiteY115" fmla="*/ 801023 h 857250"/>
                      <a:gd name="connsiteX116" fmla="*/ 1766945 w 3419475"/>
                      <a:gd name="connsiteY116" fmla="*/ 798658 h 857250"/>
                      <a:gd name="connsiteX117" fmla="*/ 1761912 w 3419475"/>
                      <a:gd name="connsiteY117" fmla="*/ 793821 h 857250"/>
                      <a:gd name="connsiteX118" fmla="*/ 1760935 w 3419475"/>
                      <a:gd name="connsiteY118" fmla="*/ 792736 h 857250"/>
                      <a:gd name="connsiteX119" fmla="*/ 1758940 w 3419475"/>
                      <a:gd name="connsiteY119" fmla="*/ 793560 h 857250"/>
                      <a:gd name="connsiteX120" fmla="*/ 1754428 w 3419475"/>
                      <a:gd name="connsiteY120" fmla="*/ 789525 h 857250"/>
                      <a:gd name="connsiteX121" fmla="*/ 1752453 w 3419475"/>
                      <a:gd name="connsiteY121" fmla="*/ 787161 h 857250"/>
                      <a:gd name="connsiteX122" fmla="*/ 1750393 w 3419475"/>
                      <a:gd name="connsiteY122" fmla="*/ 785122 h 857250"/>
                      <a:gd name="connsiteX123" fmla="*/ 1747096 w 3419475"/>
                      <a:gd name="connsiteY123" fmla="*/ 782345 h 857250"/>
                      <a:gd name="connsiteX124" fmla="*/ 1742692 w 3419475"/>
                      <a:gd name="connsiteY124" fmla="*/ 784254 h 857250"/>
                      <a:gd name="connsiteX125" fmla="*/ 1737854 w 3419475"/>
                      <a:gd name="connsiteY125" fmla="*/ 780046 h 857250"/>
                      <a:gd name="connsiteX126" fmla="*/ 1723213 w 3419475"/>
                      <a:gd name="connsiteY126" fmla="*/ 785577 h 857250"/>
                      <a:gd name="connsiteX127" fmla="*/ 1717680 w 3419475"/>
                      <a:gd name="connsiteY127" fmla="*/ 787270 h 857250"/>
                      <a:gd name="connsiteX128" fmla="*/ 1712041 w 3419475"/>
                      <a:gd name="connsiteY128" fmla="*/ 789439 h 857250"/>
                      <a:gd name="connsiteX129" fmla="*/ 1707615 w 3419475"/>
                      <a:gd name="connsiteY129" fmla="*/ 791738 h 857250"/>
                      <a:gd name="connsiteX130" fmla="*/ 1682279 w 3419475"/>
                      <a:gd name="connsiteY130" fmla="*/ 801521 h 857250"/>
                      <a:gd name="connsiteX131" fmla="*/ 1679849 w 3419475"/>
                      <a:gd name="connsiteY131" fmla="*/ 799092 h 857250"/>
                      <a:gd name="connsiteX132" fmla="*/ 1678136 w 3419475"/>
                      <a:gd name="connsiteY132" fmla="*/ 799786 h 857250"/>
                      <a:gd name="connsiteX133" fmla="*/ 1672257 w 3419475"/>
                      <a:gd name="connsiteY133" fmla="*/ 800003 h 857250"/>
                      <a:gd name="connsiteX134" fmla="*/ 1669740 w 3419475"/>
                      <a:gd name="connsiteY134" fmla="*/ 798788 h 857250"/>
                      <a:gd name="connsiteX135" fmla="*/ 1667224 w 3419475"/>
                      <a:gd name="connsiteY135" fmla="*/ 795730 h 857250"/>
                      <a:gd name="connsiteX136" fmla="*/ 1664729 w 3419475"/>
                      <a:gd name="connsiteY136" fmla="*/ 793365 h 857250"/>
                      <a:gd name="connsiteX137" fmla="*/ 1661519 w 3419475"/>
                      <a:gd name="connsiteY137" fmla="*/ 790848 h 857250"/>
                      <a:gd name="connsiteX138" fmla="*/ 1659806 w 3419475"/>
                      <a:gd name="connsiteY138" fmla="*/ 789894 h 857250"/>
                      <a:gd name="connsiteX139" fmla="*/ 1656660 w 3419475"/>
                      <a:gd name="connsiteY139" fmla="*/ 787009 h 857250"/>
                      <a:gd name="connsiteX140" fmla="*/ 1648048 w 3419475"/>
                      <a:gd name="connsiteY140" fmla="*/ 777898 h 857250"/>
                      <a:gd name="connsiteX141" fmla="*/ 1643210 w 3419475"/>
                      <a:gd name="connsiteY141" fmla="*/ 772367 h 857250"/>
                      <a:gd name="connsiteX142" fmla="*/ 1638829 w 3419475"/>
                      <a:gd name="connsiteY142" fmla="*/ 767074 h 857250"/>
                      <a:gd name="connsiteX143" fmla="*/ 1629978 w 3419475"/>
                      <a:gd name="connsiteY143" fmla="*/ 755252 h 857250"/>
                      <a:gd name="connsiteX144" fmla="*/ 1626203 w 3419475"/>
                      <a:gd name="connsiteY144" fmla="*/ 749699 h 857250"/>
                      <a:gd name="connsiteX145" fmla="*/ 1619002 w 3419475"/>
                      <a:gd name="connsiteY145" fmla="*/ 737963 h 857250"/>
                      <a:gd name="connsiteX146" fmla="*/ 1616160 w 3419475"/>
                      <a:gd name="connsiteY146" fmla="*/ 732821 h 857250"/>
                      <a:gd name="connsiteX147" fmla="*/ 1611843 w 3419475"/>
                      <a:gd name="connsiteY147" fmla="*/ 724166 h 857250"/>
                      <a:gd name="connsiteX148" fmla="*/ 1605401 w 3419475"/>
                      <a:gd name="connsiteY148" fmla="*/ 709090 h 857250"/>
                      <a:gd name="connsiteX149" fmla="*/ 1602320 w 3419475"/>
                      <a:gd name="connsiteY149" fmla="*/ 703472 h 857250"/>
                      <a:gd name="connsiteX150" fmla="*/ 1600541 w 3419475"/>
                      <a:gd name="connsiteY150" fmla="*/ 700933 h 857250"/>
                      <a:gd name="connsiteX151" fmla="*/ 1597591 w 3419475"/>
                      <a:gd name="connsiteY151" fmla="*/ 697571 h 857250"/>
                      <a:gd name="connsiteX152" fmla="*/ 1593361 w 3419475"/>
                      <a:gd name="connsiteY152" fmla="*/ 693732 h 857250"/>
                      <a:gd name="connsiteX153" fmla="*/ 1587635 w 3419475"/>
                      <a:gd name="connsiteY153" fmla="*/ 689762 h 857250"/>
                      <a:gd name="connsiteX154" fmla="*/ 1582406 w 3419475"/>
                      <a:gd name="connsiteY154" fmla="*/ 686855 h 857250"/>
                      <a:gd name="connsiteX155" fmla="*/ 1581170 w 3419475"/>
                      <a:gd name="connsiteY155" fmla="*/ 684816 h 857250"/>
                      <a:gd name="connsiteX156" fmla="*/ 1577200 w 3419475"/>
                      <a:gd name="connsiteY156" fmla="*/ 682821 h 857250"/>
                      <a:gd name="connsiteX157" fmla="*/ 1573187 w 3419475"/>
                      <a:gd name="connsiteY157" fmla="*/ 681302 h 857250"/>
                      <a:gd name="connsiteX158" fmla="*/ 1566918 w 3419475"/>
                      <a:gd name="connsiteY158" fmla="*/ 679263 h 857250"/>
                      <a:gd name="connsiteX159" fmla="*/ 1561604 w 3419475"/>
                      <a:gd name="connsiteY159" fmla="*/ 677831 h 857250"/>
                      <a:gd name="connsiteX160" fmla="*/ 1556245 w 3419475"/>
                      <a:gd name="connsiteY160" fmla="*/ 676660 h 857250"/>
                      <a:gd name="connsiteX161" fmla="*/ 1547395 w 3419475"/>
                      <a:gd name="connsiteY161" fmla="*/ 675445 h 857250"/>
                      <a:gd name="connsiteX162" fmla="*/ 1539694 w 3419475"/>
                      <a:gd name="connsiteY162" fmla="*/ 674946 h 857250"/>
                      <a:gd name="connsiteX163" fmla="*/ 1533772 w 3419475"/>
                      <a:gd name="connsiteY163" fmla="*/ 674881 h 857250"/>
                      <a:gd name="connsiteX164" fmla="*/ 1528740 w 3419475"/>
                      <a:gd name="connsiteY164" fmla="*/ 675055 h 857250"/>
                      <a:gd name="connsiteX165" fmla="*/ 1522883 w 3419475"/>
                      <a:gd name="connsiteY165" fmla="*/ 675510 h 857250"/>
                      <a:gd name="connsiteX166" fmla="*/ 1514445 w 3419475"/>
                      <a:gd name="connsiteY166" fmla="*/ 676703 h 857250"/>
                      <a:gd name="connsiteX167" fmla="*/ 1507394 w 3419475"/>
                      <a:gd name="connsiteY167" fmla="*/ 678265 h 857250"/>
                      <a:gd name="connsiteX168" fmla="*/ 1495680 w 3419475"/>
                      <a:gd name="connsiteY168" fmla="*/ 681800 h 857250"/>
                      <a:gd name="connsiteX169" fmla="*/ 1482469 w 3419475"/>
                      <a:gd name="connsiteY169" fmla="*/ 687441 h 857250"/>
                      <a:gd name="connsiteX170" fmla="*/ 1472166 w 3419475"/>
                      <a:gd name="connsiteY170" fmla="*/ 691432 h 857250"/>
                      <a:gd name="connsiteX171" fmla="*/ 1464660 w 3419475"/>
                      <a:gd name="connsiteY171" fmla="*/ 693580 h 857250"/>
                      <a:gd name="connsiteX172" fmla="*/ 1459237 w 3419475"/>
                      <a:gd name="connsiteY172" fmla="*/ 694643 h 857250"/>
                      <a:gd name="connsiteX173" fmla="*/ 1455657 w 3419475"/>
                      <a:gd name="connsiteY173" fmla="*/ 695250 h 857250"/>
                      <a:gd name="connsiteX174" fmla="*/ 1450343 w 3419475"/>
                      <a:gd name="connsiteY174" fmla="*/ 695402 h 857250"/>
                      <a:gd name="connsiteX175" fmla="*/ 1441644 w 3419475"/>
                      <a:gd name="connsiteY175" fmla="*/ 695098 h 857250"/>
                      <a:gd name="connsiteX176" fmla="*/ 1417566 w 3419475"/>
                      <a:gd name="connsiteY176" fmla="*/ 696812 h 857250"/>
                      <a:gd name="connsiteX177" fmla="*/ 1401145 w 3419475"/>
                      <a:gd name="connsiteY177" fmla="*/ 699068 h 857250"/>
                      <a:gd name="connsiteX178" fmla="*/ 1394311 w 3419475"/>
                      <a:gd name="connsiteY178" fmla="*/ 699632 h 857250"/>
                      <a:gd name="connsiteX179" fmla="*/ 1010268 w 3419475"/>
                      <a:gd name="connsiteY179" fmla="*/ 699979 h 857250"/>
                      <a:gd name="connsiteX180" fmla="*/ 966471 w 3419475"/>
                      <a:gd name="connsiteY180" fmla="*/ 793278 h 857250"/>
                      <a:gd name="connsiteX181" fmla="*/ 915320 w 3419475"/>
                      <a:gd name="connsiteY181" fmla="*/ 738006 h 857250"/>
                      <a:gd name="connsiteX182" fmla="*/ 916730 w 3419475"/>
                      <a:gd name="connsiteY182" fmla="*/ 730435 h 857250"/>
                      <a:gd name="connsiteX183" fmla="*/ 917533 w 3419475"/>
                      <a:gd name="connsiteY183" fmla="*/ 727745 h 857250"/>
                      <a:gd name="connsiteX184" fmla="*/ 918379 w 3419475"/>
                      <a:gd name="connsiteY184" fmla="*/ 726358 h 857250"/>
                      <a:gd name="connsiteX185" fmla="*/ 920136 w 3419475"/>
                      <a:gd name="connsiteY185" fmla="*/ 723429 h 857250"/>
                      <a:gd name="connsiteX186" fmla="*/ 923368 w 3419475"/>
                      <a:gd name="connsiteY186" fmla="*/ 719784 h 857250"/>
                      <a:gd name="connsiteX187" fmla="*/ 928748 w 3419475"/>
                      <a:gd name="connsiteY187" fmla="*/ 715945 h 857250"/>
                      <a:gd name="connsiteX188" fmla="*/ 884842 w 3419475"/>
                      <a:gd name="connsiteY188" fmla="*/ 703971 h 857250"/>
                      <a:gd name="connsiteX189" fmla="*/ 878204 w 3419475"/>
                      <a:gd name="connsiteY189" fmla="*/ 702452 h 857250"/>
                      <a:gd name="connsiteX190" fmla="*/ 845449 w 3419475"/>
                      <a:gd name="connsiteY190" fmla="*/ 696877 h 857250"/>
                      <a:gd name="connsiteX191" fmla="*/ 802086 w 3419475"/>
                      <a:gd name="connsiteY191" fmla="*/ 691172 h 857250"/>
                      <a:gd name="connsiteX192" fmla="*/ 788072 w 3419475"/>
                      <a:gd name="connsiteY192" fmla="*/ 689870 h 857250"/>
                      <a:gd name="connsiteX193" fmla="*/ 680759 w 3419475"/>
                      <a:gd name="connsiteY193" fmla="*/ 676334 h 857250"/>
                      <a:gd name="connsiteX194" fmla="*/ 671020 w 3419475"/>
                      <a:gd name="connsiteY194" fmla="*/ 704686 h 857250"/>
                      <a:gd name="connsiteX195" fmla="*/ 647635 w 3419475"/>
                      <a:gd name="connsiteY195" fmla="*/ 698265 h 857250"/>
                      <a:gd name="connsiteX196" fmla="*/ 630173 w 3419475"/>
                      <a:gd name="connsiteY196" fmla="*/ 748592 h 857250"/>
                      <a:gd name="connsiteX197" fmla="*/ 623817 w 3419475"/>
                      <a:gd name="connsiteY197" fmla="*/ 747269 h 857250"/>
                      <a:gd name="connsiteX198" fmla="*/ 598523 w 3419475"/>
                      <a:gd name="connsiteY198" fmla="*/ 743820 h 857250"/>
                      <a:gd name="connsiteX199" fmla="*/ 599196 w 3419475"/>
                      <a:gd name="connsiteY199" fmla="*/ 741889 h 857250"/>
                      <a:gd name="connsiteX200" fmla="*/ 435201 w 3419475"/>
                      <a:gd name="connsiteY200" fmla="*/ 720652 h 857250"/>
                      <a:gd name="connsiteX201" fmla="*/ 114630 w 3419475"/>
                      <a:gd name="connsiteY201" fmla="*/ 679567 h 857250"/>
                      <a:gd name="connsiteX202" fmla="*/ 7144 w 3419475"/>
                      <a:gd name="connsiteY202" fmla="*/ 665554 h 857250"/>
                      <a:gd name="connsiteX203" fmla="*/ 8771 w 3419475"/>
                      <a:gd name="connsiteY203" fmla="*/ 661627 h 857250"/>
                      <a:gd name="connsiteX204" fmla="*/ 12242 w 3419475"/>
                      <a:gd name="connsiteY204" fmla="*/ 651020 h 857250"/>
                      <a:gd name="connsiteX205" fmla="*/ 30571 w 3419475"/>
                      <a:gd name="connsiteY205" fmla="*/ 598610 h 857250"/>
                      <a:gd name="connsiteX206" fmla="*/ 35474 w 3419475"/>
                      <a:gd name="connsiteY206" fmla="*/ 583707 h 857250"/>
                      <a:gd name="connsiteX207" fmla="*/ 37274 w 3419475"/>
                      <a:gd name="connsiteY207" fmla="*/ 580172 h 857250"/>
                      <a:gd name="connsiteX208" fmla="*/ 54303 w 3419475"/>
                      <a:gd name="connsiteY208" fmla="*/ 531060 h 857250"/>
                      <a:gd name="connsiteX209" fmla="*/ 56798 w 3419475"/>
                      <a:gd name="connsiteY209" fmla="*/ 522643 h 857250"/>
                      <a:gd name="connsiteX210" fmla="*/ 64499 w 3419475"/>
                      <a:gd name="connsiteY210" fmla="*/ 500712 h 857250"/>
                      <a:gd name="connsiteX211" fmla="*/ 87319 w 3419475"/>
                      <a:gd name="connsiteY211" fmla="*/ 433488 h 857250"/>
                      <a:gd name="connsiteX212" fmla="*/ 98274 w 3419475"/>
                      <a:gd name="connsiteY212" fmla="*/ 402164 h 857250"/>
                      <a:gd name="connsiteX213" fmla="*/ 136691 w 3419475"/>
                      <a:gd name="connsiteY213" fmla="*/ 288908 h 857250"/>
                      <a:gd name="connsiteX214" fmla="*/ 139750 w 3419475"/>
                      <a:gd name="connsiteY214" fmla="*/ 280512 h 857250"/>
                      <a:gd name="connsiteX215" fmla="*/ 141637 w 3419475"/>
                      <a:gd name="connsiteY215" fmla="*/ 276520 h 857250"/>
                      <a:gd name="connsiteX216" fmla="*/ 157190 w 3419475"/>
                      <a:gd name="connsiteY216" fmla="*/ 229969 h 857250"/>
                      <a:gd name="connsiteX217" fmla="*/ 196606 w 3419475"/>
                      <a:gd name="connsiteY217" fmla="*/ 114695 h 857250"/>
                      <a:gd name="connsiteX218" fmla="*/ 233808 w 3419475"/>
                      <a:gd name="connsiteY218" fmla="*/ 7144 h 857250"/>
                      <a:gd name="connsiteX219" fmla="*/ 472708 w 3419475"/>
                      <a:gd name="connsiteY219" fmla="*/ 38490 h 857250"/>
                      <a:gd name="connsiteX220" fmla="*/ 537438 w 3419475"/>
                      <a:gd name="connsiteY220" fmla="*/ 46668 h 857250"/>
                      <a:gd name="connsiteX221" fmla="*/ 840655 w 3419475"/>
                      <a:gd name="connsiteY221" fmla="*/ 85128 h 857250"/>
                      <a:gd name="connsiteX222" fmla="*/ 848334 w 3419475"/>
                      <a:gd name="connsiteY222" fmla="*/ 62785 h 857250"/>
                      <a:gd name="connsiteX223" fmla="*/ 955104 w 3419475"/>
                      <a:gd name="connsiteY223" fmla="*/ 76451 h 857250"/>
                      <a:gd name="connsiteX224" fmla="*/ 1193331 w 3419475"/>
                      <a:gd name="connsiteY224" fmla="*/ 107905 h 857250"/>
                      <a:gd name="connsiteX225" fmla="*/ 1593274 w 3419475"/>
                      <a:gd name="connsiteY225" fmla="*/ 159187 h 857250"/>
                      <a:gd name="connsiteX226" fmla="*/ 1697160 w 3419475"/>
                      <a:gd name="connsiteY226" fmla="*/ 172310 h 857250"/>
                      <a:gd name="connsiteX227" fmla="*/ 1768137 w 3419475"/>
                      <a:gd name="connsiteY227" fmla="*/ 181551 h 857250"/>
                      <a:gd name="connsiteX228" fmla="*/ 2079793 w 3419475"/>
                      <a:gd name="connsiteY228" fmla="*/ 221899 h 857250"/>
                      <a:gd name="connsiteX229" fmla="*/ 2118752 w 3419475"/>
                      <a:gd name="connsiteY229" fmla="*/ 225934 h 857250"/>
                      <a:gd name="connsiteX230" fmla="*/ 2153873 w 3419475"/>
                      <a:gd name="connsiteY230" fmla="*/ 230142 h 857250"/>
                      <a:gd name="connsiteX231" fmla="*/ 2172811 w 3419475"/>
                      <a:gd name="connsiteY231" fmla="*/ 232399 h 857250"/>
                      <a:gd name="connsiteX232" fmla="*/ 2193462 w 3419475"/>
                      <a:gd name="connsiteY232" fmla="*/ 235348 h 857250"/>
                      <a:gd name="connsiteX233" fmla="*/ 2240317 w 3419475"/>
                      <a:gd name="connsiteY233" fmla="*/ 242681 h 857250"/>
                      <a:gd name="connsiteX234" fmla="*/ 2264092 w 3419475"/>
                      <a:gd name="connsiteY234" fmla="*/ 246108 h 857250"/>
                      <a:gd name="connsiteX235" fmla="*/ 2286067 w 3419475"/>
                      <a:gd name="connsiteY235" fmla="*/ 249058 h 857250"/>
                      <a:gd name="connsiteX236" fmla="*/ 2340493 w 3419475"/>
                      <a:gd name="connsiteY236" fmla="*/ 256130 h 857250"/>
                      <a:gd name="connsiteX237" fmla="*/ 2534814 w 3419475"/>
                      <a:gd name="connsiteY237" fmla="*/ 280360 h 857250"/>
                      <a:gd name="connsiteX238" fmla="*/ 2558741 w 3419475"/>
                      <a:gd name="connsiteY238" fmla="*/ 283766 h 857250"/>
                      <a:gd name="connsiteX239" fmla="*/ 2594273 w 3419475"/>
                      <a:gd name="connsiteY239" fmla="*/ 288950 h 857250"/>
                      <a:gd name="connsiteX240" fmla="*/ 2628330 w 3419475"/>
                      <a:gd name="connsiteY240" fmla="*/ 294916 h 857250"/>
                      <a:gd name="connsiteX241" fmla="*/ 2653927 w 3419475"/>
                      <a:gd name="connsiteY241" fmla="*/ 299710 h 857250"/>
                      <a:gd name="connsiteX242" fmla="*/ 2668548 w 3419475"/>
                      <a:gd name="connsiteY242" fmla="*/ 302812 h 857250"/>
                      <a:gd name="connsiteX243" fmla="*/ 2768963 w 3419475"/>
                      <a:gd name="connsiteY243" fmla="*/ 319537 h 857250"/>
                      <a:gd name="connsiteX244" fmla="*/ 2761001 w 3419475"/>
                      <a:gd name="connsiteY244" fmla="*/ 326912 h 857250"/>
                      <a:gd name="connsiteX245" fmla="*/ 2872999 w 3419475"/>
                      <a:gd name="connsiteY245" fmla="*/ 357759 h 857250"/>
                      <a:gd name="connsiteX246" fmla="*/ 2932653 w 3419475"/>
                      <a:gd name="connsiteY246" fmla="*/ 379386 h 857250"/>
                      <a:gd name="connsiteX247" fmla="*/ 2938033 w 3419475"/>
                      <a:gd name="connsiteY247" fmla="*/ 381339 h 857250"/>
                      <a:gd name="connsiteX248" fmla="*/ 3007969 w 3419475"/>
                      <a:gd name="connsiteY248" fmla="*/ 412337 h 857250"/>
                      <a:gd name="connsiteX249" fmla="*/ 3092331 w 3419475"/>
                      <a:gd name="connsiteY249" fmla="*/ 461232 h 857250"/>
                      <a:gd name="connsiteX250" fmla="*/ 3147821 w 3419475"/>
                      <a:gd name="connsiteY250" fmla="*/ 500972 h 857250"/>
                      <a:gd name="connsiteX251" fmla="*/ 3346351 w 3419475"/>
                      <a:gd name="connsiteY251" fmla="*/ 644078 h 857250"/>
                      <a:gd name="connsiteX252" fmla="*/ 3414877 w 3419475"/>
                      <a:gd name="connsiteY252" fmla="*/ 694513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3419475" h="857250">
                        <a:moveTo>
                          <a:pt x="3414877" y="694513"/>
                        </a:moveTo>
                        <a:lnTo>
                          <a:pt x="3406591" y="699111"/>
                        </a:lnTo>
                        <a:lnTo>
                          <a:pt x="3213463" y="798007"/>
                        </a:lnTo>
                        <a:lnTo>
                          <a:pt x="3209905" y="799266"/>
                        </a:lnTo>
                        <a:lnTo>
                          <a:pt x="3207519" y="799808"/>
                        </a:lnTo>
                        <a:lnTo>
                          <a:pt x="3203853" y="800351"/>
                        </a:lnTo>
                        <a:lnTo>
                          <a:pt x="3200447" y="800502"/>
                        </a:lnTo>
                        <a:lnTo>
                          <a:pt x="3197779" y="800415"/>
                        </a:lnTo>
                        <a:lnTo>
                          <a:pt x="3131855" y="794515"/>
                        </a:lnTo>
                        <a:lnTo>
                          <a:pt x="3128992" y="794558"/>
                        </a:lnTo>
                        <a:lnTo>
                          <a:pt x="3125391" y="794883"/>
                        </a:lnTo>
                        <a:lnTo>
                          <a:pt x="3109404" y="797704"/>
                        </a:lnTo>
                        <a:lnTo>
                          <a:pt x="3107495" y="794472"/>
                        </a:lnTo>
                        <a:lnTo>
                          <a:pt x="3103439" y="789330"/>
                        </a:lnTo>
                        <a:lnTo>
                          <a:pt x="3103243" y="787769"/>
                        </a:lnTo>
                        <a:lnTo>
                          <a:pt x="3098731" y="783821"/>
                        </a:lnTo>
                        <a:lnTo>
                          <a:pt x="3010486" y="825470"/>
                        </a:lnTo>
                        <a:lnTo>
                          <a:pt x="3007037" y="825123"/>
                        </a:lnTo>
                        <a:lnTo>
                          <a:pt x="3003176" y="824494"/>
                        </a:lnTo>
                        <a:lnTo>
                          <a:pt x="2997298" y="823084"/>
                        </a:lnTo>
                        <a:lnTo>
                          <a:pt x="2992329" y="821566"/>
                        </a:lnTo>
                        <a:lnTo>
                          <a:pt x="2985973" y="819027"/>
                        </a:lnTo>
                        <a:lnTo>
                          <a:pt x="2985648" y="819309"/>
                        </a:lnTo>
                        <a:lnTo>
                          <a:pt x="2984954" y="819005"/>
                        </a:lnTo>
                        <a:lnTo>
                          <a:pt x="2981093" y="822172"/>
                        </a:lnTo>
                        <a:lnTo>
                          <a:pt x="2977102" y="828572"/>
                        </a:lnTo>
                        <a:lnTo>
                          <a:pt x="2976256" y="828420"/>
                        </a:lnTo>
                        <a:lnTo>
                          <a:pt x="2975605" y="829331"/>
                        </a:lnTo>
                        <a:lnTo>
                          <a:pt x="2974173" y="829678"/>
                        </a:lnTo>
                        <a:lnTo>
                          <a:pt x="2960789" y="832476"/>
                        </a:lnTo>
                        <a:lnTo>
                          <a:pt x="2945365" y="835709"/>
                        </a:lnTo>
                        <a:lnTo>
                          <a:pt x="2945539" y="835622"/>
                        </a:lnTo>
                        <a:lnTo>
                          <a:pt x="2927837" y="821869"/>
                        </a:lnTo>
                        <a:lnTo>
                          <a:pt x="2921678" y="817487"/>
                        </a:lnTo>
                        <a:lnTo>
                          <a:pt x="2911243" y="810828"/>
                        </a:lnTo>
                        <a:lnTo>
                          <a:pt x="2905451" y="807595"/>
                        </a:lnTo>
                        <a:lnTo>
                          <a:pt x="2894518" y="802107"/>
                        </a:lnTo>
                        <a:lnTo>
                          <a:pt x="2888444" y="799526"/>
                        </a:lnTo>
                        <a:lnTo>
                          <a:pt x="2874539" y="794276"/>
                        </a:lnTo>
                        <a:lnTo>
                          <a:pt x="2866643" y="791847"/>
                        </a:lnTo>
                        <a:lnTo>
                          <a:pt x="2857576" y="789439"/>
                        </a:lnTo>
                        <a:lnTo>
                          <a:pt x="2848400" y="787226"/>
                        </a:lnTo>
                        <a:lnTo>
                          <a:pt x="2839267" y="785426"/>
                        </a:lnTo>
                        <a:lnTo>
                          <a:pt x="2830634" y="783928"/>
                        </a:lnTo>
                        <a:lnTo>
                          <a:pt x="2812890" y="781803"/>
                        </a:lnTo>
                        <a:lnTo>
                          <a:pt x="2804473" y="781218"/>
                        </a:lnTo>
                        <a:lnTo>
                          <a:pt x="2796555" y="780849"/>
                        </a:lnTo>
                        <a:lnTo>
                          <a:pt x="2786750" y="780761"/>
                        </a:lnTo>
                        <a:lnTo>
                          <a:pt x="2759027" y="780805"/>
                        </a:lnTo>
                        <a:lnTo>
                          <a:pt x="2758897" y="778354"/>
                        </a:lnTo>
                        <a:lnTo>
                          <a:pt x="2744710" y="778441"/>
                        </a:lnTo>
                        <a:lnTo>
                          <a:pt x="2744776" y="778115"/>
                        </a:lnTo>
                        <a:lnTo>
                          <a:pt x="2654947" y="778679"/>
                        </a:lnTo>
                        <a:lnTo>
                          <a:pt x="2655012" y="778939"/>
                        </a:lnTo>
                        <a:lnTo>
                          <a:pt x="2648114" y="778983"/>
                        </a:lnTo>
                        <a:lnTo>
                          <a:pt x="2648114" y="778723"/>
                        </a:lnTo>
                        <a:lnTo>
                          <a:pt x="2616595" y="778918"/>
                        </a:lnTo>
                        <a:lnTo>
                          <a:pt x="2574272" y="779287"/>
                        </a:lnTo>
                        <a:lnTo>
                          <a:pt x="2574316" y="779504"/>
                        </a:lnTo>
                        <a:lnTo>
                          <a:pt x="2566550" y="779525"/>
                        </a:lnTo>
                        <a:lnTo>
                          <a:pt x="2566529" y="778159"/>
                        </a:lnTo>
                        <a:lnTo>
                          <a:pt x="2550281" y="778462"/>
                        </a:lnTo>
                        <a:lnTo>
                          <a:pt x="2540216" y="778875"/>
                        </a:lnTo>
                        <a:lnTo>
                          <a:pt x="2539348" y="778961"/>
                        </a:lnTo>
                        <a:lnTo>
                          <a:pt x="2538090" y="779612"/>
                        </a:lnTo>
                        <a:lnTo>
                          <a:pt x="2527091" y="780458"/>
                        </a:lnTo>
                        <a:lnTo>
                          <a:pt x="2525226" y="781022"/>
                        </a:lnTo>
                        <a:lnTo>
                          <a:pt x="2513708" y="782887"/>
                        </a:lnTo>
                        <a:lnTo>
                          <a:pt x="2506613" y="783886"/>
                        </a:lnTo>
                        <a:lnTo>
                          <a:pt x="2500019" y="784450"/>
                        </a:lnTo>
                        <a:lnTo>
                          <a:pt x="2490995" y="786424"/>
                        </a:lnTo>
                        <a:lnTo>
                          <a:pt x="2484032" y="788159"/>
                        </a:lnTo>
                        <a:lnTo>
                          <a:pt x="2474552" y="790936"/>
                        </a:lnTo>
                        <a:lnTo>
                          <a:pt x="2471645" y="791305"/>
                        </a:lnTo>
                        <a:lnTo>
                          <a:pt x="2468760" y="792042"/>
                        </a:lnTo>
                        <a:lnTo>
                          <a:pt x="2461407" y="794645"/>
                        </a:lnTo>
                        <a:lnTo>
                          <a:pt x="2454682" y="797226"/>
                        </a:lnTo>
                        <a:lnTo>
                          <a:pt x="2443663" y="801998"/>
                        </a:lnTo>
                        <a:lnTo>
                          <a:pt x="2434486" y="806598"/>
                        </a:lnTo>
                        <a:lnTo>
                          <a:pt x="2451624" y="793213"/>
                        </a:lnTo>
                        <a:lnTo>
                          <a:pt x="2458304" y="787660"/>
                        </a:lnTo>
                        <a:lnTo>
                          <a:pt x="2427458" y="777616"/>
                        </a:lnTo>
                        <a:lnTo>
                          <a:pt x="2409844" y="772063"/>
                        </a:lnTo>
                        <a:lnTo>
                          <a:pt x="2408997" y="768180"/>
                        </a:lnTo>
                        <a:lnTo>
                          <a:pt x="2395201" y="764016"/>
                        </a:lnTo>
                        <a:lnTo>
                          <a:pt x="2374333" y="780089"/>
                        </a:lnTo>
                        <a:lnTo>
                          <a:pt x="2361751" y="779894"/>
                        </a:lnTo>
                        <a:lnTo>
                          <a:pt x="2336285" y="780024"/>
                        </a:lnTo>
                        <a:lnTo>
                          <a:pt x="2328866" y="780068"/>
                        </a:lnTo>
                        <a:lnTo>
                          <a:pt x="2327760" y="788810"/>
                        </a:lnTo>
                        <a:lnTo>
                          <a:pt x="2325959" y="815860"/>
                        </a:lnTo>
                        <a:lnTo>
                          <a:pt x="2325243" y="832607"/>
                        </a:lnTo>
                        <a:lnTo>
                          <a:pt x="2324158" y="838269"/>
                        </a:lnTo>
                        <a:lnTo>
                          <a:pt x="2324180" y="847532"/>
                        </a:lnTo>
                        <a:lnTo>
                          <a:pt x="2323052" y="850417"/>
                        </a:lnTo>
                        <a:lnTo>
                          <a:pt x="2321317" y="851869"/>
                        </a:lnTo>
                        <a:lnTo>
                          <a:pt x="2309928" y="853713"/>
                        </a:lnTo>
                        <a:lnTo>
                          <a:pt x="2296458" y="855276"/>
                        </a:lnTo>
                        <a:lnTo>
                          <a:pt x="2282423" y="856208"/>
                        </a:lnTo>
                        <a:lnTo>
                          <a:pt x="2268496" y="856534"/>
                        </a:lnTo>
                        <a:lnTo>
                          <a:pt x="1959834" y="856838"/>
                        </a:lnTo>
                        <a:lnTo>
                          <a:pt x="1931352" y="856794"/>
                        </a:lnTo>
                        <a:lnTo>
                          <a:pt x="1903325" y="856469"/>
                        </a:lnTo>
                        <a:lnTo>
                          <a:pt x="1891828" y="854820"/>
                        </a:lnTo>
                        <a:lnTo>
                          <a:pt x="1885754" y="853605"/>
                        </a:lnTo>
                        <a:lnTo>
                          <a:pt x="1880678" y="852477"/>
                        </a:lnTo>
                        <a:lnTo>
                          <a:pt x="1870070" y="849700"/>
                        </a:lnTo>
                        <a:lnTo>
                          <a:pt x="1863693" y="847727"/>
                        </a:lnTo>
                        <a:lnTo>
                          <a:pt x="1849745" y="842845"/>
                        </a:lnTo>
                        <a:lnTo>
                          <a:pt x="1835428" y="837336"/>
                        </a:lnTo>
                        <a:lnTo>
                          <a:pt x="1822607" y="831913"/>
                        </a:lnTo>
                        <a:lnTo>
                          <a:pt x="1814885" y="828246"/>
                        </a:lnTo>
                        <a:lnTo>
                          <a:pt x="1807444" y="824429"/>
                        </a:lnTo>
                        <a:lnTo>
                          <a:pt x="1787465" y="813019"/>
                        </a:lnTo>
                        <a:lnTo>
                          <a:pt x="1782216" y="809656"/>
                        </a:lnTo>
                        <a:lnTo>
                          <a:pt x="1769938" y="801023"/>
                        </a:lnTo>
                        <a:lnTo>
                          <a:pt x="1766945" y="798658"/>
                        </a:lnTo>
                        <a:lnTo>
                          <a:pt x="1761912" y="793821"/>
                        </a:lnTo>
                        <a:lnTo>
                          <a:pt x="1760935" y="792736"/>
                        </a:lnTo>
                        <a:lnTo>
                          <a:pt x="1758940" y="793560"/>
                        </a:lnTo>
                        <a:lnTo>
                          <a:pt x="1754428" y="789525"/>
                        </a:lnTo>
                        <a:lnTo>
                          <a:pt x="1752453" y="787161"/>
                        </a:lnTo>
                        <a:lnTo>
                          <a:pt x="1750393" y="785122"/>
                        </a:lnTo>
                        <a:lnTo>
                          <a:pt x="1747096" y="782345"/>
                        </a:lnTo>
                        <a:lnTo>
                          <a:pt x="1742692" y="784254"/>
                        </a:lnTo>
                        <a:lnTo>
                          <a:pt x="1737854" y="780046"/>
                        </a:lnTo>
                        <a:lnTo>
                          <a:pt x="1723213" y="785577"/>
                        </a:lnTo>
                        <a:lnTo>
                          <a:pt x="1717680" y="787270"/>
                        </a:lnTo>
                        <a:lnTo>
                          <a:pt x="1712041" y="789439"/>
                        </a:lnTo>
                        <a:lnTo>
                          <a:pt x="1707615" y="791738"/>
                        </a:lnTo>
                        <a:lnTo>
                          <a:pt x="1682279" y="801521"/>
                        </a:lnTo>
                        <a:lnTo>
                          <a:pt x="1679849" y="799092"/>
                        </a:lnTo>
                        <a:lnTo>
                          <a:pt x="1678136" y="799786"/>
                        </a:lnTo>
                        <a:lnTo>
                          <a:pt x="1672257" y="800003"/>
                        </a:lnTo>
                        <a:lnTo>
                          <a:pt x="1669740" y="798788"/>
                        </a:lnTo>
                        <a:lnTo>
                          <a:pt x="1667224" y="795730"/>
                        </a:lnTo>
                        <a:lnTo>
                          <a:pt x="1664729" y="793365"/>
                        </a:lnTo>
                        <a:lnTo>
                          <a:pt x="1661519" y="790848"/>
                        </a:lnTo>
                        <a:lnTo>
                          <a:pt x="1659806" y="789894"/>
                        </a:lnTo>
                        <a:lnTo>
                          <a:pt x="1656660" y="787009"/>
                        </a:lnTo>
                        <a:lnTo>
                          <a:pt x="1648048" y="777898"/>
                        </a:lnTo>
                        <a:lnTo>
                          <a:pt x="1643210" y="772367"/>
                        </a:lnTo>
                        <a:lnTo>
                          <a:pt x="1638829" y="767074"/>
                        </a:lnTo>
                        <a:lnTo>
                          <a:pt x="1629978" y="755252"/>
                        </a:lnTo>
                        <a:lnTo>
                          <a:pt x="1626203" y="749699"/>
                        </a:lnTo>
                        <a:lnTo>
                          <a:pt x="1619002" y="737963"/>
                        </a:lnTo>
                        <a:lnTo>
                          <a:pt x="1616160" y="732821"/>
                        </a:lnTo>
                        <a:lnTo>
                          <a:pt x="1611843" y="724166"/>
                        </a:lnTo>
                        <a:lnTo>
                          <a:pt x="1605401" y="709090"/>
                        </a:lnTo>
                        <a:lnTo>
                          <a:pt x="1602320" y="703472"/>
                        </a:lnTo>
                        <a:lnTo>
                          <a:pt x="1600541" y="700933"/>
                        </a:lnTo>
                        <a:lnTo>
                          <a:pt x="1597591" y="697571"/>
                        </a:lnTo>
                        <a:lnTo>
                          <a:pt x="1593361" y="693732"/>
                        </a:lnTo>
                        <a:lnTo>
                          <a:pt x="1587635" y="689762"/>
                        </a:lnTo>
                        <a:lnTo>
                          <a:pt x="1582406" y="686855"/>
                        </a:lnTo>
                        <a:lnTo>
                          <a:pt x="1581170" y="684816"/>
                        </a:lnTo>
                        <a:lnTo>
                          <a:pt x="1577200" y="682821"/>
                        </a:lnTo>
                        <a:lnTo>
                          <a:pt x="1573187" y="681302"/>
                        </a:lnTo>
                        <a:lnTo>
                          <a:pt x="1566918" y="679263"/>
                        </a:lnTo>
                        <a:lnTo>
                          <a:pt x="1561604" y="677831"/>
                        </a:lnTo>
                        <a:lnTo>
                          <a:pt x="1556245" y="676660"/>
                        </a:lnTo>
                        <a:lnTo>
                          <a:pt x="1547395" y="675445"/>
                        </a:lnTo>
                        <a:lnTo>
                          <a:pt x="1539694" y="674946"/>
                        </a:lnTo>
                        <a:lnTo>
                          <a:pt x="1533772" y="674881"/>
                        </a:lnTo>
                        <a:lnTo>
                          <a:pt x="1528740" y="675055"/>
                        </a:lnTo>
                        <a:lnTo>
                          <a:pt x="1522883" y="675510"/>
                        </a:lnTo>
                        <a:lnTo>
                          <a:pt x="1514445" y="676703"/>
                        </a:lnTo>
                        <a:lnTo>
                          <a:pt x="1507394" y="678265"/>
                        </a:lnTo>
                        <a:lnTo>
                          <a:pt x="1495680" y="681800"/>
                        </a:lnTo>
                        <a:lnTo>
                          <a:pt x="1482469" y="687441"/>
                        </a:lnTo>
                        <a:lnTo>
                          <a:pt x="1472166" y="691432"/>
                        </a:lnTo>
                        <a:lnTo>
                          <a:pt x="1464660" y="693580"/>
                        </a:lnTo>
                        <a:lnTo>
                          <a:pt x="1459237" y="694643"/>
                        </a:lnTo>
                        <a:lnTo>
                          <a:pt x="1455657" y="695250"/>
                        </a:lnTo>
                        <a:lnTo>
                          <a:pt x="1450343" y="695402"/>
                        </a:lnTo>
                        <a:lnTo>
                          <a:pt x="1441644" y="695098"/>
                        </a:lnTo>
                        <a:lnTo>
                          <a:pt x="1417566" y="696812"/>
                        </a:lnTo>
                        <a:lnTo>
                          <a:pt x="1401145" y="699068"/>
                        </a:lnTo>
                        <a:lnTo>
                          <a:pt x="1394311" y="699632"/>
                        </a:lnTo>
                        <a:lnTo>
                          <a:pt x="1010268" y="699979"/>
                        </a:lnTo>
                        <a:lnTo>
                          <a:pt x="966471" y="793278"/>
                        </a:lnTo>
                        <a:lnTo>
                          <a:pt x="915320" y="738006"/>
                        </a:lnTo>
                        <a:lnTo>
                          <a:pt x="916730" y="730435"/>
                        </a:lnTo>
                        <a:lnTo>
                          <a:pt x="917533" y="727745"/>
                        </a:lnTo>
                        <a:lnTo>
                          <a:pt x="918379" y="726358"/>
                        </a:lnTo>
                        <a:lnTo>
                          <a:pt x="920136" y="723429"/>
                        </a:lnTo>
                        <a:lnTo>
                          <a:pt x="923368" y="719784"/>
                        </a:lnTo>
                        <a:lnTo>
                          <a:pt x="928748" y="715945"/>
                        </a:lnTo>
                        <a:lnTo>
                          <a:pt x="884842" y="703971"/>
                        </a:lnTo>
                        <a:lnTo>
                          <a:pt x="878204" y="702452"/>
                        </a:lnTo>
                        <a:lnTo>
                          <a:pt x="845449" y="696877"/>
                        </a:lnTo>
                        <a:lnTo>
                          <a:pt x="802086" y="691172"/>
                        </a:lnTo>
                        <a:lnTo>
                          <a:pt x="788072" y="689870"/>
                        </a:lnTo>
                        <a:lnTo>
                          <a:pt x="680759" y="676334"/>
                        </a:lnTo>
                        <a:lnTo>
                          <a:pt x="671020" y="704686"/>
                        </a:lnTo>
                        <a:lnTo>
                          <a:pt x="647635" y="698265"/>
                        </a:lnTo>
                        <a:lnTo>
                          <a:pt x="630173" y="748592"/>
                        </a:lnTo>
                        <a:lnTo>
                          <a:pt x="623817" y="747269"/>
                        </a:lnTo>
                        <a:lnTo>
                          <a:pt x="598523" y="743820"/>
                        </a:lnTo>
                        <a:lnTo>
                          <a:pt x="599196" y="741889"/>
                        </a:lnTo>
                        <a:lnTo>
                          <a:pt x="435201" y="720652"/>
                        </a:lnTo>
                        <a:lnTo>
                          <a:pt x="114630" y="679567"/>
                        </a:lnTo>
                        <a:lnTo>
                          <a:pt x="7144" y="665554"/>
                        </a:lnTo>
                        <a:lnTo>
                          <a:pt x="8771" y="661627"/>
                        </a:lnTo>
                        <a:lnTo>
                          <a:pt x="12242" y="651020"/>
                        </a:lnTo>
                        <a:lnTo>
                          <a:pt x="30571" y="598610"/>
                        </a:lnTo>
                        <a:lnTo>
                          <a:pt x="35474" y="583707"/>
                        </a:lnTo>
                        <a:lnTo>
                          <a:pt x="37274" y="580172"/>
                        </a:lnTo>
                        <a:lnTo>
                          <a:pt x="54303" y="531060"/>
                        </a:lnTo>
                        <a:lnTo>
                          <a:pt x="56798" y="522643"/>
                        </a:lnTo>
                        <a:lnTo>
                          <a:pt x="64499" y="500712"/>
                        </a:lnTo>
                        <a:lnTo>
                          <a:pt x="87319" y="433488"/>
                        </a:lnTo>
                        <a:lnTo>
                          <a:pt x="98274" y="402164"/>
                        </a:lnTo>
                        <a:lnTo>
                          <a:pt x="136691" y="288908"/>
                        </a:lnTo>
                        <a:lnTo>
                          <a:pt x="139750" y="280512"/>
                        </a:lnTo>
                        <a:lnTo>
                          <a:pt x="141637" y="276520"/>
                        </a:lnTo>
                        <a:lnTo>
                          <a:pt x="157190" y="229969"/>
                        </a:lnTo>
                        <a:lnTo>
                          <a:pt x="196606" y="114695"/>
                        </a:lnTo>
                        <a:lnTo>
                          <a:pt x="233808" y="7144"/>
                        </a:lnTo>
                        <a:lnTo>
                          <a:pt x="472708" y="38490"/>
                        </a:lnTo>
                        <a:lnTo>
                          <a:pt x="537438" y="46668"/>
                        </a:lnTo>
                        <a:lnTo>
                          <a:pt x="840655" y="85128"/>
                        </a:lnTo>
                        <a:lnTo>
                          <a:pt x="848334" y="62785"/>
                        </a:lnTo>
                        <a:lnTo>
                          <a:pt x="955104" y="76451"/>
                        </a:lnTo>
                        <a:lnTo>
                          <a:pt x="1193331" y="107905"/>
                        </a:lnTo>
                        <a:lnTo>
                          <a:pt x="1593274" y="159187"/>
                        </a:lnTo>
                        <a:lnTo>
                          <a:pt x="1697160" y="172310"/>
                        </a:lnTo>
                        <a:lnTo>
                          <a:pt x="1768137" y="181551"/>
                        </a:lnTo>
                        <a:lnTo>
                          <a:pt x="2079793" y="221899"/>
                        </a:lnTo>
                        <a:lnTo>
                          <a:pt x="2118752" y="225934"/>
                        </a:lnTo>
                        <a:lnTo>
                          <a:pt x="2153873" y="230142"/>
                        </a:lnTo>
                        <a:lnTo>
                          <a:pt x="2172811" y="232399"/>
                        </a:lnTo>
                        <a:lnTo>
                          <a:pt x="2193462" y="235348"/>
                        </a:lnTo>
                        <a:lnTo>
                          <a:pt x="2240317" y="242681"/>
                        </a:lnTo>
                        <a:lnTo>
                          <a:pt x="2264092" y="246108"/>
                        </a:lnTo>
                        <a:lnTo>
                          <a:pt x="2286067" y="249058"/>
                        </a:lnTo>
                        <a:lnTo>
                          <a:pt x="2340493" y="256130"/>
                        </a:lnTo>
                        <a:lnTo>
                          <a:pt x="2534814" y="280360"/>
                        </a:lnTo>
                        <a:lnTo>
                          <a:pt x="2558741" y="283766"/>
                        </a:lnTo>
                        <a:lnTo>
                          <a:pt x="2594273" y="288950"/>
                        </a:lnTo>
                        <a:lnTo>
                          <a:pt x="2628330" y="294916"/>
                        </a:lnTo>
                        <a:lnTo>
                          <a:pt x="2653927" y="299710"/>
                        </a:lnTo>
                        <a:lnTo>
                          <a:pt x="2668548" y="302812"/>
                        </a:lnTo>
                        <a:lnTo>
                          <a:pt x="2768963" y="319537"/>
                        </a:lnTo>
                        <a:lnTo>
                          <a:pt x="2761001" y="326912"/>
                        </a:lnTo>
                        <a:lnTo>
                          <a:pt x="2872999" y="357759"/>
                        </a:lnTo>
                        <a:lnTo>
                          <a:pt x="2932653" y="379386"/>
                        </a:lnTo>
                        <a:lnTo>
                          <a:pt x="2938033" y="381339"/>
                        </a:lnTo>
                        <a:lnTo>
                          <a:pt x="3007969" y="412337"/>
                        </a:lnTo>
                        <a:lnTo>
                          <a:pt x="3092331" y="461232"/>
                        </a:lnTo>
                        <a:lnTo>
                          <a:pt x="3147821" y="500972"/>
                        </a:lnTo>
                        <a:lnTo>
                          <a:pt x="3346351" y="644078"/>
                        </a:lnTo>
                        <a:lnTo>
                          <a:pt x="3414877" y="694513"/>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latin typeface="+mn-lt"/>
                      <a:cs typeface="+mn-cs"/>
                    </a:endParaRPr>
                  </a:p>
                </p:txBody>
              </p:sp>
              <p:sp>
                <p:nvSpPr>
                  <p:cNvPr id="54" name="Freeform: Shape 53">
                    <a:extLst>
                      <a:ext uri="{FF2B5EF4-FFF2-40B4-BE49-F238E27FC236}">
                        <a16:creationId xmlns:a16="http://schemas.microsoft.com/office/drawing/2014/main" id="{3CE5A7DF-9F9D-4389-B98B-A3A40242660E}"/>
                      </a:ext>
                    </a:extLst>
                  </p:cNvPr>
                  <p:cNvSpPr/>
                  <p:nvPr/>
                </p:nvSpPr>
                <p:spPr>
                  <a:xfrm>
                    <a:off x="5478542" y="4026044"/>
                    <a:ext cx="370637" cy="401961"/>
                  </a:xfrm>
                  <a:custGeom>
                    <a:avLst/>
                    <a:gdLst>
                      <a:gd name="connsiteX0" fmla="*/ 1303181 w 1304925"/>
                      <a:gd name="connsiteY0" fmla="*/ 238950 h 942975"/>
                      <a:gd name="connsiteX1" fmla="*/ 1244243 w 1304925"/>
                      <a:gd name="connsiteY1" fmla="*/ 242594 h 942975"/>
                      <a:gd name="connsiteX2" fmla="*/ 1243028 w 1304925"/>
                      <a:gd name="connsiteY2" fmla="*/ 246629 h 942975"/>
                      <a:gd name="connsiteX3" fmla="*/ 1242812 w 1304925"/>
                      <a:gd name="connsiteY3" fmla="*/ 249123 h 942975"/>
                      <a:gd name="connsiteX4" fmla="*/ 1242963 w 1304925"/>
                      <a:gd name="connsiteY4" fmla="*/ 249448 h 942975"/>
                      <a:gd name="connsiteX5" fmla="*/ 1240902 w 1304925"/>
                      <a:gd name="connsiteY5" fmla="*/ 249817 h 942975"/>
                      <a:gd name="connsiteX6" fmla="*/ 1237887 w 1304925"/>
                      <a:gd name="connsiteY6" fmla="*/ 242963 h 942975"/>
                      <a:gd name="connsiteX7" fmla="*/ 1214915 w 1304925"/>
                      <a:gd name="connsiteY7" fmla="*/ 244394 h 942975"/>
                      <a:gd name="connsiteX8" fmla="*/ 1105628 w 1304925"/>
                      <a:gd name="connsiteY8" fmla="*/ 251141 h 942975"/>
                      <a:gd name="connsiteX9" fmla="*/ 1100725 w 1304925"/>
                      <a:gd name="connsiteY9" fmla="*/ 250316 h 942975"/>
                      <a:gd name="connsiteX10" fmla="*/ 1073241 w 1304925"/>
                      <a:gd name="connsiteY10" fmla="*/ 245717 h 942975"/>
                      <a:gd name="connsiteX11" fmla="*/ 1062807 w 1304925"/>
                      <a:gd name="connsiteY11" fmla="*/ 268213 h 942975"/>
                      <a:gd name="connsiteX12" fmla="*/ 1046234 w 1304925"/>
                      <a:gd name="connsiteY12" fmla="*/ 292053 h 942975"/>
                      <a:gd name="connsiteX13" fmla="*/ 1041896 w 1304925"/>
                      <a:gd name="connsiteY13" fmla="*/ 297280 h 942975"/>
                      <a:gd name="connsiteX14" fmla="*/ 1032199 w 1304925"/>
                      <a:gd name="connsiteY14" fmla="*/ 309016 h 942975"/>
                      <a:gd name="connsiteX15" fmla="*/ 1026971 w 1304925"/>
                      <a:gd name="connsiteY15" fmla="*/ 315003 h 942975"/>
                      <a:gd name="connsiteX16" fmla="*/ 1015691 w 1304925"/>
                      <a:gd name="connsiteY16" fmla="*/ 331273 h 942975"/>
                      <a:gd name="connsiteX17" fmla="*/ 1012112 w 1304925"/>
                      <a:gd name="connsiteY17" fmla="*/ 336826 h 942975"/>
                      <a:gd name="connsiteX18" fmla="*/ 992480 w 1304925"/>
                      <a:gd name="connsiteY18" fmla="*/ 368736 h 942975"/>
                      <a:gd name="connsiteX19" fmla="*/ 990094 w 1304925"/>
                      <a:gd name="connsiteY19" fmla="*/ 371838 h 942975"/>
                      <a:gd name="connsiteX20" fmla="*/ 986515 w 1304925"/>
                      <a:gd name="connsiteY20" fmla="*/ 375178 h 942975"/>
                      <a:gd name="connsiteX21" fmla="*/ 983196 w 1304925"/>
                      <a:gd name="connsiteY21" fmla="*/ 377478 h 942975"/>
                      <a:gd name="connsiteX22" fmla="*/ 978163 w 1304925"/>
                      <a:gd name="connsiteY22" fmla="*/ 380102 h 942975"/>
                      <a:gd name="connsiteX23" fmla="*/ 971829 w 1304925"/>
                      <a:gd name="connsiteY23" fmla="*/ 382618 h 942975"/>
                      <a:gd name="connsiteX24" fmla="*/ 969552 w 1304925"/>
                      <a:gd name="connsiteY24" fmla="*/ 384116 h 942975"/>
                      <a:gd name="connsiteX25" fmla="*/ 968141 w 1304925"/>
                      <a:gd name="connsiteY25" fmla="*/ 385590 h 942975"/>
                      <a:gd name="connsiteX26" fmla="*/ 967230 w 1304925"/>
                      <a:gd name="connsiteY26" fmla="*/ 387044 h 942975"/>
                      <a:gd name="connsiteX27" fmla="*/ 966796 w 1304925"/>
                      <a:gd name="connsiteY27" fmla="*/ 388237 h 942975"/>
                      <a:gd name="connsiteX28" fmla="*/ 966687 w 1304925"/>
                      <a:gd name="connsiteY28" fmla="*/ 389755 h 942975"/>
                      <a:gd name="connsiteX29" fmla="*/ 967057 w 1304925"/>
                      <a:gd name="connsiteY29" fmla="*/ 391426 h 942975"/>
                      <a:gd name="connsiteX30" fmla="*/ 967968 w 1304925"/>
                      <a:gd name="connsiteY30" fmla="*/ 393053 h 942975"/>
                      <a:gd name="connsiteX31" fmla="*/ 972805 w 1304925"/>
                      <a:gd name="connsiteY31" fmla="*/ 398411 h 942975"/>
                      <a:gd name="connsiteX32" fmla="*/ 973196 w 1304925"/>
                      <a:gd name="connsiteY32" fmla="*/ 399669 h 942975"/>
                      <a:gd name="connsiteX33" fmla="*/ 972957 w 1304925"/>
                      <a:gd name="connsiteY33" fmla="*/ 401036 h 942975"/>
                      <a:gd name="connsiteX34" fmla="*/ 936188 w 1304925"/>
                      <a:gd name="connsiteY34" fmla="*/ 459887 h 942975"/>
                      <a:gd name="connsiteX35" fmla="*/ 934757 w 1304925"/>
                      <a:gd name="connsiteY35" fmla="*/ 462208 h 942975"/>
                      <a:gd name="connsiteX36" fmla="*/ 938943 w 1304925"/>
                      <a:gd name="connsiteY36" fmla="*/ 463249 h 942975"/>
                      <a:gd name="connsiteX37" fmla="*/ 934778 w 1304925"/>
                      <a:gd name="connsiteY37" fmla="*/ 469931 h 942975"/>
                      <a:gd name="connsiteX38" fmla="*/ 934280 w 1304925"/>
                      <a:gd name="connsiteY38" fmla="*/ 469823 h 942975"/>
                      <a:gd name="connsiteX39" fmla="*/ 930613 w 1304925"/>
                      <a:gd name="connsiteY39" fmla="*/ 475506 h 942975"/>
                      <a:gd name="connsiteX40" fmla="*/ 932869 w 1304925"/>
                      <a:gd name="connsiteY40" fmla="*/ 476048 h 942975"/>
                      <a:gd name="connsiteX41" fmla="*/ 902044 w 1304925"/>
                      <a:gd name="connsiteY41" fmla="*/ 525355 h 942975"/>
                      <a:gd name="connsiteX42" fmla="*/ 889094 w 1304925"/>
                      <a:gd name="connsiteY42" fmla="*/ 545962 h 942975"/>
                      <a:gd name="connsiteX43" fmla="*/ 886751 w 1304925"/>
                      <a:gd name="connsiteY43" fmla="*/ 550778 h 942975"/>
                      <a:gd name="connsiteX44" fmla="*/ 886014 w 1304925"/>
                      <a:gd name="connsiteY44" fmla="*/ 553663 h 942975"/>
                      <a:gd name="connsiteX45" fmla="*/ 879267 w 1304925"/>
                      <a:gd name="connsiteY45" fmla="*/ 552926 h 942975"/>
                      <a:gd name="connsiteX46" fmla="*/ 878660 w 1304925"/>
                      <a:gd name="connsiteY46" fmla="*/ 555985 h 942975"/>
                      <a:gd name="connsiteX47" fmla="*/ 878183 w 1304925"/>
                      <a:gd name="connsiteY47" fmla="*/ 558870 h 942975"/>
                      <a:gd name="connsiteX48" fmla="*/ 877793 w 1304925"/>
                      <a:gd name="connsiteY48" fmla="*/ 563946 h 942975"/>
                      <a:gd name="connsiteX49" fmla="*/ 878053 w 1304925"/>
                      <a:gd name="connsiteY49" fmla="*/ 570453 h 942975"/>
                      <a:gd name="connsiteX50" fmla="*/ 877511 w 1304925"/>
                      <a:gd name="connsiteY50" fmla="*/ 572645 h 942975"/>
                      <a:gd name="connsiteX51" fmla="*/ 876448 w 1304925"/>
                      <a:gd name="connsiteY51" fmla="*/ 575074 h 942975"/>
                      <a:gd name="connsiteX52" fmla="*/ 873909 w 1304925"/>
                      <a:gd name="connsiteY52" fmla="*/ 578567 h 942975"/>
                      <a:gd name="connsiteX53" fmla="*/ 872629 w 1304925"/>
                      <a:gd name="connsiteY53" fmla="*/ 579912 h 942975"/>
                      <a:gd name="connsiteX54" fmla="*/ 871175 w 1304925"/>
                      <a:gd name="connsiteY54" fmla="*/ 580996 h 942975"/>
                      <a:gd name="connsiteX55" fmla="*/ 863822 w 1304925"/>
                      <a:gd name="connsiteY55" fmla="*/ 585269 h 942975"/>
                      <a:gd name="connsiteX56" fmla="*/ 862781 w 1304925"/>
                      <a:gd name="connsiteY56" fmla="*/ 586072 h 942975"/>
                      <a:gd name="connsiteX57" fmla="*/ 860482 w 1304925"/>
                      <a:gd name="connsiteY57" fmla="*/ 588133 h 942975"/>
                      <a:gd name="connsiteX58" fmla="*/ 857879 w 1304925"/>
                      <a:gd name="connsiteY58" fmla="*/ 591279 h 942975"/>
                      <a:gd name="connsiteX59" fmla="*/ 856295 w 1304925"/>
                      <a:gd name="connsiteY59" fmla="*/ 594011 h 942975"/>
                      <a:gd name="connsiteX60" fmla="*/ 855362 w 1304925"/>
                      <a:gd name="connsiteY60" fmla="*/ 596679 h 942975"/>
                      <a:gd name="connsiteX61" fmla="*/ 855622 w 1304925"/>
                      <a:gd name="connsiteY61" fmla="*/ 599739 h 942975"/>
                      <a:gd name="connsiteX62" fmla="*/ 856751 w 1304925"/>
                      <a:gd name="connsiteY62" fmla="*/ 603448 h 942975"/>
                      <a:gd name="connsiteX63" fmla="*/ 868486 w 1304925"/>
                      <a:gd name="connsiteY63" fmla="*/ 629609 h 942975"/>
                      <a:gd name="connsiteX64" fmla="*/ 882130 w 1304925"/>
                      <a:gd name="connsiteY64" fmla="*/ 652234 h 942975"/>
                      <a:gd name="connsiteX65" fmla="*/ 884994 w 1304925"/>
                      <a:gd name="connsiteY65" fmla="*/ 656095 h 942975"/>
                      <a:gd name="connsiteX66" fmla="*/ 889029 w 1304925"/>
                      <a:gd name="connsiteY66" fmla="*/ 660607 h 942975"/>
                      <a:gd name="connsiteX67" fmla="*/ 895754 w 1304925"/>
                      <a:gd name="connsiteY67" fmla="*/ 666833 h 942975"/>
                      <a:gd name="connsiteX68" fmla="*/ 903542 w 1304925"/>
                      <a:gd name="connsiteY68" fmla="*/ 672755 h 942975"/>
                      <a:gd name="connsiteX69" fmla="*/ 904430 w 1304925"/>
                      <a:gd name="connsiteY69" fmla="*/ 673666 h 942975"/>
                      <a:gd name="connsiteX70" fmla="*/ 906729 w 1304925"/>
                      <a:gd name="connsiteY70" fmla="*/ 676899 h 942975"/>
                      <a:gd name="connsiteX71" fmla="*/ 912175 w 1304925"/>
                      <a:gd name="connsiteY71" fmla="*/ 684491 h 942975"/>
                      <a:gd name="connsiteX72" fmla="*/ 915211 w 1304925"/>
                      <a:gd name="connsiteY72" fmla="*/ 690022 h 942975"/>
                      <a:gd name="connsiteX73" fmla="*/ 916643 w 1304925"/>
                      <a:gd name="connsiteY73" fmla="*/ 694252 h 942975"/>
                      <a:gd name="connsiteX74" fmla="*/ 917837 w 1304925"/>
                      <a:gd name="connsiteY74" fmla="*/ 702973 h 942975"/>
                      <a:gd name="connsiteX75" fmla="*/ 918769 w 1304925"/>
                      <a:gd name="connsiteY75" fmla="*/ 706595 h 942975"/>
                      <a:gd name="connsiteX76" fmla="*/ 920245 w 1304925"/>
                      <a:gd name="connsiteY76" fmla="*/ 710500 h 942975"/>
                      <a:gd name="connsiteX77" fmla="*/ 922131 w 1304925"/>
                      <a:gd name="connsiteY77" fmla="*/ 714448 h 942975"/>
                      <a:gd name="connsiteX78" fmla="*/ 925125 w 1304925"/>
                      <a:gd name="connsiteY78" fmla="*/ 717203 h 942975"/>
                      <a:gd name="connsiteX79" fmla="*/ 930179 w 1304925"/>
                      <a:gd name="connsiteY79" fmla="*/ 721064 h 942975"/>
                      <a:gd name="connsiteX80" fmla="*/ 935559 w 1304925"/>
                      <a:gd name="connsiteY80" fmla="*/ 724470 h 942975"/>
                      <a:gd name="connsiteX81" fmla="*/ 941199 w 1304925"/>
                      <a:gd name="connsiteY81" fmla="*/ 727442 h 942975"/>
                      <a:gd name="connsiteX82" fmla="*/ 944171 w 1304925"/>
                      <a:gd name="connsiteY82" fmla="*/ 729438 h 942975"/>
                      <a:gd name="connsiteX83" fmla="*/ 947794 w 1304925"/>
                      <a:gd name="connsiteY83" fmla="*/ 732344 h 942975"/>
                      <a:gd name="connsiteX84" fmla="*/ 951395 w 1304925"/>
                      <a:gd name="connsiteY84" fmla="*/ 735967 h 942975"/>
                      <a:gd name="connsiteX85" fmla="*/ 955799 w 1304925"/>
                      <a:gd name="connsiteY85" fmla="*/ 741997 h 942975"/>
                      <a:gd name="connsiteX86" fmla="*/ 957816 w 1304925"/>
                      <a:gd name="connsiteY86" fmla="*/ 745924 h 942975"/>
                      <a:gd name="connsiteX87" fmla="*/ 959009 w 1304925"/>
                      <a:gd name="connsiteY87" fmla="*/ 750132 h 942975"/>
                      <a:gd name="connsiteX88" fmla="*/ 959312 w 1304925"/>
                      <a:gd name="connsiteY88" fmla="*/ 753148 h 942975"/>
                      <a:gd name="connsiteX89" fmla="*/ 959161 w 1304925"/>
                      <a:gd name="connsiteY89" fmla="*/ 754514 h 942975"/>
                      <a:gd name="connsiteX90" fmla="*/ 959009 w 1304925"/>
                      <a:gd name="connsiteY90" fmla="*/ 758332 h 942975"/>
                      <a:gd name="connsiteX91" fmla="*/ 959270 w 1304925"/>
                      <a:gd name="connsiteY91" fmla="*/ 760870 h 942975"/>
                      <a:gd name="connsiteX92" fmla="*/ 959811 w 1304925"/>
                      <a:gd name="connsiteY92" fmla="*/ 763408 h 942975"/>
                      <a:gd name="connsiteX93" fmla="*/ 961156 w 1304925"/>
                      <a:gd name="connsiteY93" fmla="*/ 767118 h 942975"/>
                      <a:gd name="connsiteX94" fmla="*/ 962067 w 1304925"/>
                      <a:gd name="connsiteY94" fmla="*/ 768961 h 942975"/>
                      <a:gd name="connsiteX95" fmla="*/ 963391 w 1304925"/>
                      <a:gd name="connsiteY95" fmla="*/ 770696 h 942975"/>
                      <a:gd name="connsiteX96" fmla="*/ 965040 w 1304925"/>
                      <a:gd name="connsiteY96" fmla="*/ 772216 h 942975"/>
                      <a:gd name="connsiteX97" fmla="*/ 966948 w 1304925"/>
                      <a:gd name="connsiteY97" fmla="*/ 773495 h 942975"/>
                      <a:gd name="connsiteX98" fmla="*/ 970679 w 1304925"/>
                      <a:gd name="connsiteY98" fmla="*/ 775187 h 942975"/>
                      <a:gd name="connsiteX99" fmla="*/ 980636 w 1304925"/>
                      <a:gd name="connsiteY99" fmla="*/ 778029 h 942975"/>
                      <a:gd name="connsiteX100" fmla="*/ 987751 w 1304925"/>
                      <a:gd name="connsiteY100" fmla="*/ 780870 h 942975"/>
                      <a:gd name="connsiteX101" fmla="*/ 991331 w 1304925"/>
                      <a:gd name="connsiteY101" fmla="*/ 782671 h 942975"/>
                      <a:gd name="connsiteX102" fmla="*/ 994433 w 1304925"/>
                      <a:gd name="connsiteY102" fmla="*/ 784493 h 942975"/>
                      <a:gd name="connsiteX103" fmla="*/ 1000290 w 1304925"/>
                      <a:gd name="connsiteY103" fmla="*/ 788419 h 942975"/>
                      <a:gd name="connsiteX104" fmla="*/ 1002784 w 1304925"/>
                      <a:gd name="connsiteY104" fmla="*/ 790415 h 942975"/>
                      <a:gd name="connsiteX105" fmla="*/ 1006624 w 1304925"/>
                      <a:gd name="connsiteY105" fmla="*/ 793495 h 942975"/>
                      <a:gd name="connsiteX106" fmla="*/ 1007838 w 1304925"/>
                      <a:gd name="connsiteY106" fmla="*/ 795557 h 942975"/>
                      <a:gd name="connsiteX107" fmla="*/ 1008857 w 1304925"/>
                      <a:gd name="connsiteY107" fmla="*/ 797595 h 942975"/>
                      <a:gd name="connsiteX108" fmla="*/ 1010182 w 1304925"/>
                      <a:gd name="connsiteY108" fmla="*/ 801370 h 942975"/>
                      <a:gd name="connsiteX109" fmla="*/ 1011136 w 1304925"/>
                      <a:gd name="connsiteY109" fmla="*/ 806923 h 942975"/>
                      <a:gd name="connsiteX110" fmla="*/ 1013175 w 1304925"/>
                      <a:gd name="connsiteY110" fmla="*/ 810958 h 942975"/>
                      <a:gd name="connsiteX111" fmla="*/ 1014954 w 1304925"/>
                      <a:gd name="connsiteY111" fmla="*/ 812910 h 942975"/>
                      <a:gd name="connsiteX112" fmla="*/ 1016884 w 1304925"/>
                      <a:gd name="connsiteY112" fmla="*/ 814429 h 942975"/>
                      <a:gd name="connsiteX113" fmla="*/ 1021461 w 1304925"/>
                      <a:gd name="connsiteY113" fmla="*/ 816728 h 942975"/>
                      <a:gd name="connsiteX114" fmla="*/ 989053 w 1304925"/>
                      <a:gd name="connsiteY114" fmla="*/ 825947 h 942975"/>
                      <a:gd name="connsiteX115" fmla="*/ 945299 w 1304925"/>
                      <a:gd name="connsiteY115" fmla="*/ 837618 h 942975"/>
                      <a:gd name="connsiteX116" fmla="*/ 920744 w 1304925"/>
                      <a:gd name="connsiteY116" fmla="*/ 844408 h 942975"/>
                      <a:gd name="connsiteX117" fmla="*/ 919311 w 1304925"/>
                      <a:gd name="connsiteY117" fmla="*/ 842434 h 942975"/>
                      <a:gd name="connsiteX118" fmla="*/ 918682 w 1304925"/>
                      <a:gd name="connsiteY118" fmla="*/ 842607 h 942975"/>
                      <a:gd name="connsiteX119" fmla="*/ 915169 w 1304925"/>
                      <a:gd name="connsiteY119" fmla="*/ 837574 h 942975"/>
                      <a:gd name="connsiteX120" fmla="*/ 905428 w 1304925"/>
                      <a:gd name="connsiteY120" fmla="*/ 840330 h 942975"/>
                      <a:gd name="connsiteX121" fmla="*/ 908487 w 1304925"/>
                      <a:gd name="connsiteY121" fmla="*/ 844711 h 942975"/>
                      <a:gd name="connsiteX122" fmla="*/ 909073 w 1304925"/>
                      <a:gd name="connsiteY122" fmla="*/ 844560 h 942975"/>
                      <a:gd name="connsiteX123" fmla="*/ 910200 w 1304925"/>
                      <a:gd name="connsiteY123" fmla="*/ 844863 h 942975"/>
                      <a:gd name="connsiteX124" fmla="*/ 910548 w 1304925"/>
                      <a:gd name="connsiteY124" fmla="*/ 845384 h 942975"/>
                      <a:gd name="connsiteX125" fmla="*/ 911350 w 1304925"/>
                      <a:gd name="connsiteY125" fmla="*/ 845340 h 942975"/>
                      <a:gd name="connsiteX126" fmla="*/ 911676 w 1304925"/>
                      <a:gd name="connsiteY126" fmla="*/ 845839 h 942975"/>
                      <a:gd name="connsiteX127" fmla="*/ 909441 w 1304925"/>
                      <a:gd name="connsiteY127" fmla="*/ 846403 h 942975"/>
                      <a:gd name="connsiteX128" fmla="*/ 909876 w 1304925"/>
                      <a:gd name="connsiteY128" fmla="*/ 847011 h 942975"/>
                      <a:gd name="connsiteX129" fmla="*/ 902956 w 1304925"/>
                      <a:gd name="connsiteY129" fmla="*/ 848746 h 942975"/>
                      <a:gd name="connsiteX130" fmla="*/ 902760 w 1304925"/>
                      <a:gd name="connsiteY130" fmla="*/ 848052 h 942975"/>
                      <a:gd name="connsiteX131" fmla="*/ 902088 w 1304925"/>
                      <a:gd name="connsiteY131" fmla="*/ 847748 h 942975"/>
                      <a:gd name="connsiteX132" fmla="*/ 901263 w 1304925"/>
                      <a:gd name="connsiteY132" fmla="*/ 846577 h 942975"/>
                      <a:gd name="connsiteX133" fmla="*/ 901480 w 1304925"/>
                      <a:gd name="connsiteY133" fmla="*/ 846208 h 942975"/>
                      <a:gd name="connsiteX134" fmla="*/ 899962 w 1304925"/>
                      <a:gd name="connsiteY134" fmla="*/ 843995 h 942975"/>
                      <a:gd name="connsiteX135" fmla="*/ 894821 w 1304925"/>
                      <a:gd name="connsiteY135" fmla="*/ 845340 h 942975"/>
                      <a:gd name="connsiteX136" fmla="*/ 893215 w 1304925"/>
                      <a:gd name="connsiteY136" fmla="*/ 843844 h 942975"/>
                      <a:gd name="connsiteX137" fmla="*/ 886360 w 1304925"/>
                      <a:gd name="connsiteY137" fmla="*/ 845796 h 942975"/>
                      <a:gd name="connsiteX138" fmla="*/ 885428 w 1304925"/>
                      <a:gd name="connsiteY138" fmla="*/ 844647 h 942975"/>
                      <a:gd name="connsiteX139" fmla="*/ 880569 w 1304925"/>
                      <a:gd name="connsiteY139" fmla="*/ 843584 h 942975"/>
                      <a:gd name="connsiteX140" fmla="*/ 879050 w 1304925"/>
                      <a:gd name="connsiteY140" fmla="*/ 845058 h 942975"/>
                      <a:gd name="connsiteX141" fmla="*/ 877705 w 1304925"/>
                      <a:gd name="connsiteY141" fmla="*/ 846012 h 942975"/>
                      <a:gd name="connsiteX142" fmla="*/ 875514 w 1304925"/>
                      <a:gd name="connsiteY142" fmla="*/ 846707 h 942975"/>
                      <a:gd name="connsiteX143" fmla="*/ 873887 w 1304925"/>
                      <a:gd name="connsiteY143" fmla="*/ 846685 h 942975"/>
                      <a:gd name="connsiteX144" fmla="*/ 872824 w 1304925"/>
                      <a:gd name="connsiteY144" fmla="*/ 846533 h 942975"/>
                      <a:gd name="connsiteX145" fmla="*/ 868161 w 1304925"/>
                      <a:gd name="connsiteY145" fmla="*/ 844321 h 942975"/>
                      <a:gd name="connsiteX146" fmla="*/ 858963 w 1304925"/>
                      <a:gd name="connsiteY146" fmla="*/ 841588 h 942975"/>
                      <a:gd name="connsiteX147" fmla="*/ 854386 w 1304925"/>
                      <a:gd name="connsiteY147" fmla="*/ 841218 h 942975"/>
                      <a:gd name="connsiteX148" fmla="*/ 851305 w 1304925"/>
                      <a:gd name="connsiteY148" fmla="*/ 841132 h 942975"/>
                      <a:gd name="connsiteX149" fmla="*/ 849266 w 1304925"/>
                      <a:gd name="connsiteY149" fmla="*/ 840416 h 942975"/>
                      <a:gd name="connsiteX150" fmla="*/ 847466 w 1304925"/>
                      <a:gd name="connsiteY150" fmla="*/ 840048 h 942975"/>
                      <a:gd name="connsiteX151" fmla="*/ 846230 w 1304925"/>
                      <a:gd name="connsiteY151" fmla="*/ 839245 h 942975"/>
                      <a:gd name="connsiteX152" fmla="*/ 844451 w 1304925"/>
                      <a:gd name="connsiteY152" fmla="*/ 839700 h 942975"/>
                      <a:gd name="connsiteX153" fmla="*/ 842737 w 1304925"/>
                      <a:gd name="connsiteY153" fmla="*/ 840155 h 942975"/>
                      <a:gd name="connsiteX154" fmla="*/ 842086 w 1304925"/>
                      <a:gd name="connsiteY154" fmla="*/ 842781 h 942975"/>
                      <a:gd name="connsiteX155" fmla="*/ 841240 w 1304925"/>
                      <a:gd name="connsiteY155" fmla="*/ 843822 h 942975"/>
                      <a:gd name="connsiteX156" fmla="*/ 839918 w 1304925"/>
                      <a:gd name="connsiteY156" fmla="*/ 844321 h 942975"/>
                      <a:gd name="connsiteX157" fmla="*/ 837314 w 1304925"/>
                      <a:gd name="connsiteY157" fmla="*/ 845037 h 942975"/>
                      <a:gd name="connsiteX158" fmla="*/ 834949 w 1304925"/>
                      <a:gd name="connsiteY158" fmla="*/ 845362 h 942975"/>
                      <a:gd name="connsiteX159" fmla="*/ 830437 w 1304925"/>
                      <a:gd name="connsiteY159" fmla="*/ 845037 h 942975"/>
                      <a:gd name="connsiteX160" fmla="*/ 824493 w 1304925"/>
                      <a:gd name="connsiteY160" fmla="*/ 847336 h 942975"/>
                      <a:gd name="connsiteX161" fmla="*/ 812303 w 1304925"/>
                      <a:gd name="connsiteY161" fmla="*/ 851003 h 942975"/>
                      <a:gd name="connsiteX162" fmla="*/ 806337 w 1304925"/>
                      <a:gd name="connsiteY162" fmla="*/ 852477 h 942975"/>
                      <a:gd name="connsiteX163" fmla="*/ 800632 w 1304925"/>
                      <a:gd name="connsiteY163" fmla="*/ 853518 h 942975"/>
                      <a:gd name="connsiteX164" fmla="*/ 799092 w 1304925"/>
                      <a:gd name="connsiteY164" fmla="*/ 853713 h 942975"/>
                      <a:gd name="connsiteX165" fmla="*/ 792476 w 1304925"/>
                      <a:gd name="connsiteY165" fmla="*/ 853605 h 942975"/>
                      <a:gd name="connsiteX166" fmla="*/ 789201 w 1304925"/>
                      <a:gd name="connsiteY166" fmla="*/ 848985 h 942975"/>
                      <a:gd name="connsiteX167" fmla="*/ 786727 w 1304925"/>
                      <a:gd name="connsiteY167" fmla="*/ 849592 h 942975"/>
                      <a:gd name="connsiteX168" fmla="*/ 791066 w 1304925"/>
                      <a:gd name="connsiteY168" fmla="*/ 855970 h 942975"/>
                      <a:gd name="connsiteX169" fmla="*/ 787313 w 1304925"/>
                      <a:gd name="connsiteY169" fmla="*/ 856946 h 942975"/>
                      <a:gd name="connsiteX170" fmla="*/ 786098 w 1304925"/>
                      <a:gd name="connsiteY170" fmla="*/ 855189 h 942975"/>
                      <a:gd name="connsiteX171" fmla="*/ 760371 w 1304925"/>
                      <a:gd name="connsiteY171" fmla="*/ 861696 h 942975"/>
                      <a:gd name="connsiteX172" fmla="*/ 758137 w 1304925"/>
                      <a:gd name="connsiteY172" fmla="*/ 858660 h 942975"/>
                      <a:gd name="connsiteX173" fmla="*/ 729654 w 1304925"/>
                      <a:gd name="connsiteY173" fmla="*/ 866339 h 942975"/>
                      <a:gd name="connsiteX174" fmla="*/ 718960 w 1304925"/>
                      <a:gd name="connsiteY174" fmla="*/ 869072 h 942975"/>
                      <a:gd name="connsiteX175" fmla="*/ 691389 w 1304925"/>
                      <a:gd name="connsiteY175" fmla="*/ 875407 h 942975"/>
                      <a:gd name="connsiteX176" fmla="*/ 670304 w 1304925"/>
                      <a:gd name="connsiteY176" fmla="*/ 880439 h 942975"/>
                      <a:gd name="connsiteX177" fmla="*/ 670304 w 1304925"/>
                      <a:gd name="connsiteY177" fmla="*/ 884451 h 942975"/>
                      <a:gd name="connsiteX178" fmla="*/ 667940 w 1304925"/>
                      <a:gd name="connsiteY178" fmla="*/ 886881 h 942975"/>
                      <a:gd name="connsiteX179" fmla="*/ 662299 w 1304925"/>
                      <a:gd name="connsiteY179" fmla="*/ 886209 h 942975"/>
                      <a:gd name="connsiteX180" fmla="*/ 661908 w 1304925"/>
                      <a:gd name="connsiteY180" fmla="*/ 885949 h 942975"/>
                      <a:gd name="connsiteX181" fmla="*/ 661106 w 1304925"/>
                      <a:gd name="connsiteY181" fmla="*/ 882738 h 942975"/>
                      <a:gd name="connsiteX182" fmla="*/ 660368 w 1304925"/>
                      <a:gd name="connsiteY182" fmla="*/ 882847 h 942975"/>
                      <a:gd name="connsiteX183" fmla="*/ 621951 w 1304925"/>
                      <a:gd name="connsiteY183" fmla="*/ 892088 h 942975"/>
                      <a:gd name="connsiteX184" fmla="*/ 611213 w 1304925"/>
                      <a:gd name="connsiteY184" fmla="*/ 894496 h 942975"/>
                      <a:gd name="connsiteX185" fmla="*/ 611083 w 1304925"/>
                      <a:gd name="connsiteY185" fmla="*/ 894300 h 942975"/>
                      <a:gd name="connsiteX186" fmla="*/ 591083 w 1304925"/>
                      <a:gd name="connsiteY186" fmla="*/ 899289 h 942975"/>
                      <a:gd name="connsiteX187" fmla="*/ 590888 w 1304925"/>
                      <a:gd name="connsiteY187" fmla="*/ 899029 h 942975"/>
                      <a:gd name="connsiteX188" fmla="*/ 581430 w 1304925"/>
                      <a:gd name="connsiteY188" fmla="*/ 901394 h 942975"/>
                      <a:gd name="connsiteX189" fmla="*/ 581647 w 1304925"/>
                      <a:gd name="connsiteY189" fmla="*/ 901784 h 942975"/>
                      <a:gd name="connsiteX190" fmla="*/ 537438 w 1304925"/>
                      <a:gd name="connsiteY190" fmla="*/ 913172 h 942975"/>
                      <a:gd name="connsiteX191" fmla="*/ 519216 w 1304925"/>
                      <a:gd name="connsiteY191" fmla="*/ 917641 h 942975"/>
                      <a:gd name="connsiteX192" fmla="*/ 435505 w 1304925"/>
                      <a:gd name="connsiteY192" fmla="*/ 939225 h 942975"/>
                      <a:gd name="connsiteX193" fmla="*/ 414636 w 1304925"/>
                      <a:gd name="connsiteY193" fmla="*/ 936774 h 942975"/>
                      <a:gd name="connsiteX194" fmla="*/ 419127 w 1304925"/>
                      <a:gd name="connsiteY194" fmla="*/ 922457 h 942975"/>
                      <a:gd name="connsiteX195" fmla="*/ 428910 w 1304925"/>
                      <a:gd name="connsiteY195" fmla="*/ 910027 h 942975"/>
                      <a:gd name="connsiteX196" fmla="*/ 409734 w 1304925"/>
                      <a:gd name="connsiteY196" fmla="*/ 904192 h 942975"/>
                      <a:gd name="connsiteX197" fmla="*/ 403790 w 1304925"/>
                      <a:gd name="connsiteY197" fmla="*/ 902717 h 942975"/>
                      <a:gd name="connsiteX198" fmla="*/ 402228 w 1304925"/>
                      <a:gd name="connsiteY198" fmla="*/ 902608 h 942975"/>
                      <a:gd name="connsiteX199" fmla="*/ 399061 w 1304925"/>
                      <a:gd name="connsiteY199" fmla="*/ 903129 h 942975"/>
                      <a:gd name="connsiteX200" fmla="*/ 390450 w 1304925"/>
                      <a:gd name="connsiteY200" fmla="*/ 904973 h 942975"/>
                      <a:gd name="connsiteX201" fmla="*/ 386892 w 1304925"/>
                      <a:gd name="connsiteY201" fmla="*/ 906036 h 942975"/>
                      <a:gd name="connsiteX202" fmla="*/ 384158 w 1304925"/>
                      <a:gd name="connsiteY202" fmla="*/ 906448 h 942975"/>
                      <a:gd name="connsiteX203" fmla="*/ 381165 w 1304925"/>
                      <a:gd name="connsiteY203" fmla="*/ 906643 h 942975"/>
                      <a:gd name="connsiteX204" fmla="*/ 377824 w 1304925"/>
                      <a:gd name="connsiteY204" fmla="*/ 906730 h 942975"/>
                      <a:gd name="connsiteX205" fmla="*/ 372401 w 1304925"/>
                      <a:gd name="connsiteY205" fmla="*/ 906383 h 942975"/>
                      <a:gd name="connsiteX206" fmla="*/ 337672 w 1304925"/>
                      <a:gd name="connsiteY206" fmla="*/ 906643 h 942975"/>
                      <a:gd name="connsiteX207" fmla="*/ 331424 w 1304925"/>
                      <a:gd name="connsiteY207" fmla="*/ 906535 h 942975"/>
                      <a:gd name="connsiteX208" fmla="*/ 326109 w 1304925"/>
                      <a:gd name="connsiteY208" fmla="*/ 906405 h 942975"/>
                      <a:gd name="connsiteX209" fmla="*/ 301141 w 1304925"/>
                      <a:gd name="connsiteY209" fmla="*/ 906600 h 942975"/>
                      <a:gd name="connsiteX210" fmla="*/ 301011 w 1304925"/>
                      <a:gd name="connsiteY210" fmla="*/ 903758 h 942975"/>
                      <a:gd name="connsiteX211" fmla="*/ 301120 w 1304925"/>
                      <a:gd name="connsiteY211" fmla="*/ 844885 h 942975"/>
                      <a:gd name="connsiteX212" fmla="*/ 314677 w 1304925"/>
                      <a:gd name="connsiteY212" fmla="*/ 840741 h 942975"/>
                      <a:gd name="connsiteX213" fmla="*/ 313506 w 1304925"/>
                      <a:gd name="connsiteY213" fmla="*/ 788311 h 942975"/>
                      <a:gd name="connsiteX214" fmla="*/ 308192 w 1304925"/>
                      <a:gd name="connsiteY214" fmla="*/ 788311 h 942975"/>
                      <a:gd name="connsiteX215" fmla="*/ 307562 w 1304925"/>
                      <a:gd name="connsiteY215" fmla="*/ 769699 h 942975"/>
                      <a:gd name="connsiteX216" fmla="*/ 336001 w 1304925"/>
                      <a:gd name="connsiteY216" fmla="*/ 769373 h 942975"/>
                      <a:gd name="connsiteX217" fmla="*/ 335155 w 1304925"/>
                      <a:gd name="connsiteY217" fmla="*/ 748613 h 942975"/>
                      <a:gd name="connsiteX218" fmla="*/ 333572 w 1304925"/>
                      <a:gd name="connsiteY218" fmla="*/ 744731 h 942975"/>
                      <a:gd name="connsiteX219" fmla="*/ 332205 w 1304925"/>
                      <a:gd name="connsiteY219" fmla="*/ 744947 h 942975"/>
                      <a:gd name="connsiteX220" fmla="*/ 318799 w 1304925"/>
                      <a:gd name="connsiteY220" fmla="*/ 715880 h 942975"/>
                      <a:gd name="connsiteX221" fmla="*/ 296521 w 1304925"/>
                      <a:gd name="connsiteY221" fmla="*/ 667571 h 942975"/>
                      <a:gd name="connsiteX222" fmla="*/ 297150 w 1304925"/>
                      <a:gd name="connsiteY222" fmla="*/ 667006 h 942975"/>
                      <a:gd name="connsiteX223" fmla="*/ 289601 w 1304925"/>
                      <a:gd name="connsiteY223" fmla="*/ 650585 h 942975"/>
                      <a:gd name="connsiteX224" fmla="*/ 276282 w 1304925"/>
                      <a:gd name="connsiteY224" fmla="*/ 652864 h 942975"/>
                      <a:gd name="connsiteX225" fmla="*/ 273766 w 1304925"/>
                      <a:gd name="connsiteY225" fmla="*/ 647353 h 942975"/>
                      <a:gd name="connsiteX226" fmla="*/ 260186 w 1304925"/>
                      <a:gd name="connsiteY226" fmla="*/ 649435 h 942975"/>
                      <a:gd name="connsiteX227" fmla="*/ 251813 w 1304925"/>
                      <a:gd name="connsiteY227" fmla="*/ 650542 h 942975"/>
                      <a:gd name="connsiteX228" fmla="*/ 240402 w 1304925"/>
                      <a:gd name="connsiteY228" fmla="*/ 651692 h 942975"/>
                      <a:gd name="connsiteX229" fmla="*/ 230597 w 1304925"/>
                      <a:gd name="connsiteY229" fmla="*/ 652342 h 942975"/>
                      <a:gd name="connsiteX230" fmla="*/ 221551 w 1304925"/>
                      <a:gd name="connsiteY230" fmla="*/ 652646 h 942975"/>
                      <a:gd name="connsiteX231" fmla="*/ 164001 w 1304925"/>
                      <a:gd name="connsiteY231" fmla="*/ 653362 h 942975"/>
                      <a:gd name="connsiteX232" fmla="*/ 163850 w 1304925"/>
                      <a:gd name="connsiteY232" fmla="*/ 648134 h 942975"/>
                      <a:gd name="connsiteX233" fmla="*/ 164067 w 1304925"/>
                      <a:gd name="connsiteY233" fmla="*/ 644273 h 942975"/>
                      <a:gd name="connsiteX234" fmla="*/ 167277 w 1304925"/>
                      <a:gd name="connsiteY234" fmla="*/ 624272 h 942975"/>
                      <a:gd name="connsiteX235" fmla="*/ 168992 w 1304925"/>
                      <a:gd name="connsiteY235" fmla="*/ 604012 h 942975"/>
                      <a:gd name="connsiteX236" fmla="*/ 170184 w 1304925"/>
                      <a:gd name="connsiteY236" fmla="*/ 603665 h 942975"/>
                      <a:gd name="connsiteX237" fmla="*/ 170206 w 1304925"/>
                      <a:gd name="connsiteY237" fmla="*/ 602927 h 942975"/>
                      <a:gd name="connsiteX238" fmla="*/ 173959 w 1304925"/>
                      <a:gd name="connsiteY238" fmla="*/ 602971 h 942975"/>
                      <a:gd name="connsiteX239" fmla="*/ 174176 w 1304925"/>
                      <a:gd name="connsiteY239" fmla="*/ 596376 h 942975"/>
                      <a:gd name="connsiteX240" fmla="*/ 154631 w 1304925"/>
                      <a:gd name="connsiteY240" fmla="*/ 595812 h 942975"/>
                      <a:gd name="connsiteX241" fmla="*/ 134110 w 1304925"/>
                      <a:gd name="connsiteY241" fmla="*/ 595096 h 942975"/>
                      <a:gd name="connsiteX242" fmla="*/ 126973 w 1304925"/>
                      <a:gd name="connsiteY242" fmla="*/ 594532 h 942975"/>
                      <a:gd name="connsiteX243" fmla="*/ 121354 w 1304925"/>
                      <a:gd name="connsiteY243" fmla="*/ 593882 h 942975"/>
                      <a:gd name="connsiteX244" fmla="*/ 7144 w 1304925"/>
                      <a:gd name="connsiteY244" fmla="*/ 576028 h 942975"/>
                      <a:gd name="connsiteX245" fmla="*/ 9053 w 1304925"/>
                      <a:gd name="connsiteY245" fmla="*/ 571473 h 942975"/>
                      <a:gd name="connsiteX246" fmla="*/ 9378 w 1304925"/>
                      <a:gd name="connsiteY246" fmla="*/ 571516 h 942975"/>
                      <a:gd name="connsiteX247" fmla="*/ 10180 w 1304925"/>
                      <a:gd name="connsiteY247" fmla="*/ 569565 h 942975"/>
                      <a:gd name="connsiteX248" fmla="*/ 10506 w 1304925"/>
                      <a:gd name="connsiteY248" fmla="*/ 569565 h 942975"/>
                      <a:gd name="connsiteX249" fmla="*/ 36688 w 1304925"/>
                      <a:gd name="connsiteY249" fmla="*/ 506613 h 942975"/>
                      <a:gd name="connsiteX250" fmla="*/ 50246 w 1304925"/>
                      <a:gd name="connsiteY250" fmla="*/ 474486 h 942975"/>
                      <a:gd name="connsiteX251" fmla="*/ 53262 w 1304925"/>
                      <a:gd name="connsiteY251" fmla="*/ 467241 h 942975"/>
                      <a:gd name="connsiteX252" fmla="*/ 53240 w 1304925"/>
                      <a:gd name="connsiteY252" fmla="*/ 466720 h 942975"/>
                      <a:gd name="connsiteX253" fmla="*/ 56538 w 1304925"/>
                      <a:gd name="connsiteY253" fmla="*/ 459128 h 942975"/>
                      <a:gd name="connsiteX254" fmla="*/ 56884 w 1304925"/>
                      <a:gd name="connsiteY254" fmla="*/ 459193 h 942975"/>
                      <a:gd name="connsiteX255" fmla="*/ 57492 w 1304925"/>
                      <a:gd name="connsiteY255" fmla="*/ 457739 h 942975"/>
                      <a:gd name="connsiteX256" fmla="*/ 57341 w 1304925"/>
                      <a:gd name="connsiteY256" fmla="*/ 457718 h 942975"/>
                      <a:gd name="connsiteX257" fmla="*/ 57991 w 1304925"/>
                      <a:gd name="connsiteY257" fmla="*/ 456199 h 942975"/>
                      <a:gd name="connsiteX258" fmla="*/ 57188 w 1304925"/>
                      <a:gd name="connsiteY258" fmla="*/ 456307 h 942975"/>
                      <a:gd name="connsiteX259" fmla="*/ 58902 w 1304925"/>
                      <a:gd name="connsiteY259" fmla="*/ 452252 h 942975"/>
                      <a:gd name="connsiteX260" fmla="*/ 60789 w 1304925"/>
                      <a:gd name="connsiteY260" fmla="*/ 447718 h 942975"/>
                      <a:gd name="connsiteX261" fmla="*/ 61049 w 1304925"/>
                      <a:gd name="connsiteY261" fmla="*/ 447761 h 942975"/>
                      <a:gd name="connsiteX262" fmla="*/ 61722 w 1304925"/>
                      <a:gd name="connsiteY262" fmla="*/ 446156 h 942975"/>
                      <a:gd name="connsiteX263" fmla="*/ 62134 w 1304925"/>
                      <a:gd name="connsiteY263" fmla="*/ 446221 h 942975"/>
                      <a:gd name="connsiteX264" fmla="*/ 62221 w 1304925"/>
                      <a:gd name="connsiteY264" fmla="*/ 446069 h 942975"/>
                      <a:gd name="connsiteX265" fmla="*/ 67405 w 1304925"/>
                      <a:gd name="connsiteY265" fmla="*/ 433618 h 942975"/>
                      <a:gd name="connsiteX266" fmla="*/ 67210 w 1304925"/>
                      <a:gd name="connsiteY266" fmla="*/ 433574 h 942975"/>
                      <a:gd name="connsiteX267" fmla="*/ 69270 w 1304925"/>
                      <a:gd name="connsiteY267" fmla="*/ 428259 h 942975"/>
                      <a:gd name="connsiteX268" fmla="*/ 69401 w 1304925"/>
                      <a:gd name="connsiteY268" fmla="*/ 427977 h 942975"/>
                      <a:gd name="connsiteX269" fmla="*/ 69748 w 1304925"/>
                      <a:gd name="connsiteY269" fmla="*/ 428043 h 942975"/>
                      <a:gd name="connsiteX270" fmla="*/ 71678 w 1304925"/>
                      <a:gd name="connsiteY270" fmla="*/ 423531 h 942975"/>
                      <a:gd name="connsiteX271" fmla="*/ 71310 w 1304925"/>
                      <a:gd name="connsiteY271" fmla="*/ 423465 h 942975"/>
                      <a:gd name="connsiteX272" fmla="*/ 74477 w 1304925"/>
                      <a:gd name="connsiteY272" fmla="*/ 415917 h 942975"/>
                      <a:gd name="connsiteX273" fmla="*/ 74564 w 1304925"/>
                      <a:gd name="connsiteY273" fmla="*/ 415700 h 942975"/>
                      <a:gd name="connsiteX274" fmla="*/ 74889 w 1304925"/>
                      <a:gd name="connsiteY274" fmla="*/ 415743 h 942975"/>
                      <a:gd name="connsiteX275" fmla="*/ 76733 w 1304925"/>
                      <a:gd name="connsiteY275" fmla="*/ 411296 h 942975"/>
                      <a:gd name="connsiteX276" fmla="*/ 76365 w 1304925"/>
                      <a:gd name="connsiteY276" fmla="*/ 411231 h 942975"/>
                      <a:gd name="connsiteX277" fmla="*/ 79575 w 1304925"/>
                      <a:gd name="connsiteY277" fmla="*/ 403595 h 942975"/>
                      <a:gd name="connsiteX278" fmla="*/ 79922 w 1304925"/>
                      <a:gd name="connsiteY278" fmla="*/ 403660 h 942975"/>
                      <a:gd name="connsiteX279" fmla="*/ 81701 w 1304925"/>
                      <a:gd name="connsiteY279" fmla="*/ 399582 h 942975"/>
                      <a:gd name="connsiteX280" fmla="*/ 81852 w 1304925"/>
                      <a:gd name="connsiteY280" fmla="*/ 399170 h 942975"/>
                      <a:gd name="connsiteX281" fmla="*/ 81462 w 1304925"/>
                      <a:gd name="connsiteY281" fmla="*/ 399083 h 942975"/>
                      <a:gd name="connsiteX282" fmla="*/ 84347 w 1304925"/>
                      <a:gd name="connsiteY282" fmla="*/ 392272 h 942975"/>
                      <a:gd name="connsiteX283" fmla="*/ 84737 w 1304925"/>
                      <a:gd name="connsiteY283" fmla="*/ 392337 h 942975"/>
                      <a:gd name="connsiteX284" fmla="*/ 85389 w 1304925"/>
                      <a:gd name="connsiteY284" fmla="*/ 390818 h 942975"/>
                      <a:gd name="connsiteX285" fmla="*/ 84890 w 1304925"/>
                      <a:gd name="connsiteY285" fmla="*/ 390754 h 942975"/>
                      <a:gd name="connsiteX286" fmla="*/ 85887 w 1304925"/>
                      <a:gd name="connsiteY286" fmla="*/ 388562 h 942975"/>
                      <a:gd name="connsiteX287" fmla="*/ 85475 w 1304925"/>
                      <a:gd name="connsiteY287" fmla="*/ 388475 h 942975"/>
                      <a:gd name="connsiteX288" fmla="*/ 88447 w 1304925"/>
                      <a:gd name="connsiteY288" fmla="*/ 381447 h 942975"/>
                      <a:gd name="connsiteX289" fmla="*/ 88707 w 1304925"/>
                      <a:gd name="connsiteY289" fmla="*/ 381491 h 942975"/>
                      <a:gd name="connsiteX290" fmla="*/ 89424 w 1304925"/>
                      <a:gd name="connsiteY290" fmla="*/ 379777 h 942975"/>
                      <a:gd name="connsiteX291" fmla="*/ 89575 w 1304925"/>
                      <a:gd name="connsiteY291" fmla="*/ 379799 h 942975"/>
                      <a:gd name="connsiteX292" fmla="*/ 92330 w 1304925"/>
                      <a:gd name="connsiteY292" fmla="*/ 371208 h 942975"/>
                      <a:gd name="connsiteX293" fmla="*/ 92633 w 1304925"/>
                      <a:gd name="connsiteY293" fmla="*/ 371252 h 942975"/>
                      <a:gd name="connsiteX294" fmla="*/ 93197 w 1304925"/>
                      <a:gd name="connsiteY294" fmla="*/ 369018 h 942975"/>
                      <a:gd name="connsiteX295" fmla="*/ 93002 w 1304925"/>
                      <a:gd name="connsiteY295" fmla="*/ 368996 h 942975"/>
                      <a:gd name="connsiteX296" fmla="*/ 94695 w 1304925"/>
                      <a:gd name="connsiteY296" fmla="*/ 361099 h 942975"/>
                      <a:gd name="connsiteX297" fmla="*/ 94977 w 1304925"/>
                      <a:gd name="connsiteY297" fmla="*/ 361121 h 942975"/>
                      <a:gd name="connsiteX298" fmla="*/ 95367 w 1304925"/>
                      <a:gd name="connsiteY298" fmla="*/ 358822 h 942975"/>
                      <a:gd name="connsiteX299" fmla="*/ 95041 w 1304925"/>
                      <a:gd name="connsiteY299" fmla="*/ 358800 h 942975"/>
                      <a:gd name="connsiteX300" fmla="*/ 96126 w 1304925"/>
                      <a:gd name="connsiteY300" fmla="*/ 350275 h 942975"/>
                      <a:gd name="connsiteX301" fmla="*/ 96408 w 1304925"/>
                      <a:gd name="connsiteY301" fmla="*/ 350297 h 942975"/>
                      <a:gd name="connsiteX302" fmla="*/ 96582 w 1304925"/>
                      <a:gd name="connsiteY302" fmla="*/ 348757 h 942975"/>
                      <a:gd name="connsiteX303" fmla="*/ 96235 w 1304925"/>
                      <a:gd name="connsiteY303" fmla="*/ 348757 h 942975"/>
                      <a:gd name="connsiteX304" fmla="*/ 96473 w 1304925"/>
                      <a:gd name="connsiteY304" fmla="*/ 345091 h 942975"/>
                      <a:gd name="connsiteX305" fmla="*/ 96278 w 1304925"/>
                      <a:gd name="connsiteY305" fmla="*/ 339820 h 942975"/>
                      <a:gd name="connsiteX306" fmla="*/ 96560 w 1304925"/>
                      <a:gd name="connsiteY306" fmla="*/ 339798 h 942975"/>
                      <a:gd name="connsiteX307" fmla="*/ 95671 w 1304925"/>
                      <a:gd name="connsiteY307" fmla="*/ 331381 h 942975"/>
                      <a:gd name="connsiteX308" fmla="*/ 96235 w 1304925"/>
                      <a:gd name="connsiteY308" fmla="*/ 331360 h 942975"/>
                      <a:gd name="connsiteX309" fmla="*/ 95627 w 1304925"/>
                      <a:gd name="connsiteY309" fmla="*/ 327975 h 942975"/>
                      <a:gd name="connsiteX310" fmla="*/ 94413 w 1304925"/>
                      <a:gd name="connsiteY310" fmla="*/ 327975 h 942975"/>
                      <a:gd name="connsiteX311" fmla="*/ 92156 w 1304925"/>
                      <a:gd name="connsiteY311" fmla="*/ 318647 h 942975"/>
                      <a:gd name="connsiteX312" fmla="*/ 104716 w 1304925"/>
                      <a:gd name="connsiteY312" fmla="*/ 318257 h 942975"/>
                      <a:gd name="connsiteX313" fmla="*/ 179729 w 1304925"/>
                      <a:gd name="connsiteY313" fmla="*/ 316847 h 942975"/>
                      <a:gd name="connsiteX314" fmla="*/ 193590 w 1304925"/>
                      <a:gd name="connsiteY314" fmla="*/ 317107 h 942975"/>
                      <a:gd name="connsiteX315" fmla="*/ 207604 w 1304925"/>
                      <a:gd name="connsiteY315" fmla="*/ 316803 h 942975"/>
                      <a:gd name="connsiteX316" fmla="*/ 212680 w 1304925"/>
                      <a:gd name="connsiteY316" fmla="*/ 316695 h 942975"/>
                      <a:gd name="connsiteX317" fmla="*/ 212680 w 1304925"/>
                      <a:gd name="connsiteY317" fmla="*/ 315958 h 942975"/>
                      <a:gd name="connsiteX318" fmla="*/ 212354 w 1304925"/>
                      <a:gd name="connsiteY318" fmla="*/ 315871 h 942975"/>
                      <a:gd name="connsiteX319" fmla="*/ 210945 w 1304925"/>
                      <a:gd name="connsiteY319" fmla="*/ 289015 h 942975"/>
                      <a:gd name="connsiteX320" fmla="*/ 211552 w 1304925"/>
                      <a:gd name="connsiteY320" fmla="*/ 277345 h 942975"/>
                      <a:gd name="connsiteX321" fmla="*/ 209642 w 1304925"/>
                      <a:gd name="connsiteY321" fmla="*/ 243353 h 942975"/>
                      <a:gd name="connsiteX322" fmla="*/ 209447 w 1304925"/>
                      <a:gd name="connsiteY322" fmla="*/ 237539 h 942975"/>
                      <a:gd name="connsiteX323" fmla="*/ 209990 w 1304925"/>
                      <a:gd name="connsiteY323" fmla="*/ 237561 h 942975"/>
                      <a:gd name="connsiteX324" fmla="*/ 209946 w 1304925"/>
                      <a:gd name="connsiteY324" fmla="*/ 234004 h 942975"/>
                      <a:gd name="connsiteX325" fmla="*/ 209404 w 1304925"/>
                      <a:gd name="connsiteY325" fmla="*/ 234004 h 942975"/>
                      <a:gd name="connsiteX326" fmla="*/ 209447 w 1304925"/>
                      <a:gd name="connsiteY326" fmla="*/ 234459 h 942975"/>
                      <a:gd name="connsiteX327" fmla="*/ 203092 w 1304925"/>
                      <a:gd name="connsiteY327" fmla="*/ 234459 h 942975"/>
                      <a:gd name="connsiteX328" fmla="*/ 197582 w 1304925"/>
                      <a:gd name="connsiteY328" fmla="*/ 130227 h 942975"/>
                      <a:gd name="connsiteX329" fmla="*/ 197799 w 1304925"/>
                      <a:gd name="connsiteY329" fmla="*/ 120856 h 942975"/>
                      <a:gd name="connsiteX330" fmla="*/ 198818 w 1304925"/>
                      <a:gd name="connsiteY330" fmla="*/ 110639 h 942975"/>
                      <a:gd name="connsiteX331" fmla="*/ 200098 w 1304925"/>
                      <a:gd name="connsiteY331" fmla="*/ 103306 h 942975"/>
                      <a:gd name="connsiteX332" fmla="*/ 201942 w 1304925"/>
                      <a:gd name="connsiteY332" fmla="*/ 95519 h 942975"/>
                      <a:gd name="connsiteX333" fmla="*/ 213461 w 1304925"/>
                      <a:gd name="connsiteY333" fmla="*/ 93654 h 942975"/>
                      <a:gd name="connsiteX334" fmla="*/ 215326 w 1304925"/>
                      <a:gd name="connsiteY334" fmla="*/ 93090 h 942975"/>
                      <a:gd name="connsiteX335" fmla="*/ 226324 w 1304925"/>
                      <a:gd name="connsiteY335" fmla="*/ 92243 h 942975"/>
                      <a:gd name="connsiteX336" fmla="*/ 227583 w 1304925"/>
                      <a:gd name="connsiteY336" fmla="*/ 91592 h 942975"/>
                      <a:gd name="connsiteX337" fmla="*/ 228450 w 1304925"/>
                      <a:gd name="connsiteY337" fmla="*/ 91506 h 942975"/>
                      <a:gd name="connsiteX338" fmla="*/ 238516 w 1304925"/>
                      <a:gd name="connsiteY338" fmla="*/ 91093 h 942975"/>
                      <a:gd name="connsiteX339" fmla="*/ 254763 w 1304925"/>
                      <a:gd name="connsiteY339" fmla="*/ 90790 h 942975"/>
                      <a:gd name="connsiteX340" fmla="*/ 254785 w 1304925"/>
                      <a:gd name="connsiteY340" fmla="*/ 92156 h 942975"/>
                      <a:gd name="connsiteX341" fmla="*/ 262551 w 1304925"/>
                      <a:gd name="connsiteY341" fmla="*/ 92135 h 942975"/>
                      <a:gd name="connsiteX342" fmla="*/ 262507 w 1304925"/>
                      <a:gd name="connsiteY342" fmla="*/ 91918 h 942975"/>
                      <a:gd name="connsiteX343" fmla="*/ 304830 w 1304925"/>
                      <a:gd name="connsiteY343" fmla="*/ 91550 h 942975"/>
                      <a:gd name="connsiteX344" fmla="*/ 336349 w 1304925"/>
                      <a:gd name="connsiteY344" fmla="*/ 91354 h 942975"/>
                      <a:gd name="connsiteX345" fmla="*/ 336349 w 1304925"/>
                      <a:gd name="connsiteY345" fmla="*/ 91614 h 942975"/>
                      <a:gd name="connsiteX346" fmla="*/ 343247 w 1304925"/>
                      <a:gd name="connsiteY346" fmla="*/ 91570 h 942975"/>
                      <a:gd name="connsiteX347" fmla="*/ 343182 w 1304925"/>
                      <a:gd name="connsiteY347" fmla="*/ 91310 h 942975"/>
                      <a:gd name="connsiteX348" fmla="*/ 433010 w 1304925"/>
                      <a:gd name="connsiteY348" fmla="*/ 90747 h 942975"/>
                      <a:gd name="connsiteX349" fmla="*/ 432945 w 1304925"/>
                      <a:gd name="connsiteY349" fmla="*/ 91072 h 942975"/>
                      <a:gd name="connsiteX350" fmla="*/ 447132 w 1304925"/>
                      <a:gd name="connsiteY350" fmla="*/ 90986 h 942975"/>
                      <a:gd name="connsiteX351" fmla="*/ 447262 w 1304925"/>
                      <a:gd name="connsiteY351" fmla="*/ 93436 h 942975"/>
                      <a:gd name="connsiteX352" fmla="*/ 474985 w 1304925"/>
                      <a:gd name="connsiteY352" fmla="*/ 93393 h 942975"/>
                      <a:gd name="connsiteX353" fmla="*/ 484790 w 1304925"/>
                      <a:gd name="connsiteY353" fmla="*/ 93480 h 942975"/>
                      <a:gd name="connsiteX354" fmla="*/ 492707 w 1304925"/>
                      <a:gd name="connsiteY354" fmla="*/ 93849 h 942975"/>
                      <a:gd name="connsiteX355" fmla="*/ 501125 w 1304925"/>
                      <a:gd name="connsiteY355" fmla="*/ 94435 h 942975"/>
                      <a:gd name="connsiteX356" fmla="*/ 518869 w 1304925"/>
                      <a:gd name="connsiteY356" fmla="*/ 96560 h 942975"/>
                      <a:gd name="connsiteX357" fmla="*/ 527502 w 1304925"/>
                      <a:gd name="connsiteY357" fmla="*/ 98057 h 942975"/>
                      <a:gd name="connsiteX358" fmla="*/ 536635 w 1304925"/>
                      <a:gd name="connsiteY358" fmla="*/ 99857 h 942975"/>
                      <a:gd name="connsiteX359" fmla="*/ 545811 w 1304925"/>
                      <a:gd name="connsiteY359" fmla="*/ 102070 h 942975"/>
                      <a:gd name="connsiteX360" fmla="*/ 554878 w 1304925"/>
                      <a:gd name="connsiteY360" fmla="*/ 104478 h 942975"/>
                      <a:gd name="connsiteX361" fmla="*/ 562774 w 1304925"/>
                      <a:gd name="connsiteY361" fmla="*/ 106908 h 942975"/>
                      <a:gd name="connsiteX362" fmla="*/ 576679 w 1304925"/>
                      <a:gd name="connsiteY362" fmla="*/ 112157 h 942975"/>
                      <a:gd name="connsiteX363" fmla="*/ 582753 w 1304925"/>
                      <a:gd name="connsiteY363" fmla="*/ 114738 h 942975"/>
                      <a:gd name="connsiteX364" fmla="*/ 593686 w 1304925"/>
                      <a:gd name="connsiteY364" fmla="*/ 120226 h 942975"/>
                      <a:gd name="connsiteX365" fmla="*/ 599478 w 1304925"/>
                      <a:gd name="connsiteY365" fmla="*/ 123459 h 942975"/>
                      <a:gd name="connsiteX366" fmla="*/ 609912 w 1304925"/>
                      <a:gd name="connsiteY366" fmla="*/ 130118 h 942975"/>
                      <a:gd name="connsiteX367" fmla="*/ 616072 w 1304925"/>
                      <a:gd name="connsiteY367" fmla="*/ 134501 h 942975"/>
                      <a:gd name="connsiteX368" fmla="*/ 633773 w 1304925"/>
                      <a:gd name="connsiteY368" fmla="*/ 148253 h 942975"/>
                      <a:gd name="connsiteX369" fmla="*/ 633600 w 1304925"/>
                      <a:gd name="connsiteY369" fmla="*/ 148340 h 942975"/>
                      <a:gd name="connsiteX370" fmla="*/ 649024 w 1304925"/>
                      <a:gd name="connsiteY370" fmla="*/ 145108 h 942975"/>
                      <a:gd name="connsiteX371" fmla="*/ 662408 w 1304925"/>
                      <a:gd name="connsiteY371" fmla="*/ 142309 h 942975"/>
                      <a:gd name="connsiteX372" fmla="*/ 663839 w 1304925"/>
                      <a:gd name="connsiteY372" fmla="*/ 141962 h 942975"/>
                      <a:gd name="connsiteX373" fmla="*/ 664491 w 1304925"/>
                      <a:gd name="connsiteY373" fmla="*/ 141051 h 942975"/>
                      <a:gd name="connsiteX374" fmla="*/ 665337 w 1304925"/>
                      <a:gd name="connsiteY374" fmla="*/ 141203 h 942975"/>
                      <a:gd name="connsiteX375" fmla="*/ 669327 w 1304925"/>
                      <a:gd name="connsiteY375" fmla="*/ 134803 h 942975"/>
                      <a:gd name="connsiteX376" fmla="*/ 673189 w 1304925"/>
                      <a:gd name="connsiteY376" fmla="*/ 131636 h 942975"/>
                      <a:gd name="connsiteX377" fmla="*/ 673883 w 1304925"/>
                      <a:gd name="connsiteY377" fmla="*/ 131940 h 942975"/>
                      <a:gd name="connsiteX378" fmla="*/ 674208 w 1304925"/>
                      <a:gd name="connsiteY378" fmla="*/ 131658 h 942975"/>
                      <a:gd name="connsiteX379" fmla="*/ 680564 w 1304925"/>
                      <a:gd name="connsiteY379" fmla="*/ 134197 h 942975"/>
                      <a:gd name="connsiteX380" fmla="*/ 685532 w 1304925"/>
                      <a:gd name="connsiteY380" fmla="*/ 135715 h 942975"/>
                      <a:gd name="connsiteX381" fmla="*/ 691410 w 1304925"/>
                      <a:gd name="connsiteY381" fmla="*/ 137125 h 942975"/>
                      <a:gd name="connsiteX382" fmla="*/ 695272 w 1304925"/>
                      <a:gd name="connsiteY382" fmla="*/ 137754 h 942975"/>
                      <a:gd name="connsiteX383" fmla="*/ 698721 w 1304925"/>
                      <a:gd name="connsiteY383" fmla="*/ 138101 h 942975"/>
                      <a:gd name="connsiteX384" fmla="*/ 786966 w 1304925"/>
                      <a:gd name="connsiteY384" fmla="*/ 96452 h 942975"/>
                      <a:gd name="connsiteX385" fmla="*/ 791478 w 1304925"/>
                      <a:gd name="connsiteY385" fmla="*/ 100400 h 942975"/>
                      <a:gd name="connsiteX386" fmla="*/ 791673 w 1304925"/>
                      <a:gd name="connsiteY386" fmla="*/ 101961 h 942975"/>
                      <a:gd name="connsiteX387" fmla="*/ 795730 w 1304925"/>
                      <a:gd name="connsiteY387" fmla="*/ 107103 h 942975"/>
                      <a:gd name="connsiteX388" fmla="*/ 797639 w 1304925"/>
                      <a:gd name="connsiteY388" fmla="*/ 110335 h 942975"/>
                      <a:gd name="connsiteX389" fmla="*/ 813626 w 1304925"/>
                      <a:gd name="connsiteY389" fmla="*/ 107514 h 942975"/>
                      <a:gd name="connsiteX390" fmla="*/ 817227 w 1304925"/>
                      <a:gd name="connsiteY390" fmla="*/ 107190 h 942975"/>
                      <a:gd name="connsiteX391" fmla="*/ 820090 w 1304925"/>
                      <a:gd name="connsiteY391" fmla="*/ 107146 h 942975"/>
                      <a:gd name="connsiteX392" fmla="*/ 886014 w 1304925"/>
                      <a:gd name="connsiteY392" fmla="*/ 113046 h 942975"/>
                      <a:gd name="connsiteX393" fmla="*/ 888682 w 1304925"/>
                      <a:gd name="connsiteY393" fmla="*/ 113133 h 942975"/>
                      <a:gd name="connsiteX394" fmla="*/ 892088 w 1304925"/>
                      <a:gd name="connsiteY394" fmla="*/ 112982 h 942975"/>
                      <a:gd name="connsiteX395" fmla="*/ 895754 w 1304925"/>
                      <a:gd name="connsiteY395" fmla="*/ 112439 h 942975"/>
                      <a:gd name="connsiteX396" fmla="*/ 898140 w 1304925"/>
                      <a:gd name="connsiteY396" fmla="*/ 111897 h 942975"/>
                      <a:gd name="connsiteX397" fmla="*/ 901697 w 1304925"/>
                      <a:gd name="connsiteY397" fmla="*/ 110639 h 942975"/>
                      <a:gd name="connsiteX398" fmla="*/ 1094826 w 1304925"/>
                      <a:gd name="connsiteY398" fmla="*/ 11742 h 942975"/>
                      <a:gd name="connsiteX399" fmla="*/ 1103112 w 1304925"/>
                      <a:gd name="connsiteY399" fmla="*/ 7144 h 942975"/>
                      <a:gd name="connsiteX400" fmla="*/ 1188016 w 1304925"/>
                      <a:gd name="connsiteY400" fmla="*/ 71462 h 942975"/>
                      <a:gd name="connsiteX401" fmla="*/ 1226737 w 1304925"/>
                      <a:gd name="connsiteY401" fmla="*/ 99662 h 942975"/>
                      <a:gd name="connsiteX402" fmla="*/ 1236434 w 1304925"/>
                      <a:gd name="connsiteY402" fmla="*/ 106734 h 942975"/>
                      <a:gd name="connsiteX403" fmla="*/ 1250577 w 1304925"/>
                      <a:gd name="connsiteY403" fmla="*/ 119316 h 942975"/>
                      <a:gd name="connsiteX404" fmla="*/ 1262638 w 1304925"/>
                      <a:gd name="connsiteY404" fmla="*/ 133242 h 942975"/>
                      <a:gd name="connsiteX405" fmla="*/ 1272291 w 1304925"/>
                      <a:gd name="connsiteY405" fmla="*/ 149295 h 942975"/>
                      <a:gd name="connsiteX406" fmla="*/ 1279363 w 1304925"/>
                      <a:gd name="connsiteY406" fmla="*/ 166041 h 942975"/>
                      <a:gd name="connsiteX407" fmla="*/ 1294310 w 1304925"/>
                      <a:gd name="connsiteY407" fmla="*/ 211856 h 942975"/>
                      <a:gd name="connsiteX408" fmla="*/ 1303181 w 1304925"/>
                      <a:gd name="connsiteY408" fmla="*/ 238950 h 942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1304925" h="942975">
                        <a:moveTo>
                          <a:pt x="1303181" y="238950"/>
                        </a:moveTo>
                        <a:lnTo>
                          <a:pt x="1244243" y="242594"/>
                        </a:lnTo>
                        <a:lnTo>
                          <a:pt x="1243028" y="246629"/>
                        </a:lnTo>
                        <a:lnTo>
                          <a:pt x="1242812" y="249123"/>
                        </a:lnTo>
                        <a:lnTo>
                          <a:pt x="1242963" y="249448"/>
                        </a:lnTo>
                        <a:lnTo>
                          <a:pt x="1240902" y="249817"/>
                        </a:lnTo>
                        <a:lnTo>
                          <a:pt x="1237887" y="242963"/>
                        </a:lnTo>
                        <a:lnTo>
                          <a:pt x="1214915" y="244394"/>
                        </a:lnTo>
                        <a:lnTo>
                          <a:pt x="1105628" y="251141"/>
                        </a:lnTo>
                        <a:lnTo>
                          <a:pt x="1100725" y="250316"/>
                        </a:lnTo>
                        <a:lnTo>
                          <a:pt x="1073241" y="245717"/>
                        </a:lnTo>
                        <a:lnTo>
                          <a:pt x="1062807" y="268213"/>
                        </a:lnTo>
                        <a:lnTo>
                          <a:pt x="1046234" y="292053"/>
                        </a:lnTo>
                        <a:lnTo>
                          <a:pt x="1041896" y="297280"/>
                        </a:lnTo>
                        <a:lnTo>
                          <a:pt x="1032199" y="309016"/>
                        </a:lnTo>
                        <a:lnTo>
                          <a:pt x="1026971" y="315003"/>
                        </a:lnTo>
                        <a:lnTo>
                          <a:pt x="1015691" y="331273"/>
                        </a:lnTo>
                        <a:lnTo>
                          <a:pt x="1012112" y="336826"/>
                        </a:lnTo>
                        <a:lnTo>
                          <a:pt x="992480" y="368736"/>
                        </a:lnTo>
                        <a:lnTo>
                          <a:pt x="990094" y="371838"/>
                        </a:lnTo>
                        <a:lnTo>
                          <a:pt x="986515" y="375178"/>
                        </a:lnTo>
                        <a:lnTo>
                          <a:pt x="983196" y="377478"/>
                        </a:lnTo>
                        <a:lnTo>
                          <a:pt x="978163" y="380102"/>
                        </a:lnTo>
                        <a:lnTo>
                          <a:pt x="971829" y="382618"/>
                        </a:lnTo>
                        <a:lnTo>
                          <a:pt x="969552" y="384116"/>
                        </a:lnTo>
                        <a:lnTo>
                          <a:pt x="968141" y="385590"/>
                        </a:lnTo>
                        <a:lnTo>
                          <a:pt x="967230" y="387044"/>
                        </a:lnTo>
                        <a:lnTo>
                          <a:pt x="966796" y="388237"/>
                        </a:lnTo>
                        <a:lnTo>
                          <a:pt x="966687" y="389755"/>
                        </a:lnTo>
                        <a:lnTo>
                          <a:pt x="967057" y="391426"/>
                        </a:lnTo>
                        <a:lnTo>
                          <a:pt x="967968" y="393053"/>
                        </a:lnTo>
                        <a:lnTo>
                          <a:pt x="972805" y="398411"/>
                        </a:lnTo>
                        <a:lnTo>
                          <a:pt x="973196" y="399669"/>
                        </a:lnTo>
                        <a:lnTo>
                          <a:pt x="972957" y="401036"/>
                        </a:lnTo>
                        <a:lnTo>
                          <a:pt x="936188" y="459887"/>
                        </a:lnTo>
                        <a:lnTo>
                          <a:pt x="934757" y="462208"/>
                        </a:lnTo>
                        <a:lnTo>
                          <a:pt x="938943" y="463249"/>
                        </a:lnTo>
                        <a:lnTo>
                          <a:pt x="934778" y="469931"/>
                        </a:lnTo>
                        <a:lnTo>
                          <a:pt x="934280" y="469823"/>
                        </a:lnTo>
                        <a:lnTo>
                          <a:pt x="930613" y="475506"/>
                        </a:lnTo>
                        <a:lnTo>
                          <a:pt x="932869" y="476048"/>
                        </a:lnTo>
                        <a:lnTo>
                          <a:pt x="902044" y="525355"/>
                        </a:lnTo>
                        <a:lnTo>
                          <a:pt x="889094" y="545962"/>
                        </a:lnTo>
                        <a:lnTo>
                          <a:pt x="886751" y="550778"/>
                        </a:lnTo>
                        <a:lnTo>
                          <a:pt x="886014" y="553663"/>
                        </a:lnTo>
                        <a:lnTo>
                          <a:pt x="879267" y="552926"/>
                        </a:lnTo>
                        <a:lnTo>
                          <a:pt x="878660" y="555985"/>
                        </a:lnTo>
                        <a:lnTo>
                          <a:pt x="878183" y="558870"/>
                        </a:lnTo>
                        <a:lnTo>
                          <a:pt x="877793" y="563946"/>
                        </a:lnTo>
                        <a:lnTo>
                          <a:pt x="878053" y="570453"/>
                        </a:lnTo>
                        <a:lnTo>
                          <a:pt x="877511" y="572645"/>
                        </a:lnTo>
                        <a:lnTo>
                          <a:pt x="876448" y="575074"/>
                        </a:lnTo>
                        <a:lnTo>
                          <a:pt x="873909" y="578567"/>
                        </a:lnTo>
                        <a:lnTo>
                          <a:pt x="872629" y="579912"/>
                        </a:lnTo>
                        <a:lnTo>
                          <a:pt x="871175" y="580996"/>
                        </a:lnTo>
                        <a:lnTo>
                          <a:pt x="863822" y="585269"/>
                        </a:lnTo>
                        <a:lnTo>
                          <a:pt x="862781" y="586072"/>
                        </a:lnTo>
                        <a:lnTo>
                          <a:pt x="860482" y="588133"/>
                        </a:lnTo>
                        <a:lnTo>
                          <a:pt x="857879" y="591279"/>
                        </a:lnTo>
                        <a:lnTo>
                          <a:pt x="856295" y="594011"/>
                        </a:lnTo>
                        <a:lnTo>
                          <a:pt x="855362" y="596679"/>
                        </a:lnTo>
                        <a:lnTo>
                          <a:pt x="855622" y="599739"/>
                        </a:lnTo>
                        <a:lnTo>
                          <a:pt x="856751" y="603448"/>
                        </a:lnTo>
                        <a:lnTo>
                          <a:pt x="868486" y="629609"/>
                        </a:lnTo>
                        <a:lnTo>
                          <a:pt x="882130" y="652234"/>
                        </a:lnTo>
                        <a:lnTo>
                          <a:pt x="884994" y="656095"/>
                        </a:lnTo>
                        <a:lnTo>
                          <a:pt x="889029" y="660607"/>
                        </a:lnTo>
                        <a:lnTo>
                          <a:pt x="895754" y="666833"/>
                        </a:lnTo>
                        <a:lnTo>
                          <a:pt x="903542" y="672755"/>
                        </a:lnTo>
                        <a:lnTo>
                          <a:pt x="904430" y="673666"/>
                        </a:lnTo>
                        <a:lnTo>
                          <a:pt x="906729" y="676899"/>
                        </a:lnTo>
                        <a:lnTo>
                          <a:pt x="912175" y="684491"/>
                        </a:lnTo>
                        <a:lnTo>
                          <a:pt x="915211" y="690022"/>
                        </a:lnTo>
                        <a:lnTo>
                          <a:pt x="916643" y="694252"/>
                        </a:lnTo>
                        <a:lnTo>
                          <a:pt x="917837" y="702973"/>
                        </a:lnTo>
                        <a:lnTo>
                          <a:pt x="918769" y="706595"/>
                        </a:lnTo>
                        <a:lnTo>
                          <a:pt x="920245" y="710500"/>
                        </a:lnTo>
                        <a:lnTo>
                          <a:pt x="922131" y="714448"/>
                        </a:lnTo>
                        <a:lnTo>
                          <a:pt x="925125" y="717203"/>
                        </a:lnTo>
                        <a:lnTo>
                          <a:pt x="930179" y="721064"/>
                        </a:lnTo>
                        <a:lnTo>
                          <a:pt x="935559" y="724470"/>
                        </a:lnTo>
                        <a:lnTo>
                          <a:pt x="941199" y="727442"/>
                        </a:lnTo>
                        <a:lnTo>
                          <a:pt x="944171" y="729438"/>
                        </a:lnTo>
                        <a:lnTo>
                          <a:pt x="947794" y="732344"/>
                        </a:lnTo>
                        <a:lnTo>
                          <a:pt x="951395" y="735967"/>
                        </a:lnTo>
                        <a:lnTo>
                          <a:pt x="955799" y="741997"/>
                        </a:lnTo>
                        <a:lnTo>
                          <a:pt x="957816" y="745924"/>
                        </a:lnTo>
                        <a:lnTo>
                          <a:pt x="959009" y="750132"/>
                        </a:lnTo>
                        <a:lnTo>
                          <a:pt x="959312" y="753148"/>
                        </a:lnTo>
                        <a:lnTo>
                          <a:pt x="959161" y="754514"/>
                        </a:lnTo>
                        <a:lnTo>
                          <a:pt x="959009" y="758332"/>
                        </a:lnTo>
                        <a:lnTo>
                          <a:pt x="959270" y="760870"/>
                        </a:lnTo>
                        <a:lnTo>
                          <a:pt x="959811" y="763408"/>
                        </a:lnTo>
                        <a:lnTo>
                          <a:pt x="961156" y="767118"/>
                        </a:lnTo>
                        <a:lnTo>
                          <a:pt x="962067" y="768961"/>
                        </a:lnTo>
                        <a:lnTo>
                          <a:pt x="963391" y="770696"/>
                        </a:lnTo>
                        <a:lnTo>
                          <a:pt x="965040" y="772216"/>
                        </a:lnTo>
                        <a:lnTo>
                          <a:pt x="966948" y="773495"/>
                        </a:lnTo>
                        <a:lnTo>
                          <a:pt x="970679" y="775187"/>
                        </a:lnTo>
                        <a:lnTo>
                          <a:pt x="980636" y="778029"/>
                        </a:lnTo>
                        <a:lnTo>
                          <a:pt x="987751" y="780870"/>
                        </a:lnTo>
                        <a:lnTo>
                          <a:pt x="991331" y="782671"/>
                        </a:lnTo>
                        <a:lnTo>
                          <a:pt x="994433" y="784493"/>
                        </a:lnTo>
                        <a:lnTo>
                          <a:pt x="1000290" y="788419"/>
                        </a:lnTo>
                        <a:lnTo>
                          <a:pt x="1002784" y="790415"/>
                        </a:lnTo>
                        <a:lnTo>
                          <a:pt x="1006624" y="793495"/>
                        </a:lnTo>
                        <a:lnTo>
                          <a:pt x="1007838" y="795557"/>
                        </a:lnTo>
                        <a:lnTo>
                          <a:pt x="1008857" y="797595"/>
                        </a:lnTo>
                        <a:lnTo>
                          <a:pt x="1010182" y="801370"/>
                        </a:lnTo>
                        <a:lnTo>
                          <a:pt x="1011136" y="806923"/>
                        </a:lnTo>
                        <a:lnTo>
                          <a:pt x="1013175" y="810958"/>
                        </a:lnTo>
                        <a:lnTo>
                          <a:pt x="1014954" y="812910"/>
                        </a:lnTo>
                        <a:lnTo>
                          <a:pt x="1016884" y="814429"/>
                        </a:lnTo>
                        <a:lnTo>
                          <a:pt x="1021461" y="816728"/>
                        </a:lnTo>
                        <a:lnTo>
                          <a:pt x="989053" y="825947"/>
                        </a:lnTo>
                        <a:lnTo>
                          <a:pt x="945299" y="837618"/>
                        </a:lnTo>
                        <a:lnTo>
                          <a:pt x="920744" y="844408"/>
                        </a:lnTo>
                        <a:lnTo>
                          <a:pt x="919311" y="842434"/>
                        </a:lnTo>
                        <a:lnTo>
                          <a:pt x="918682" y="842607"/>
                        </a:lnTo>
                        <a:lnTo>
                          <a:pt x="915169" y="837574"/>
                        </a:lnTo>
                        <a:lnTo>
                          <a:pt x="905428" y="840330"/>
                        </a:lnTo>
                        <a:lnTo>
                          <a:pt x="908487" y="844711"/>
                        </a:lnTo>
                        <a:lnTo>
                          <a:pt x="909073" y="844560"/>
                        </a:lnTo>
                        <a:lnTo>
                          <a:pt x="910200" y="844863"/>
                        </a:lnTo>
                        <a:lnTo>
                          <a:pt x="910548" y="845384"/>
                        </a:lnTo>
                        <a:lnTo>
                          <a:pt x="911350" y="845340"/>
                        </a:lnTo>
                        <a:lnTo>
                          <a:pt x="911676" y="845839"/>
                        </a:lnTo>
                        <a:lnTo>
                          <a:pt x="909441" y="846403"/>
                        </a:lnTo>
                        <a:lnTo>
                          <a:pt x="909876" y="847011"/>
                        </a:lnTo>
                        <a:lnTo>
                          <a:pt x="902956" y="848746"/>
                        </a:lnTo>
                        <a:lnTo>
                          <a:pt x="902760" y="848052"/>
                        </a:lnTo>
                        <a:lnTo>
                          <a:pt x="902088" y="847748"/>
                        </a:lnTo>
                        <a:lnTo>
                          <a:pt x="901263" y="846577"/>
                        </a:lnTo>
                        <a:lnTo>
                          <a:pt x="901480" y="846208"/>
                        </a:lnTo>
                        <a:lnTo>
                          <a:pt x="899962" y="843995"/>
                        </a:lnTo>
                        <a:lnTo>
                          <a:pt x="894821" y="845340"/>
                        </a:lnTo>
                        <a:lnTo>
                          <a:pt x="893215" y="843844"/>
                        </a:lnTo>
                        <a:lnTo>
                          <a:pt x="886360" y="845796"/>
                        </a:lnTo>
                        <a:lnTo>
                          <a:pt x="885428" y="844647"/>
                        </a:lnTo>
                        <a:lnTo>
                          <a:pt x="880569" y="843584"/>
                        </a:lnTo>
                        <a:lnTo>
                          <a:pt x="879050" y="845058"/>
                        </a:lnTo>
                        <a:lnTo>
                          <a:pt x="877705" y="846012"/>
                        </a:lnTo>
                        <a:lnTo>
                          <a:pt x="875514" y="846707"/>
                        </a:lnTo>
                        <a:lnTo>
                          <a:pt x="873887" y="846685"/>
                        </a:lnTo>
                        <a:lnTo>
                          <a:pt x="872824" y="846533"/>
                        </a:lnTo>
                        <a:lnTo>
                          <a:pt x="868161" y="844321"/>
                        </a:lnTo>
                        <a:lnTo>
                          <a:pt x="858963" y="841588"/>
                        </a:lnTo>
                        <a:lnTo>
                          <a:pt x="854386" y="841218"/>
                        </a:lnTo>
                        <a:lnTo>
                          <a:pt x="851305" y="841132"/>
                        </a:lnTo>
                        <a:lnTo>
                          <a:pt x="849266" y="840416"/>
                        </a:lnTo>
                        <a:lnTo>
                          <a:pt x="847466" y="840048"/>
                        </a:lnTo>
                        <a:lnTo>
                          <a:pt x="846230" y="839245"/>
                        </a:lnTo>
                        <a:lnTo>
                          <a:pt x="844451" y="839700"/>
                        </a:lnTo>
                        <a:lnTo>
                          <a:pt x="842737" y="840155"/>
                        </a:lnTo>
                        <a:lnTo>
                          <a:pt x="842086" y="842781"/>
                        </a:lnTo>
                        <a:lnTo>
                          <a:pt x="841240" y="843822"/>
                        </a:lnTo>
                        <a:lnTo>
                          <a:pt x="839918" y="844321"/>
                        </a:lnTo>
                        <a:lnTo>
                          <a:pt x="837314" y="845037"/>
                        </a:lnTo>
                        <a:lnTo>
                          <a:pt x="834949" y="845362"/>
                        </a:lnTo>
                        <a:lnTo>
                          <a:pt x="830437" y="845037"/>
                        </a:lnTo>
                        <a:lnTo>
                          <a:pt x="824493" y="847336"/>
                        </a:lnTo>
                        <a:lnTo>
                          <a:pt x="812303" y="851003"/>
                        </a:lnTo>
                        <a:lnTo>
                          <a:pt x="806337" y="852477"/>
                        </a:lnTo>
                        <a:lnTo>
                          <a:pt x="800632" y="853518"/>
                        </a:lnTo>
                        <a:lnTo>
                          <a:pt x="799092" y="853713"/>
                        </a:lnTo>
                        <a:lnTo>
                          <a:pt x="792476" y="853605"/>
                        </a:lnTo>
                        <a:lnTo>
                          <a:pt x="789201" y="848985"/>
                        </a:lnTo>
                        <a:lnTo>
                          <a:pt x="786727" y="849592"/>
                        </a:lnTo>
                        <a:lnTo>
                          <a:pt x="791066" y="855970"/>
                        </a:lnTo>
                        <a:lnTo>
                          <a:pt x="787313" y="856946"/>
                        </a:lnTo>
                        <a:lnTo>
                          <a:pt x="786098" y="855189"/>
                        </a:lnTo>
                        <a:lnTo>
                          <a:pt x="760371" y="861696"/>
                        </a:lnTo>
                        <a:lnTo>
                          <a:pt x="758137" y="858660"/>
                        </a:lnTo>
                        <a:lnTo>
                          <a:pt x="729654" y="866339"/>
                        </a:lnTo>
                        <a:lnTo>
                          <a:pt x="718960" y="869072"/>
                        </a:lnTo>
                        <a:lnTo>
                          <a:pt x="691389" y="875407"/>
                        </a:lnTo>
                        <a:lnTo>
                          <a:pt x="670304" y="880439"/>
                        </a:lnTo>
                        <a:lnTo>
                          <a:pt x="670304" y="884451"/>
                        </a:lnTo>
                        <a:lnTo>
                          <a:pt x="667940" y="886881"/>
                        </a:lnTo>
                        <a:lnTo>
                          <a:pt x="662299" y="886209"/>
                        </a:lnTo>
                        <a:lnTo>
                          <a:pt x="661908" y="885949"/>
                        </a:lnTo>
                        <a:lnTo>
                          <a:pt x="661106" y="882738"/>
                        </a:lnTo>
                        <a:lnTo>
                          <a:pt x="660368" y="882847"/>
                        </a:lnTo>
                        <a:lnTo>
                          <a:pt x="621951" y="892088"/>
                        </a:lnTo>
                        <a:lnTo>
                          <a:pt x="611213" y="894496"/>
                        </a:lnTo>
                        <a:lnTo>
                          <a:pt x="611083" y="894300"/>
                        </a:lnTo>
                        <a:lnTo>
                          <a:pt x="591083" y="899289"/>
                        </a:lnTo>
                        <a:lnTo>
                          <a:pt x="590888" y="899029"/>
                        </a:lnTo>
                        <a:lnTo>
                          <a:pt x="581430" y="901394"/>
                        </a:lnTo>
                        <a:lnTo>
                          <a:pt x="581647" y="901784"/>
                        </a:lnTo>
                        <a:lnTo>
                          <a:pt x="537438" y="913172"/>
                        </a:lnTo>
                        <a:lnTo>
                          <a:pt x="519216" y="917641"/>
                        </a:lnTo>
                        <a:lnTo>
                          <a:pt x="435505" y="939225"/>
                        </a:lnTo>
                        <a:lnTo>
                          <a:pt x="414636" y="936774"/>
                        </a:lnTo>
                        <a:lnTo>
                          <a:pt x="419127" y="922457"/>
                        </a:lnTo>
                        <a:lnTo>
                          <a:pt x="428910" y="910027"/>
                        </a:lnTo>
                        <a:lnTo>
                          <a:pt x="409734" y="904192"/>
                        </a:lnTo>
                        <a:lnTo>
                          <a:pt x="403790" y="902717"/>
                        </a:lnTo>
                        <a:lnTo>
                          <a:pt x="402228" y="902608"/>
                        </a:lnTo>
                        <a:lnTo>
                          <a:pt x="399061" y="903129"/>
                        </a:lnTo>
                        <a:lnTo>
                          <a:pt x="390450" y="904973"/>
                        </a:lnTo>
                        <a:lnTo>
                          <a:pt x="386892" y="906036"/>
                        </a:lnTo>
                        <a:lnTo>
                          <a:pt x="384158" y="906448"/>
                        </a:lnTo>
                        <a:lnTo>
                          <a:pt x="381165" y="906643"/>
                        </a:lnTo>
                        <a:lnTo>
                          <a:pt x="377824" y="906730"/>
                        </a:lnTo>
                        <a:lnTo>
                          <a:pt x="372401" y="906383"/>
                        </a:lnTo>
                        <a:lnTo>
                          <a:pt x="337672" y="906643"/>
                        </a:lnTo>
                        <a:lnTo>
                          <a:pt x="331424" y="906535"/>
                        </a:lnTo>
                        <a:lnTo>
                          <a:pt x="326109" y="906405"/>
                        </a:lnTo>
                        <a:lnTo>
                          <a:pt x="301141" y="906600"/>
                        </a:lnTo>
                        <a:lnTo>
                          <a:pt x="301011" y="903758"/>
                        </a:lnTo>
                        <a:lnTo>
                          <a:pt x="301120" y="844885"/>
                        </a:lnTo>
                        <a:lnTo>
                          <a:pt x="314677" y="840741"/>
                        </a:lnTo>
                        <a:lnTo>
                          <a:pt x="313506" y="788311"/>
                        </a:lnTo>
                        <a:lnTo>
                          <a:pt x="308192" y="788311"/>
                        </a:lnTo>
                        <a:lnTo>
                          <a:pt x="307562" y="769699"/>
                        </a:lnTo>
                        <a:lnTo>
                          <a:pt x="336001" y="769373"/>
                        </a:lnTo>
                        <a:lnTo>
                          <a:pt x="335155" y="748613"/>
                        </a:lnTo>
                        <a:lnTo>
                          <a:pt x="333572" y="744731"/>
                        </a:lnTo>
                        <a:lnTo>
                          <a:pt x="332205" y="744947"/>
                        </a:lnTo>
                        <a:lnTo>
                          <a:pt x="318799" y="715880"/>
                        </a:lnTo>
                        <a:lnTo>
                          <a:pt x="296521" y="667571"/>
                        </a:lnTo>
                        <a:lnTo>
                          <a:pt x="297150" y="667006"/>
                        </a:lnTo>
                        <a:lnTo>
                          <a:pt x="289601" y="650585"/>
                        </a:lnTo>
                        <a:lnTo>
                          <a:pt x="276282" y="652864"/>
                        </a:lnTo>
                        <a:lnTo>
                          <a:pt x="273766" y="647353"/>
                        </a:lnTo>
                        <a:lnTo>
                          <a:pt x="260186" y="649435"/>
                        </a:lnTo>
                        <a:lnTo>
                          <a:pt x="251813" y="650542"/>
                        </a:lnTo>
                        <a:lnTo>
                          <a:pt x="240402" y="651692"/>
                        </a:lnTo>
                        <a:lnTo>
                          <a:pt x="230597" y="652342"/>
                        </a:lnTo>
                        <a:lnTo>
                          <a:pt x="221551" y="652646"/>
                        </a:lnTo>
                        <a:lnTo>
                          <a:pt x="164001" y="653362"/>
                        </a:lnTo>
                        <a:lnTo>
                          <a:pt x="163850" y="648134"/>
                        </a:lnTo>
                        <a:lnTo>
                          <a:pt x="164067" y="644273"/>
                        </a:lnTo>
                        <a:lnTo>
                          <a:pt x="167277" y="624272"/>
                        </a:lnTo>
                        <a:lnTo>
                          <a:pt x="168992" y="604012"/>
                        </a:lnTo>
                        <a:lnTo>
                          <a:pt x="170184" y="603665"/>
                        </a:lnTo>
                        <a:lnTo>
                          <a:pt x="170206" y="602927"/>
                        </a:lnTo>
                        <a:lnTo>
                          <a:pt x="173959" y="602971"/>
                        </a:lnTo>
                        <a:lnTo>
                          <a:pt x="174176" y="596376"/>
                        </a:lnTo>
                        <a:lnTo>
                          <a:pt x="154631" y="595812"/>
                        </a:lnTo>
                        <a:lnTo>
                          <a:pt x="134110" y="595096"/>
                        </a:lnTo>
                        <a:lnTo>
                          <a:pt x="126973" y="594532"/>
                        </a:lnTo>
                        <a:lnTo>
                          <a:pt x="121354" y="593882"/>
                        </a:lnTo>
                        <a:lnTo>
                          <a:pt x="7144" y="576028"/>
                        </a:lnTo>
                        <a:lnTo>
                          <a:pt x="9053" y="571473"/>
                        </a:lnTo>
                        <a:lnTo>
                          <a:pt x="9378" y="571516"/>
                        </a:lnTo>
                        <a:lnTo>
                          <a:pt x="10180" y="569565"/>
                        </a:lnTo>
                        <a:lnTo>
                          <a:pt x="10506" y="569565"/>
                        </a:lnTo>
                        <a:lnTo>
                          <a:pt x="36688" y="506613"/>
                        </a:lnTo>
                        <a:lnTo>
                          <a:pt x="50246" y="474486"/>
                        </a:lnTo>
                        <a:lnTo>
                          <a:pt x="53262" y="467241"/>
                        </a:lnTo>
                        <a:lnTo>
                          <a:pt x="53240" y="466720"/>
                        </a:lnTo>
                        <a:lnTo>
                          <a:pt x="56538" y="459128"/>
                        </a:lnTo>
                        <a:lnTo>
                          <a:pt x="56884" y="459193"/>
                        </a:lnTo>
                        <a:lnTo>
                          <a:pt x="57492" y="457739"/>
                        </a:lnTo>
                        <a:lnTo>
                          <a:pt x="57341" y="457718"/>
                        </a:lnTo>
                        <a:lnTo>
                          <a:pt x="57991" y="456199"/>
                        </a:lnTo>
                        <a:lnTo>
                          <a:pt x="57188" y="456307"/>
                        </a:lnTo>
                        <a:lnTo>
                          <a:pt x="58902" y="452252"/>
                        </a:lnTo>
                        <a:lnTo>
                          <a:pt x="60789" y="447718"/>
                        </a:lnTo>
                        <a:lnTo>
                          <a:pt x="61049" y="447761"/>
                        </a:lnTo>
                        <a:lnTo>
                          <a:pt x="61722" y="446156"/>
                        </a:lnTo>
                        <a:lnTo>
                          <a:pt x="62134" y="446221"/>
                        </a:lnTo>
                        <a:lnTo>
                          <a:pt x="62221" y="446069"/>
                        </a:lnTo>
                        <a:lnTo>
                          <a:pt x="67405" y="433618"/>
                        </a:lnTo>
                        <a:lnTo>
                          <a:pt x="67210" y="433574"/>
                        </a:lnTo>
                        <a:lnTo>
                          <a:pt x="69270" y="428259"/>
                        </a:lnTo>
                        <a:lnTo>
                          <a:pt x="69401" y="427977"/>
                        </a:lnTo>
                        <a:lnTo>
                          <a:pt x="69748" y="428043"/>
                        </a:lnTo>
                        <a:lnTo>
                          <a:pt x="71678" y="423531"/>
                        </a:lnTo>
                        <a:lnTo>
                          <a:pt x="71310" y="423465"/>
                        </a:lnTo>
                        <a:lnTo>
                          <a:pt x="74477" y="415917"/>
                        </a:lnTo>
                        <a:lnTo>
                          <a:pt x="74564" y="415700"/>
                        </a:lnTo>
                        <a:lnTo>
                          <a:pt x="74889" y="415743"/>
                        </a:lnTo>
                        <a:lnTo>
                          <a:pt x="76733" y="411296"/>
                        </a:lnTo>
                        <a:lnTo>
                          <a:pt x="76365" y="411231"/>
                        </a:lnTo>
                        <a:lnTo>
                          <a:pt x="79575" y="403595"/>
                        </a:lnTo>
                        <a:lnTo>
                          <a:pt x="79922" y="403660"/>
                        </a:lnTo>
                        <a:lnTo>
                          <a:pt x="81701" y="399582"/>
                        </a:lnTo>
                        <a:lnTo>
                          <a:pt x="81852" y="399170"/>
                        </a:lnTo>
                        <a:lnTo>
                          <a:pt x="81462" y="399083"/>
                        </a:lnTo>
                        <a:lnTo>
                          <a:pt x="84347" y="392272"/>
                        </a:lnTo>
                        <a:lnTo>
                          <a:pt x="84737" y="392337"/>
                        </a:lnTo>
                        <a:lnTo>
                          <a:pt x="85389" y="390818"/>
                        </a:lnTo>
                        <a:lnTo>
                          <a:pt x="84890" y="390754"/>
                        </a:lnTo>
                        <a:lnTo>
                          <a:pt x="85887" y="388562"/>
                        </a:lnTo>
                        <a:lnTo>
                          <a:pt x="85475" y="388475"/>
                        </a:lnTo>
                        <a:lnTo>
                          <a:pt x="88447" y="381447"/>
                        </a:lnTo>
                        <a:lnTo>
                          <a:pt x="88707" y="381491"/>
                        </a:lnTo>
                        <a:lnTo>
                          <a:pt x="89424" y="379777"/>
                        </a:lnTo>
                        <a:lnTo>
                          <a:pt x="89575" y="379799"/>
                        </a:lnTo>
                        <a:lnTo>
                          <a:pt x="92330" y="371208"/>
                        </a:lnTo>
                        <a:lnTo>
                          <a:pt x="92633" y="371252"/>
                        </a:lnTo>
                        <a:lnTo>
                          <a:pt x="93197" y="369018"/>
                        </a:lnTo>
                        <a:lnTo>
                          <a:pt x="93002" y="368996"/>
                        </a:lnTo>
                        <a:lnTo>
                          <a:pt x="94695" y="361099"/>
                        </a:lnTo>
                        <a:lnTo>
                          <a:pt x="94977" y="361121"/>
                        </a:lnTo>
                        <a:lnTo>
                          <a:pt x="95367" y="358822"/>
                        </a:lnTo>
                        <a:lnTo>
                          <a:pt x="95041" y="358800"/>
                        </a:lnTo>
                        <a:lnTo>
                          <a:pt x="96126" y="350275"/>
                        </a:lnTo>
                        <a:lnTo>
                          <a:pt x="96408" y="350297"/>
                        </a:lnTo>
                        <a:lnTo>
                          <a:pt x="96582" y="348757"/>
                        </a:lnTo>
                        <a:lnTo>
                          <a:pt x="96235" y="348757"/>
                        </a:lnTo>
                        <a:lnTo>
                          <a:pt x="96473" y="345091"/>
                        </a:lnTo>
                        <a:lnTo>
                          <a:pt x="96278" y="339820"/>
                        </a:lnTo>
                        <a:lnTo>
                          <a:pt x="96560" y="339798"/>
                        </a:lnTo>
                        <a:lnTo>
                          <a:pt x="95671" y="331381"/>
                        </a:lnTo>
                        <a:lnTo>
                          <a:pt x="96235" y="331360"/>
                        </a:lnTo>
                        <a:lnTo>
                          <a:pt x="95627" y="327975"/>
                        </a:lnTo>
                        <a:lnTo>
                          <a:pt x="94413" y="327975"/>
                        </a:lnTo>
                        <a:lnTo>
                          <a:pt x="92156" y="318647"/>
                        </a:lnTo>
                        <a:lnTo>
                          <a:pt x="104716" y="318257"/>
                        </a:lnTo>
                        <a:lnTo>
                          <a:pt x="179729" y="316847"/>
                        </a:lnTo>
                        <a:lnTo>
                          <a:pt x="193590" y="317107"/>
                        </a:lnTo>
                        <a:lnTo>
                          <a:pt x="207604" y="316803"/>
                        </a:lnTo>
                        <a:lnTo>
                          <a:pt x="212680" y="316695"/>
                        </a:lnTo>
                        <a:lnTo>
                          <a:pt x="212680" y="315958"/>
                        </a:lnTo>
                        <a:lnTo>
                          <a:pt x="212354" y="315871"/>
                        </a:lnTo>
                        <a:lnTo>
                          <a:pt x="210945" y="289015"/>
                        </a:lnTo>
                        <a:lnTo>
                          <a:pt x="211552" y="277345"/>
                        </a:lnTo>
                        <a:lnTo>
                          <a:pt x="209642" y="243353"/>
                        </a:lnTo>
                        <a:lnTo>
                          <a:pt x="209447" y="237539"/>
                        </a:lnTo>
                        <a:lnTo>
                          <a:pt x="209990" y="237561"/>
                        </a:lnTo>
                        <a:lnTo>
                          <a:pt x="209946" y="234004"/>
                        </a:lnTo>
                        <a:lnTo>
                          <a:pt x="209404" y="234004"/>
                        </a:lnTo>
                        <a:lnTo>
                          <a:pt x="209447" y="234459"/>
                        </a:lnTo>
                        <a:lnTo>
                          <a:pt x="203092" y="234459"/>
                        </a:lnTo>
                        <a:lnTo>
                          <a:pt x="197582" y="130227"/>
                        </a:lnTo>
                        <a:lnTo>
                          <a:pt x="197799" y="120856"/>
                        </a:lnTo>
                        <a:lnTo>
                          <a:pt x="198818" y="110639"/>
                        </a:lnTo>
                        <a:lnTo>
                          <a:pt x="200098" y="103306"/>
                        </a:lnTo>
                        <a:lnTo>
                          <a:pt x="201942" y="95519"/>
                        </a:lnTo>
                        <a:lnTo>
                          <a:pt x="213461" y="93654"/>
                        </a:lnTo>
                        <a:lnTo>
                          <a:pt x="215326" y="93090"/>
                        </a:lnTo>
                        <a:lnTo>
                          <a:pt x="226324" y="92243"/>
                        </a:lnTo>
                        <a:lnTo>
                          <a:pt x="227583" y="91592"/>
                        </a:lnTo>
                        <a:lnTo>
                          <a:pt x="228450" y="91506"/>
                        </a:lnTo>
                        <a:lnTo>
                          <a:pt x="238516" y="91093"/>
                        </a:lnTo>
                        <a:lnTo>
                          <a:pt x="254763" y="90790"/>
                        </a:lnTo>
                        <a:lnTo>
                          <a:pt x="254785" y="92156"/>
                        </a:lnTo>
                        <a:lnTo>
                          <a:pt x="262551" y="92135"/>
                        </a:lnTo>
                        <a:lnTo>
                          <a:pt x="262507" y="91918"/>
                        </a:lnTo>
                        <a:lnTo>
                          <a:pt x="304830" y="91550"/>
                        </a:lnTo>
                        <a:lnTo>
                          <a:pt x="336349" y="91354"/>
                        </a:lnTo>
                        <a:lnTo>
                          <a:pt x="336349" y="91614"/>
                        </a:lnTo>
                        <a:lnTo>
                          <a:pt x="343247" y="91570"/>
                        </a:lnTo>
                        <a:lnTo>
                          <a:pt x="343182" y="91310"/>
                        </a:lnTo>
                        <a:lnTo>
                          <a:pt x="433010" y="90747"/>
                        </a:lnTo>
                        <a:lnTo>
                          <a:pt x="432945" y="91072"/>
                        </a:lnTo>
                        <a:lnTo>
                          <a:pt x="447132" y="90986"/>
                        </a:lnTo>
                        <a:lnTo>
                          <a:pt x="447262" y="93436"/>
                        </a:lnTo>
                        <a:lnTo>
                          <a:pt x="474985" y="93393"/>
                        </a:lnTo>
                        <a:lnTo>
                          <a:pt x="484790" y="93480"/>
                        </a:lnTo>
                        <a:lnTo>
                          <a:pt x="492707" y="93849"/>
                        </a:lnTo>
                        <a:lnTo>
                          <a:pt x="501125" y="94435"/>
                        </a:lnTo>
                        <a:lnTo>
                          <a:pt x="518869" y="96560"/>
                        </a:lnTo>
                        <a:lnTo>
                          <a:pt x="527502" y="98057"/>
                        </a:lnTo>
                        <a:lnTo>
                          <a:pt x="536635" y="99857"/>
                        </a:lnTo>
                        <a:lnTo>
                          <a:pt x="545811" y="102070"/>
                        </a:lnTo>
                        <a:lnTo>
                          <a:pt x="554878" y="104478"/>
                        </a:lnTo>
                        <a:lnTo>
                          <a:pt x="562774" y="106908"/>
                        </a:lnTo>
                        <a:lnTo>
                          <a:pt x="576679" y="112157"/>
                        </a:lnTo>
                        <a:lnTo>
                          <a:pt x="582753" y="114738"/>
                        </a:lnTo>
                        <a:lnTo>
                          <a:pt x="593686" y="120226"/>
                        </a:lnTo>
                        <a:lnTo>
                          <a:pt x="599478" y="123459"/>
                        </a:lnTo>
                        <a:lnTo>
                          <a:pt x="609912" y="130118"/>
                        </a:lnTo>
                        <a:lnTo>
                          <a:pt x="616072" y="134501"/>
                        </a:lnTo>
                        <a:lnTo>
                          <a:pt x="633773" y="148253"/>
                        </a:lnTo>
                        <a:lnTo>
                          <a:pt x="633600" y="148340"/>
                        </a:lnTo>
                        <a:lnTo>
                          <a:pt x="649024" y="145108"/>
                        </a:lnTo>
                        <a:lnTo>
                          <a:pt x="662408" y="142309"/>
                        </a:lnTo>
                        <a:lnTo>
                          <a:pt x="663839" y="141962"/>
                        </a:lnTo>
                        <a:lnTo>
                          <a:pt x="664491" y="141051"/>
                        </a:lnTo>
                        <a:lnTo>
                          <a:pt x="665337" y="141203"/>
                        </a:lnTo>
                        <a:lnTo>
                          <a:pt x="669327" y="134803"/>
                        </a:lnTo>
                        <a:lnTo>
                          <a:pt x="673189" y="131636"/>
                        </a:lnTo>
                        <a:lnTo>
                          <a:pt x="673883" y="131940"/>
                        </a:lnTo>
                        <a:lnTo>
                          <a:pt x="674208" y="131658"/>
                        </a:lnTo>
                        <a:lnTo>
                          <a:pt x="680564" y="134197"/>
                        </a:lnTo>
                        <a:lnTo>
                          <a:pt x="685532" y="135715"/>
                        </a:lnTo>
                        <a:lnTo>
                          <a:pt x="691410" y="137125"/>
                        </a:lnTo>
                        <a:lnTo>
                          <a:pt x="695272" y="137754"/>
                        </a:lnTo>
                        <a:lnTo>
                          <a:pt x="698721" y="138101"/>
                        </a:lnTo>
                        <a:lnTo>
                          <a:pt x="786966" y="96452"/>
                        </a:lnTo>
                        <a:lnTo>
                          <a:pt x="791478" y="100400"/>
                        </a:lnTo>
                        <a:lnTo>
                          <a:pt x="791673" y="101961"/>
                        </a:lnTo>
                        <a:lnTo>
                          <a:pt x="795730" y="107103"/>
                        </a:lnTo>
                        <a:lnTo>
                          <a:pt x="797639" y="110335"/>
                        </a:lnTo>
                        <a:lnTo>
                          <a:pt x="813626" y="107514"/>
                        </a:lnTo>
                        <a:lnTo>
                          <a:pt x="817227" y="107190"/>
                        </a:lnTo>
                        <a:lnTo>
                          <a:pt x="820090" y="107146"/>
                        </a:lnTo>
                        <a:lnTo>
                          <a:pt x="886014" y="113046"/>
                        </a:lnTo>
                        <a:lnTo>
                          <a:pt x="888682" y="113133"/>
                        </a:lnTo>
                        <a:lnTo>
                          <a:pt x="892088" y="112982"/>
                        </a:lnTo>
                        <a:lnTo>
                          <a:pt x="895754" y="112439"/>
                        </a:lnTo>
                        <a:lnTo>
                          <a:pt x="898140" y="111897"/>
                        </a:lnTo>
                        <a:lnTo>
                          <a:pt x="901697" y="110639"/>
                        </a:lnTo>
                        <a:lnTo>
                          <a:pt x="1094826" y="11742"/>
                        </a:lnTo>
                        <a:lnTo>
                          <a:pt x="1103112" y="7144"/>
                        </a:lnTo>
                        <a:lnTo>
                          <a:pt x="1188016" y="71462"/>
                        </a:lnTo>
                        <a:lnTo>
                          <a:pt x="1226737" y="99662"/>
                        </a:lnTo>
                        <a:lnTo>
                          <a:pt x="1236434" y="106734"/>
                        </a:lnTo>
                        <a:lnTo>
                          <a:pt x="1250577" y="119316"/>
                        </a:lnTo>
                        <a:lnTo>
                          <a:pt x="1262638" y="133242"/>
                        </a:lnTo>
                        <a:lnTo>
                          <a:pt x="1272291" y="149295"/>
                        </a:lnTo>
                        <a:lnTo>
                          <a:pt x="1279363" y="166041"/>
                        </a:lnTo>
                        <a:lnTo>
                          <a:pt x="1294310" y="211856"/>
                        </a:lnTo>
                        <a:lnTo>
                          <a:pt x="1303181" y="238950"/>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55" name="Freeform: Shape 54">
                    <a:extLst>
                      <a:ext uri="{FF2B5EF4-FFF2-40B4-BE49-F238E27FC236}">
                        <a16:creationId xmlns:a16="http://schemas.microsoft.com/office/drawing/2014/main" id="{5AE1557B-24DC-4BF9-A2F7-55A23B83AE02}"/>
                      </a:ext>
                    </a:extLst>
                  </p:cNvPr>
                  <p:cNvSpPr/>
                  <p:nvPr/>
                </p:nvSpPr>
                <p:spPr>
                  <a:xfrm>
                    <a:off x="4977833" y="4015294"/>
                    <a:ext cx="592477" cy="682115"/>
                  </a:xfrm>
                  <a:custGeom>
                    <a:avLst/>
                    <a:gdLst>
                      <a:gd name="connsiteX0" fmla="*/ 2047254 w 2085975"/>
                      <a:gd name="connsiteY0" fmla="*/ 926232 h 1600200"/>
                      <a:gd name="connsiteX1" fmla="*/ 2048166 w 2085975"/>
                      <a:gd name="connsiteY1" fmla="*/ 978445 h 1600200"/>
                      <a:gd name="connsiteX2" fmla="*/ 1957209 w 2085975"/>
                      <a:gd name="connsiteY2" fmla="*/ 979010 h 1600200"/>
                      <a:gd name="connsiteX3" fmla="*/ 1958358 w 2085975"/>
                      <a:gd name="connsiteY3" fmla="*/ 1052460 h 1600200"/>
                      <a:gd name="connsiteX4" fmla="*/ 1974714 w 2085975"/>
                      <a:gd name="connsiteY4" fmla="*/ 1052331 h 1600200"/>
                      <a:gd name="connsiteX5" fmla="*/ 1974932 w 2085975"/>
                      <a:gd name="connsiteY5" fmla="*/ 1063567 h 1600200"/>
                      <a:gd name="connsiteX6" fmla="*/ 1976862 w 2085975"/>
                      <a:gd name="connsiteY6" fmla="*/ 1165565 h 1600200"/>
                      <a:gd name="connsiteX7" fmla="*/ 1976905 w 2085975"/>
                      <a:gd name="connsiteY7" fmla="*/ 1167799 h 1600200"/>
                      <a:gd name="connsiteX8" fmla="*/ 1978685 w 2085975"/>
                      <a:gd name="connsiteY8" fmla="*/ 1167799 h 1600200"/>
                      <a:gd name="connsiteX9" fmla="*/ 1980658 w 2085975"/>
                      <a:gd name="connsiteY9" fmla="*/ 1168059 h 1600200"/>
                      <a:gd name="connsiteX10" fmla="*/ 1986342 w 2085975"/>
                      <a:gd name="connsiteY10" fmla="*/ 1170337 h 1600200"/>
                      <a:gd name="connsiteX11" fmla="*/ 1981721 w 2085975"/>
                      <a:gd name="connsiteY11" fmla="*/ 1174502 h 1600200"/>
                      <a:gd name="connsiteX12" fmla="*/ 1977058 w 2085975"/>
                      <a:gd name="connsiteY12" fmla="*/ 1177713 h 1600200"/>
                      <a:gd name="connsiteX13" fmla="*/ 1971330 w 2085975"/>
                      <a:gd name="connsiteY13" fmla="*/ 1180706 h 1600200"/>
                      <a:gd name="connsiteX14" fmla="*/ 1967686 w 2085975"/>
                      <a:gd name="connsiteY14" fmla="*/ 1182203 h 1600200"/>
                      <a:gd name="connsiteX15" fmla="*/ 1964346 w 2085975"/>
                      <a:gd name="connsiteY15" fmla="*/ 1183353 h 1600200"/>
                      <a:gd name="connsiteX16" fmla="*/ 1960333 w 2085975"/>
                      <a:gd name="connsiteY16" fmla="*/ 1184502 h 1600200"/>
                      <a:gd name="connsiteX17" fmla="*/ 1956602 w 2085975"/>
                      <a:gd name="connsiteY17" fmla="*/ 1185370 h 1600200"/>
                      <a:gd name="connsiteX18" fmla="*/ 1948879 w 2085975"/>
                      <a:gd name="connsiteY18" fmla="*/ 1186520 h 1600200"/>
                      <a:gd name="connsiteX19" fmla="*/ 1942978 w 2085975"/>
                      <a:gd name="connsiteY19" fmla="*/ 1186866 h 1600200"/>
                      <a:gd name="connsiteX20" fmla="*/ 1929573 w 2085975"/>
                      <a:gd name="connsiteY20" fmla="*/ 1186650 h 1600200"/>
                      <a:gd name="connsiteX21" fmla="*/ 1915971 w 2085975"/>
                      <a:gd name="connsiteY21" fmla="*/ 1186107 h 1600200"/>
                      <a:gd name="connsiteX22" fmla="*/ 1905320 w 2085975"/>
                      <a:gd name="connsiteY22" fmla="*/ 1185435 h 1600200"/>
                      <a:gd name="connsiteX23" fmla="*/ 1905255 w 2085975"/>
                      <a:gd name="connsiteY23" fmla="*/ 1185630 h 1600200"/>
                      <a:gd name="connsiteX24" fmla="*/ 1896557 w 2085975"/>
                      <a:gd name="connsiteY24" fmla="*/ 1185066 h 1600200"/>
                      <a:gd name="connsiteX25" fmla="*/ 1896622 w 2085975"/>
                      <a:gd name="connsiteY25" fmla="*/ 1194155 h 1600200"/>
                      <a:gd name="connsiteX26" fmla="*/ 1893107 w 2085975"/>
                      <a:gd name="connsiteY26" fmla="*/ 1194503 h 1600200"/>
                      <a:gd name="connsiteX27" fmla="*/ 1891806 w 2085975"/>
                      <a:gd name="connsiteY27" fmla="*/ 1194893 h 1600200"/>
                      <a:gd name="connsiteX28" fmla="*/ 1890396 w 2085975"/>
                      <a:gd name="connsiteY28" fmla="*/ 1195891 h 1600200"/>
                      <a:gd name="connsiteX29" fmla="*/ 1889897 w 2085975"/>
                      <a:gd name="connsiteY29" fmla="*/ 1196911 h 1600200"/>
                      <a:gd name="connsiteX30" fmla="*/ 1889875 w 2085975"/>
                      <a:gd name="connsiteY30" fmla="*/ 1197431 h 1600200"/>
                      <a:gd name="connsiteX31" fmla="*/ 1890461 w 2085975"/>
                      <a:gd name="connsiteY31" fmla="*/ 1198342 h 1600200"/>
                      <a:gd name="connsiteX32" fmla="*/ 1890093 w 2085975"/>
                      <a:gd name="connsiteY32" fmla="*/ 1204936 h 1600200"/>
                      <a:gd name="connsiteX33" fmla="*/ 1887511 w 2085975"/>
                      <a:gd name="connsiteY33" fmla="*/ 1225913 h 1600200"/>
                      <a:gd name="connsiteX34" fmla="*/ 1887055 w 2085975"/>
                      <a:gd name="connsiteY34" fmla="*/ 1233289 h 1600200"/>
                      <a:gd name="connsiteX35" fmla="*/ 1887034 w 2085975"/>
                      <a:gd name="connsiteY35" fmla="*/ 1238821 h 1600200"/>
                      <a:gd name="connsiteX36" fmla="*/ 1887250 w 2085975"/>
                      <a:gd name="connsiteY36" fmla="*/ 1238821 h 1600200"/>
                      <a:gd name="connsiteX37" fmla="*/ 1887316 w 2085975"/>
                      <a:gd name="connsiteY37" fmla="*/ 1240273 h 1600200"/>
                      <a:gd name="connsiteX38" fmla="*/ 1886839 w 2085975"/>
                      <a:gd name="connsiteY38" fmla="*/ 1240361 h 1600200"/>
                      <a:gd name="connsiteX39" fmla="*/ 1887034 w 2085975"/>
                      <a:gd name="connsiteY39" fmla="*/ 1243788 h 1600200"/>
                      <a:gd name="connsiteX40" fmla="*/ 1887359 w 2085975"/>
                      <a:gd name="connsiteY40" fmla="*/ 1243788 h 1600200"/>
                      <a:gd name="connsiteX41" fmla="*/ 1887381 w 2085975"/>
                      <a:gd name="connsiteY41" fmla="*/ 1245284 h 1600200"/>
                      <a:gd name="connsiteX42" fmla="*/ 1887576 w 2085975"/>
                      <a:gd name="connsiteY42" fmla="*/ 1245479 h 1600200"/>
                      <a:gd name="connsiteX43" fmla="*/ 1891394 w 2085975"/>
                      <a:gd name="connsiteY43" fmla="*/ 1276717 h 1600200"/>
                      <a:gd name="connsiteX44" fmla="*/ 1895255 w 2085975"/>
                      <a:gd name="connsiteY44" fmla="*/ 1301447 h 1600200"/>
                      <a:gd name="connsiteX45" fmla="*/ 1897945 w 2085975"/>
                      <a:gd name="connsiteY45" fmla="*/ 1315178 h 1600200"/>
                      <a:gd name="connsiteX46" fmla="*/ 1899767 w 2085975"/>
                      <a:gd name="connsiteY46" fmla="*/ 1320796 h 1600200"/>
                      <a:gd name="connsiteX47" fmla="*/ 1902240 w 2085975"/>
                      <a:gd name="connsiteY47" fmla="*/ 1325764 h 1600200"/>
                      <a:gd name="connsiteX48" fmla="*/ 1905386 w 2085975"/>
                      <a:gd name="connsiteY48" fmla="*/ 1330405 h 1600200"/>
                      <a:gd name="connsiteX49" fmla="*/ 1908813 w 2085975"/>
                      <a:gd name="connsiteY49" fmla="*/ 1334354 h 1600200"/>
                      <a:gd name="connsiteX50" fmla="*/ 1913564 w 2085975"/>
                      <a:gd name="connsiteY50" fmla="*/ 1338714 h 1600200"/>
                      <a:gd name="connsiteX51" fmla="*/ 1917555 w 2085975"/>
                      <a:gd name="connsiteY51" fmla="*/ 1341686 h 1600200"/>
                      <a:gd name="connsiteX52" fmla="*/ 1923303 w 2085975"/>
                      <a:gd name="connsiteY52" fmla="*/ 1345287 h 1600200"/>
                      <a:gd name="connsiteX53" fmla="*/ 1927209 w 2085975"/>
                      <a:gd name="connsiteY53" fmla="*/ 1347239 h 1600200"/>
                      <a:gd name="connsiteX54" fmla="*/ 1934995 w 2085975"/>
                      <a:gd name="connsiteY54" fmla="*/ 1350428 h 1600200"/>
                      <a:gd name="connsiteX55" fmla="*/ 1941526 w 2085975"/>
                      <a:gd name="connsiteY55" fmla="*/ 1352489 h 1600200"/>
                      <a:gd name="connsiteX56" fmla="*/ 1947403 w 2085975"/>
                      <a:gd name="connsiteY56" fmla="*/ 1353986 h 1600200"/>
                      <a:gd name="connsiteX57" fmla="*/ 1953022 w 2085975"/>
                      <a:gd name="connsiteY57" fmla="*/ 1355070 h 1600200"/>
                      <a:gd name="connsiteX58" fmla="*/ 1960484 w 2085975"/>
                      <a:gd name="connsiteY58" fmla="*/ 1356047 h 1600200"/>
                      <a:gd name="connsiteX59" fmla="*/ 1969335 w 2085975"/>
                      <a:gd name="connsiteY59" fmla="*/ 1356653 h 1600200"/>
                      <a:gd name="connsiteX60" fmla="*/ 1978142 w 2085975"/>
                      <a:gd name="connsiteY60" fmla="*/ 1356784 h 1600200"/>
                      <a:gd name="connsiteX61" fmla="*/ 1983456 w 2085975"/>
                      <a:gd name="connsiteY61" fmla="*/ 1356589 h 1600200"/>
                      <a:gd name="connsiteX62" fmla="*/ 1984346 w 2085975"/>
                      <a:gd name="connsiteY62" fmla="*/ 1356415 h 1600200"/>
                      <a:gd name="connsiteX63" fmla="*/ 1984411 w 2085975"/>
                      <a:gd name="connsiteY63" fmla="*/ 1356675 h 1600200"/>
                      <a:gd name="connsiteX64" fmla="*/ 1984759 w 2085975"/>
                      <a:gd name="connsiteY64" fmla="*/ 1356697 h 1600200"/>
                      <a:gd name="connsiteX65" fmla="*/ 1984866 w 2085975"/>
                      <a:gd name="connsiteY65" fmla="*/ 1356458 h 1600200"/>
                      <a:gd name="connsiteX66" fmla="*/ 1993501 w 2085975"/>
                      <a:gd name="connsiteY66" fmla="*/ 1355938 h 1600200"/>
                      <a:gd name="connsiteX67" fmla="*/ 1995734 w 2085975"/>
                      <a:gd name="connsiteY67" fmla="*/ 1355612 h 1600200"/>
                      <a:gd name="connsiteX68" fmla="*/ 1995843 w 2085975"/>
                      <a:gd name="connsiteY68" fmla="*/ 1355764 h 1600200"/>
                      <a:gd name="connsiteX69" fmla="*/ 1998988 w 2085975"/>
                      <a:gd name="connsiteY69" fmla="*/ 1355504 h 1600200"/>
                      <a:gd name="connsiteX70" fmla="*/ 1998945 w 2085975"/>
                      <a:gd name="connsiteY70" fmla="*/ 1355309 h 1600200"/>
                      <a:gd name="connsiteX71" fmla="*/ 2003045 w 2085975"/>
                      <a:gd name="connsiteY71" fmla="*/ 1355027 h 1600200"/>
                      <a:gd name="connsiteX72" fmla="*/ 2003110 w 2085975"/>
                      <a:gd name="connsiteY72" fmla="*/ 1355200 h 1600200"/>
                      <a:gd name="connsiteX73" fmla="*/ 2005626 w 2085975"/>
                      <a:gd name="connsiteY73" fmla="*/ 1355005 h 1600200"/>
                      <a:gd name="connsiteX74" fmla="*/ 2006928 w 2085975"/>
                      <a:gd name="connsiteY74" fmla="*/ 1364875 h 1600200"/>
                      <a:gd name="connsiteX75" fmla="*/ 2009270 w 2085975"/>
                      <a:gd name="connsiteY75" fmla="*/ 1381991 h 1600200"/>
                      <a:gd name="connsiteX76" fmla="*/ 2008273 w 2085975"/>
                      <a:gd name="connsiteY76" fmla="*/ 1395418 h 1600200"/>
                      <a:gd name="connsiteX77" fmla="*/ 1989400 w 2085975"/>
                      <a:gd name="connsiteY77" fmla="*/ 1442187 h 1600200"/>
                      <a:gd name="connsiteX78" fmla="*/ 1818355 w 2085975"/>
                      <a:gd name="connsiteY78" fmla="*/ 1499520 h 1600200"/>
                      <a:gd name="connsiteX79" fmla="*/ 1758050 w 2085975"/>
                      <a:gd name="connsiteY79" fmla="*/ 1509911 h 1600200"/>
                      <a:gd name="connsiteX80" fmla="*/ 1466764 w 2085975"/>
                      <a:gd name="connsiteY80" fmla="*/ 1513881 h 1600200"/>
                      <a:gd name="connsiteX81" fmla="*/ 1362640 w 2085975"/>
                      <a:gd name="connsiteY81" fmla="*/ 1595162 h 1600200"/>
                      <a:gd name="connsiteX82" fmla="*/ 1358215 w 2085975"/>
                      <a:gd name="connsiteY82" fmla="*/ 1598394 h 1600200"/>
                      <a:gd name="connsiteX83" fmla="*/ 1342661 w 2085975"/>
                      <a:gd name="connsiteY83" fmla="*/ 1587960 h 1600200"/>
                      <a:gd name="connsiteX84" fmla="*/ 1321641 w 2085975"/>
                      <a:gd name="connsiteY84" fmla="*/ 1577396 h 1600200"/>
                      <a:gd name="connsiteX85" fmla="*/ 1261619 w 2085975"/>
                      <a:gd name="connsiteY85" fmla="*/ 1552298 h 1600200"/>
                      <a:gd name="connsiteX86" fmla="*/ 1154262 w 2085975"/>
                      <a:gd name="connsiteY86" fmla="*/ 1508024 h 1600200"/>
                      <a:gd name="connsiteX87" fmla="*/ 1052937 w 2085975"/>
                      <a:gd name="connsiteY87" fmla="*/ 1465897 h 1600200"/>
                      <a:gd name="connsiteX88" fmla="*/ 960722 w 2085975"/>
                      <a:gd name="connsiteY88" fmla="*/ 1427566 h 1600200"/>
                      <a:gd name="connsiteX89" fmla="*/ 948140 w 2085975"/>
                      <a:gd name="connsiteY89" fmla="*/ 1422317 h 1600200"/>
                      <a:gd name="connsiteX90" fmla="*/ 938357 w 2085975"/>
                      <a:gd name="connsiteY90" fmla="*/ 1417111 h 1600200"/>
                      <a:gd name="connsiteX91" fmla="*/ 928812 w 2085975"/>
                      <a:gd name="connsiteY91" fmla="*/ 1410299 h 1600200"/>
                      <a:gd name="connsiteX92" fmla="*/ 901893 w 2085975"/>
                      <a:gd name="connsiteY92" fmla="*/ 1384225 h 1600200"/>
                      <a:gd name="connsiteX93" fmla="*/ 808550 w 2085975"/>
                      <a:gd name="connsiteY93" fmla="*/ 1292465 h 1600200"/>
                      <a:gd name="connsiteX94" fmla="*/ 801088 w 2085975"/>
                      <a:gd name="connsiteY94" fmla="*/ 1286652 h 1600200"/>
                      <a:gd name="connsiteX95" fmla="*/ 793799 w 2085975"/>
                      <a:gd name="connsiteY95" fmla="*/ 1282227 h 1600200"/>
                      <a:gd name="connsiteX96" fmla="*/ 781651 w 2085975"/>
                      <a:gd name="connsiteY96" fmla="*/ 1274808 h 1600200"/>
                      <a:gd name="connsiteX97" fmla="*/ 773322 w 2085975"/>
                      <a:gd name="connsiteY97" fmla="*/ 1271208 h 1600200"/>
                      <a:gd name="connsiteX98" fmla="*/ 729785 w 2085975"/>
                      <a:gd name="connsiteY98" fmla="*/ 1253138 h 1600200"/>
                      <a:gd name="connsiteX99" fmla="*/ 570431 w 2085975"/>
                      <a:gd name="connsiteY99" fmla="*/ 1187951 h 1600200"/>
                      <a:gd name="connsiteX100" fmla="*/ 373833 w 2085975"/>
                      <a:gd name="connsiteY100" fmla="*/ 1107429 h 1600200"/>
                      <a:gd name="connsiteX101" fmla="*/ 279514 w 2085975"/>
                      <a:gd name="connsiteY101" fmla="*/ 1070335 h 1600200"/>
                      <a:gd name="connsiteX102" fmla="*/ 165195 w 2085975"/>
                      <a:gd name="connsiteY102" fmla="*/ 1025388 h 1600200"/>
                      <a:gd name="connsiteX103" fmla="*/ 61223 w 2085975"/>
                      <a:gd name="connsiteY103" fmla="*/ 984976 h 1600200"/>
                      <a:gd name="connsiteX104" fmla="*/ 46537 w 2085975"/>
                      <a:gd name="connsiteY104" fmla="*/ 978120 h 1600200"/>
                      <a:gd name="connsiteX105" fmla="*/ 34671 w 2085975"/>
                      <a:gd name="connsiteY105" fmla="*/ 971396 h 1600200"/>
                      <a:gd name="connsiteX106" fmla="*/ 25517 w 2085975"/>
                      <a:gd name="connsiteY106" fmla="*/ 964432 h 1600200"/>
                      <a:gd name="connsiteX107" fmla="*/ 17469 w 2085975"/>
                      <a:gd name="connsiteY107" fmla="*/ 956038 h 1600200"/>
                      <a:gd name="connsiteX108" fmla="*/ 12936 w 2085975"/>
                      <a:gd name="connsiteY108" fmla="*/ 949638 h 1600200"/>
                      <a:gd name="connsiteX109" fmla="*/ 9399 w 2085975"/>
                      <a:gd name="connsiteY109" fmla="*/ 941243 h 1600200"/>
                      <a:gd name="connsiteX110" fmla="*/ 7144 w 2085975"/>
                      <a:gd name="connsiteY110" fmla="*/ 926297 h 1600200"/>
                      <a:gd name="connsiteX111" fmla="*/ 8575 w 2085975"/>
                      <a:gd name="connsiteY111" fmla="*/ 915972 h 1600200"/>
                      <a:gd name="connsiteX112" fmla="*/ 12783 w 2085975"/>
                      <a:gd name="connsiteY112" fmla="*/ 901871 h 1600200"/>
                      <a:gd name="connsiteX113" fmla="*/ 20940 w 2085975"/>
                      <a:gd name="connsiteY113" fmla="*/ 872413 h 1600200"/>
                      <a:gd name="connsiteX114" fmla="*/ 42849 w 2085975"/>
                      <a:gd name="connsiteY114" fmla="*/ 796338 h 1600200"/>
                      <a:gd name="connsiteX115" fmla="*/ 75409 w 2085975"/>
                      <a:gd name="connsiteY115" fmla="*/ 680499 h 1600200"/>
                      <a:gd name="connsiteX116" fmla="*/ 86061 w 2085975"/>
                      <a:gd name="connsiteY116" fmla="*/ 640282 h 1600200"/>
                      <a:gd name="connsiteX117" fmla="*/ 88230 w 2085975"/>
                      <a:gd name="connsiteY117" fmla="*/ 629414 h 1600200"/>
                      <a:gd name="connsiteX118" fmla="*/ 88707 w 2085975"/>
                      <a:gd name="connsiteY118" fmla="*/ 615900 h 1600200"/>
                      <a:gd name="connsiteX119" fmla="*/ 88057 w 2085975"/>
                      <a:gd name="connsiteY119" fmla="*/ 604229 h 1600200"/>
                      <a:gd name="connsiteX120" fmla="*/ 86994 w 2085975"/>
                      <a:gd name="connsiteY120" fmla="*/ 593296 h 1600200"/>
                      <a:gd name="connsiteX121" fmla="*/ 84022 w 2085975"/>
                      <a:gd name="connsiteY121" fmla="*/ 576897 h 1600200"/>
                      <a:gd name="connsiteX122" fmla="*/ 76776 w 2085975"/>
                      <a:gd name="connsiteY122" fmla="*/ 554120 h 1600200"/>
                      <a:gd name="connsiteX123" fmla="*/ 65562 w 2085975"/>
                      <a:gd name="connsiteY123" fmla="*/ 529759 h 1600200"/>
                      <a:gd name="connsiteX124" fmla="*/ 53782 w 2085975"/>
                      <a:gd name="connsiteY124" fmla="*/ 511147 h 1600200"/>
                      <a:gd name="connsiteX125" fmla="*/ 41808 w 2085975"/>
                      <a:gd name="connsiteY125" fmla="*/ 495593 h 1600200"/>
                      <a:gd name="connsiteX126" fmla="*/ 59640 w 2085975"/>
                      <a:gd name="connsiteY126" fmla="*/ 490929 h 1600200"/>
                      <a:gd name="connsiteX127" fmla="*/ 100161 w 2085975"/>
                      <a:gd name="connsiteY127" fmla="*/ 461622 h 1600200"/>
                      <a:gd name="connsiteX128" fmla="*/ 99163 w 2085975"/>
                      <a:gd name="connsiteY128" fmla="*/ 426676 h 1600200"/>
                      <a:gd name="connsiteX129" fmla="*/ 97167 w 2085975"/>
                      <a:gd name="connsiteY129" fmla="*/ 367499 h 1600200"/>
                      <a:gd name="connsiteX130" fmla="*/ 96430 w 2085975"/>
                      <a:gd name="connsiteY130" fmla="*/ 357759 h 1600200"/>
                      <a:gd name="connsiteX131" fmla="*/ 96235 w 2085975"/>
                      <a:gd name="connsiteY131" fmla="*/ 351187 h 1600200"/>
                      <a:gd name="connsiteX132" fmla="*/ 86950 w 2085975"/>
                      <a:gd name="connsiteY132" fmla="*/ 291207 h 1600200"/>
                      <a:gd name="connsiteX133" fmla="*/ 83219 w 2085975"/>
                      <a:gd name="connsiteY133" fmla="*/ 279926 h 1600200"/>
                      <a:gd name="connsiteX134" fmla="*/ 82243 w 2085975"/>
                      <a:gd name="connsiteY134" fmla="*/ 274655 h 1600200"/>
                      <a:gd name="connsiteX135" fmla="*/ 75887 w 2085975"/>
                      <a:gd name="connsiteY135" fmla="*/ 239926 h 1600200"/>
                      <a:gd name="connsiteX136" fmla="*/ 76798 w 2085975"/>
                      <a:gd name="connsiteY136" fmla="*/ 209513 h 1600200"/>
                      <a:gd name="connsiteX137" fmla="*/ 75974 w 2085975"/>
                      <a:gd name="connsiteY137" fmla="*/ 160618 h 1600200"/>
                      <a:gd name="connsiteX138" fmla="*/ 75995 w 2085975"/>
                      <a:gd name="connsiteY138" fmla="*/ 142744 h 1600200"/>
                      <a:gd name="connsiteX139" fmla="*/ 75496 w 2085975"/>
                      <a:gd name="connsiteY139" fmla="*/ 131398 h 1600200"/>
                      <a:gd name="connsiteX140" fmla="*/ 73110 w 2085975"/>
                      <a:gd name="connsiteY140" fmla="*/ 99532 h 1600200"/>
                      <a:gd name="connsiteX141" fmla="*/ 72894 w 2085975"/>
                      <a:gd name="connsiteY141" fmla="*/ 89142 h 1600200"/>
                      <a:gd name="connsiteX142" fmla="*/ 72677 w 2085975"/>
                      <a:gd name="connsiteY142" fmla="*/ 87255 h 1600200"/>
                      <a:gd name="connsiteX143" fmla="*/ 71831 w 2085975"/>
                      <a:gd name="connsiteY143" fmla="*/ 85606 h 1600200"/>
                      <a:gd name="connsiteX144" fmla="*/ 70269 w 2085975"/>
                      <a:gd name="connsiteY144" fmla="*/ 83892 h 1600200"/>
                      <a:gd name="connsiteX145" fmla="*/ 66928 w 2085975"/>
                      <a:gd name="connsiteY145" fmla="*/ 81571 h 1600200"/>
                      <a:gd name="connsiteX146" fmla="*/ 64520 w 2085975"/>
                      <a:gd name="connsiteY146" fmla="*/ 80855 h 1600200"/>
                      <a:gd name="connsiteX147" fmla="*/ 81983 w 2085975"/>
                      <a:gd name="connsiteY147" fmla="*/ 30529 h 1600200"/>
                      <a:gd name="connsiteX148" fmla="*/ 105367 w 2085975"/>
                      <a:gd name="connsiteY148" fmla="*/ 36949 h 1600200"/>
                      <a:gd name="connsiteX149" fmla="*/ 115107 w 2085975"/>
                      <a:gd name="connsiteY149" fmla="*/ 8597 h 1600200"/>
                      <a:gd name="connsiteX150" fmla="*/ 222419 w 2085975"/>
                      <a:gd name="connsiteY150" fmla="*/ 22133 h 1600200"/>
                      <a:gd name="connsiteX151" fmla="*/ 236433 w 2085975"/>
                      <a:gd name="connsiteY151" fmla="*/ 23435 h 1600200"/>
                      <a:gd name="connsiteX152" fmla="*/ 279796 w 2085975"/>
                      <a:gd name="connsiteY152" fmla="*/ 29140 h 1600200"/>
                      <a:gd name="connsiteX153" fmla="*/ 312551 w 2085975"/>
                      <a:gd name="connsiteY153" fmla="*/ 34715 h 1600200"/>
                      <a:gd name="connsiteX154" fmla="*/ 319189 w 2085975"/>
                      <a:gd name="connsiteY154" fmla="*/ 36234 h 1600200"/>
                      <a:gd name="connsiteX155" fmla="*/ 363095 w 2085975"/>
                      <a:gd name="connsiteY155" fmla="*/ 48208 h 1600200"/>
                      <a:gd name="connsiteX156" fmla="*/ 357715 w 2085975"/>
                      <a:gd name="connsiteY156" fmla="*/ 52047 h 1600200"/>
                      <a:gd name="connsiteX157" fmla="*/ 354483 w 2085975"/>
                      <a:gd name="connsiteY157" fmla="*/ 55692 h 1600200"/>
                      <a:gd name="connsiteX158" fmla="*/ 352726 w 2085975"/>
                      <a:gd name="connsiteY158" fmla="*/ 58621 h 1600200"/>
                      <a:gd name="connsiteX159" fmla="*/ 351880 w 2085975"/>
                      <a:gd name="connsiteY159" fmla="*/ 60008 h 1600200"/>
                      <a:gd name="connsiteX160" fmla="*/ 351077 w 2085975"/>
                      <a:gd name="connsiteY160" fmla="*/ 62698 h 1600200"/>
                      <a:gd name="connsiteX161" fmla="*/ 349668 w 2085975"/>
                      <a:gd name="connsiteY161" fmla="*/ 70269 h 1600200"/>
                      <a:gd name="connsiteX162" fmla="*/ 400819 w 2085975"/>
                      <a:gd name="connsiteY162" fmla="*/ 125541 h 1600200"/>
                      <a:gd name="connsiteX163" fmla="*/ 444616 w 2085975"/>
                      <a:gd name="connsiteY163" fmla="*/ 32242 h 1600200"/>
                      <a:gd name="connsiteX164" fmla="*/ 828659 w 2085975"/>
                      <a:gd name="connsiteY164" fmla="*/ 31895 h 1600200"/>
                      <a:gd name="connsiteX165" fmla="*/ 835492 w 2085975"/>
                      <a:gd name="connsiteY165" fmla="*/ 31332 h 1600200"/>
                      <a:gd name="connsiteX166" fmla="*/ 851913 w 2085975"/>
                      <a:gd name="connsiteY166" fmla="*/ 29075 h 1600200"/>
                      <a:gd name="connsiteX167" fmla="*/ 875991 w 2085975"/>
                      <a:gd name="connsiteY167" fmla="*/ 27361 h 1600200"/>
                      <a:gd name="connsiteX168" fmla="*/ 884691 w 2085975"/>
                      <a:gd name="connsiteY168" fmla="*/ 27665 h 1600200"/>
                      <a:gd name="connsiteX169" fmla="*/ 890005 w 2085975"/>
                      <a:gd name="connsiteY169" fmla="*/ 27513 h 1600200"/>
                      <a:gd name="connsiteX170" fmla="*/ 893584 w 2085975"/>
                      <a:gd name="connsiteY170" fmla="*/ 26906 h 1600200"/>
                      <a:gd name="connsiteX171" fmla="*/ 899008 w 2085975"/>
                      <a:gd name="connsiteY171" fmla="*/ 25843 h 1600200"/>
                      <a:gd name="connsiteX172" fmla="*/ 906513 w 2085975"/>
                      <a:gd name="connsiteY172" fmla="*/ 23695 h 1600200"/>
                      <a:gd name="connsiteX173" fmla="*/ 916817 w 2085975"/>
                      <a:gd name="connsiteY173" fmla="*/ 19704 h 1600200"/>
                      <a:gd name="connsiteX174" fmla="*/ 930028 w 2085975"/>
                      <a:gd name="connsiteY174" fmla="*/ 14064 h 1600200"/>
                      <a:gd name="connsiteX175" fmla="*/ 941742 w 2085975"/>
                      <a:gd name="connsiteY175" fmla="*/ 10528 h 1600200"/>
                      <a:gd name="connsiteX176" fmla="*/ 948792 w 2085975"/>
                      <a:gd name="connsiteY176" fmla="*/ 8966 h 1600200"/>
                      <a:gd name="connsiteX177" fmla="*/ 957230 w 2085975"/>
                      <a:gd name="connsiteY177" fmla="*/ 7773 h 1600200"/>
                      <a:gd name="connsiteX178" fmla="*/ 963087 w 2085975"/>
                      <a:gd name="connsiteY178" fmla="*/ 7318 h 1600200"/>
                      <a:gd name="connsiteX179" fmla="*/ 968119 w 2085975"/>
                      <a:gd name="connsiteY179" fmla="*/ 7144 h 1600200"/>
                      <a:gd name="connsiteX180" fmla="*/ 974042 w 2085975"/>
                      <a:gd name="connsiteY180" fmla="*/ 7209 h 1600200"/>
                      <a:gd name="connsiteX181" fmla="*/ 981743 w 2085975"/>
                      <a:gd name="connsiteY181" fmla="*/ 7709 h 1600200"/>
                      <a:gd name="connsiteX182" fmla="*/ 990592 w 2085975"/>
                      <a:gd name="connsiteY182" fmla="*/ 8923 h 1600200"/>
                      <a:gd name="connsiteX183" fmla="*/ 995951 w 2085975"/>
                      <a:gd name="connsiteY183" fmla="*/ 10095 h 1600200"/>
                      <a:gd name="connsiteX184" fmla="*/ 1001265 w 2085975"/>
                      <a:gd name="connsiteY184" fmla="*/ 11526 h 1600200"/>
                      <a:gd name="connsiteX185" fmla="*/ 1007535 w 2085975"/>
                      <a:gd name="connsiteY185" fmla="*/ 13566 h 1600200"/>
                      <a:gd name="connsiteX186" fmla="*/ 1011547 w 2085975"/>
                      <a:gd name="connsiteY186" fmla="*/ 15084 h 1600200"/>
                      <a:gd name="connsiteX187" fmla="*/ 1015517 w 2085975"/>
                      <a:gd name="connsiteY187" fmla="*/ 17079 h 1600200"/>
                      <a:gd name="connsiteX188" fmla="*/ 1016754 w 2085975"/>
                      <a:gd name="connsiteY188" fmla="*/ 19119 h 1600200"/>
                      <a:gd name="connsiteX189" fmla="*/ 1021982 w 2085975"/>
                      <a:gd name="connsiteY189" fmla="*/ 22026 h 1600200"/>
                      <a:gd name="connsiteX190" fmla="*/ 1027708 w 2085975"/>
                      <a:gd name="connsiteY190" fmla="*/ 25995 h 1600200"/>
                      <a:gd name="connsiteX191" fmla="*/ 1031939 w 2085975"/>
                      <a:gd name="connsiteY191" fmla="*/ 29834 h 1600200"/>
                      <a:gd name="connsiteX192" fmla="*/ 1034888 w 2085975"/>
                      <a:gd name="connsiteY192" fmla="*/ 33197 h 1600200"/>
                      <a:gd name="connsiteX193" fmla="*/ 1036668 w 2085975"/>
                      <a:gd name="connsiteY193" fmla="*/ 35735 h 1600200"/>
                      <a:gd name="connsiteX194" fmla="*/ 1039748 w 2085975"/>
                      <a:gd name="connsiteY194" fmla="*/ 41353 h 1600200"/>
                      <a:gd name="connsiteX195" fmla="*/ 1046191 w 2085975"/>
                      <a:gd name="connsiteY195" fmla="*/ 56429 h 1600200"/>
                      <a:gd name="connsiteX196" fmla="*/ 1050508 w 2085975"/>
                      <a:gd name="connsiteY196" fmla="*/ 65084 h 1600200"/>
                      <a:gd name="connsiteX197" fmla="*/ 1053349 w 2085975"/>
                      <a:gd name="connsiteY197" fmla="*/ 70226 h 1600200"/>
                      <a:gd name="connsiteX198" fmla="*/ 1060551 w 2085975"/>
                      <a:gd name="connsiteY198" fmla="*/ 81962 h 1600200"/>
                      <a:gd name="connsiteX199" fmla="*/ 1064325 w 2085975"/>
                      <a:gd name="connsiteY199" fmla="*/ 87515 h 1600200"/>
                      <a:gd name="connsiteX200" fmla="*/ 1073176 w 2085975"/>
                      <a:gd name="connsiteY200" fmla="*/ 99337 h 1600200"/>
                      <a:gd name="connsiteX201" fmla="*/ 1077558 w 2085975"/>
                      <a:gd name="connsiteY201" fmla="*/ 104630 h 1600200"/>
                      <a:gd name="connsiteX202" fmla="*/ 1082395 w 2085975"/>
                      <a:gd name="connsiteY202" fmla="*/ 110161 h 1600200"/>
                      <a:gd name="connsiteX203" fmla="*/ 1091007 w 2085975"/>
                      <a:gd name="connsiteY203" fmla="*/ 119272 h 1600200"/>
                      <a:gd name="connsiteX204" fmla="*/ 1094153 w 2085975"/>
                      <a:gd name="connsiteY204" fmla="*/ 122157 h 1600200"/>
                      <a:gd name="connsiteX205" fmla="*/ 1095867 w 2085975"/>
                      <a:gd name="connsiteY205" fmla="*/ 123112 h 1600200"/>
                      <a:gd name="connsiteX206" fmla="*/ 1099077 w 2085975"/>
                      <a:gd name="connsiteY206" fmla="*/ 125628 h 1600200"/>
                      <a:gd name="connsiteX207" fmla="*/ 1101571 w 2085975"/>
                      <a:gd name="connsiteY207" fmla="*/ 127993 h 1600200"/>
                      <a:gd name="connsiteX208" fmla="*/ 1104088 w 2085975"/>
                      <a:gd name="connsiteY208" fmla="*/ 131052 h 1600200"/>
                      <a:gd name="connsiteX209" fmla="*/ 1106604 w 2085975"/>
                      <a:gd name="connsiteY209" fmla="*/ 132266 h 1600200"/>
                      <a:gd name="connsiteX210" fmla="*/ 1112483 w 2085975"/>
                      <a:gd name="connsiteY210" fmla="*/ 132049 h 1600200"/>
                      <a:gd name="connsiteX211" fmla="*/ 1114197 w 2085975"/>
                      <a:gd name="connsiteY211" fmla="*/ 131356 h 1600200"/>
                      <a:gd name="connsiteX212" fmla="*/ 1116626 w 2085975"/>
                      <a:gd name="connsiteY212" fmla="*/ 133784 h 1600200"/>
                      <a:gd name="connsiteX213" fmla="*/ 1141963 w 2085975"/>
                      <a:gd name="connsiteY213" fmla="*/ 124001 h 1600200"/>
                      <a:gd name="connsiteX214" fmla="*/ 1146388 w 2085975"/>
                      <a:gd name="connsiteY214" fmla="*/ 121702 h 1600200"/>
                      <a:gd name="connsiteX215" fmla="*/ 1152028 w 2085975"/>
                      <a:gd name="connsiteY215" fmla="*/ 119533 h 1600200"/>
                      <a:gd name="connsiteX216" fmla="*/ 1157560 w 2085975"/>
                      <a:gd name="connsiteY216" fmla="*/ 117840 h 1600200"/>
                      <a:gd name="connsiteX217" fmla="*/ 1172202 w 2085975"/>
                      <a:gd name="connsiteY217" fmla="*/ 112309 h 1600200"/>
                      <a:gd name="connsiteX218" fmla="*/ 1177039 w 2085975"/>
                      <a:gd name="connsiteY218" fmla="*/ 116517 h 1600200"/>
                      <a:gd name="connsiteX219" fmla="*/ 1181443 w 2085975"/>
                      <a:gd name="connsiteY219" fmla="*/ 114609 h 1600200"/>
                      <a:gd name="connsiteX220" fmla="*/ 1184740 w 2085975"/>
                      <a:gd name="connsiteY220" fmla="*/ 117385 h 1600200"/>
                      <a:gd name="connsiteX221" fmla="*/ 1186801 w 2085975"/>
                      <a:gd name="connsiteY221" fmla="*/ 119424 h 1600200"/>
                      <a:gd name="connsiteX222" fmla="*/ 1188775 w 2085975"/>
                      <a:gd name="connsiteY222" fmla="*/ 121789 h 1600200"/>
                      <a:gd name="connsiteX223" fmla="*/ 1193287 w 2085975"/>
                      <a:gd name="connsiteY223" fmla="*/ 125823 h 1600200"/>
                      <a:gd name="connsiteX224" fmla="*/ 1195283 w 2085975"/>
                      <a:gd name="connsiteY224" fmla="*/ 124999 h 1600200"/>
                      <a:gd name="connsiteX225" fmla="*/ 1196259 w 2085975"/>
                      <a:gd name="connsiteY225" fmla="*/ 126084 h 1600200"/>
                      <a:gd name="connsiteX226" fmla="*/ 1201292 w 2085975"/>
                      <a:gd name="connsiteY226" fmla="*/ 130921 h 1600200"/>
                      <a:gd name="connsiteX227" fmla="*/ 1204285 w 2085975"/>
                      <a:gd name="connsiteY227" fmla="*/ 133286 h 1600200"/>
                      <a:gd name="connsiteX228" fmla="*/ 1216564 w 2085975"/>
                      <a:gd name="connsiteY228" fmla="*/ 141920 h 1600200"/>
                      <a:gd name="connsiteX229" fmla="*/ 1221813 w 2085975"/>
                      <a:gd name="connsiteY229" fmla="*/ 145282 h 1600200"/>
                      <a:gd name="connsiteX230" fmla="*/ 1241791 w 2085975"/>
                      <a:gd name="connsiteY230" fmla="*/ 156692 h 1600200"/>
                      <a:gd name="connsiteX231" fmla="*/ 1249232 w 2085975"/>
                      <a:gd name="connsiteY231" fmla="*/ 160510 h 1600200"/>
                      <a:gd name="connsiteX232" fmla="*/ 1256954 w 2085975"/>
                      <a:gd name="connsiteY232" fmla="*/ 164176 h 1600200"/>
                      <a:gd name="connsiteX233" fmla="*/ 1269775 w 2085975"/>
                      <a:gd name="connsiteY233" fmla="*/ 169599 h 1600200"/>
                      <a:gd name="connsiteX234" fmla="*/ 1284092 w 2085975"/>
                      <a:gd name="connsiteY234" fmla="*/ 175109 h 1600200"/>
                      <a:gd name="connsiteX235" fmla="*/ 1298040 w 2085975"/>
                      <a:gd name="connsiteY235" fmla="*/ 179990 h 1600200"/>
                      <a:gd name="connsiteX236" fmla="*/ 1304417 w 2085975"/>
                      <a:gd name="connsiteY236" fmla="*/ 181964 h 1600200"/>
                      <a:gd name="connsiteX237" fmla="*/ 1315025 w 2085975"/>
                      <a:gd name="connsiteY237" fmla="*/ 184740 h 1600200"/>
                      <a:gd name="connsiteX238" fmla="*/ 1320101 w 2085975"/>
                      <a:gd name="connsiteY238" fmla="*/ 185868 h 1600200"/>
                      <a:gd name="connsiteX239" fmla="*/ 1326175 w 2085975"/>
                      <a:gd name="connsiteY239" fmla="*/ 187083 h 1600200"/>
                      <a:gd name="connsiteX240" fmla="*/ 1337672 w 2085975"/>
                      <a:gd name="connsiteY240" fmla="*/ 188732 h 1600200"/>
                      <a:gd name="connsiteX241" fmla="*/ 1365699 w 2085975"/>
                      <a:gd name="connsiteY241" fmla="*/ 189057 h 1600200"/>
                      <a:gd name="connsiteX242" fmla="*/ 1394181 w 2085975"/>
                      <a:gd name="connsiteY242" fmla="*/ 189101 h 1600200"/>
                      <a:gd name="connsiteX243" fmla="*/ 1702843 w 2085975"/>
                      <a:gd name="connsiteY243" fmla="*/ 188797 h 1600200"/>
                      <a:gd name="connsiteX244" fmla="*/ 1716770 w 2085975"/>
                      <a:gd name="connsiteY244" fmla="*/ 188471 h 1600200"/>
                      <a:gd name="connsiteX245" fmla="*/ 1730805 w 2085975"/>
                      <a:gd name="connsiteY245" fmla="*/ 187539 h 1600200"/>
                      <a:gd name="connsiteX246" fmla="*/ 1744275 w 2085975"/>
                      <a:gd name="connsiteY246" fmla="*/ 185977 h 1600200"/>
                      <a:gd name="connsiteX247" fmla="*/ 1755664 w 2085975"/>
                      <a:gd name="connsiteY247" fmla="*/ 184133 h 1600200"/>
                      <a:gd name="connsiteX248" fmla="*/ 1757400 w 2085975"/>
                      <a:gd name="connsiteY248" fmla="*/ 182680 h 1600200"/>
                      <a:gd name="connsiteX249" fmla="*/ 1758528 w 2085975"/>
                      <a:gd name="connsiteY249" fmla="*/ 179795 h 1600200"/>
                      <a:gd name="connsiteX250" fmla="*/ 1758506 w 2085975"/>
                      <a:gd name="connsiteY250" fmla="*/ 170532 h 1600200"/>
                      <a:gd name="connsiteX251" fmla="*/ 1759590 w 2085975"/>
                      <a:gd name="connsiteY251" fmla="*/ 164870 h 1600200"/>
                      <a:gd name="connsiteX252" fmla="*/ 1760307 w 2085975"/>
                      <a:gd name="connsiteY252" fmla="*/ 148123 h 1600200"/>
                      <a:gd name="connsiteX253" fmla="*/ 1762107 w 2085975"/>
                      <a:gd name="connsiteY253" fmla="*/ 121073 h 1600200"/>
                      <a:gd name="connsiteX254" fmla="*/ 1763213 w 2085975"/>
                      <a:gd name="connsiteY254" fmla="*/ 112331 h 1600200"/>
                      <a:gd name="connsiteX255" fmla="*/ 1770632 w 2085975"/>
                      <a:gd name="connsiteY255" fmla="*/ 112287 h 1600200"/>
                      <a:gd name="connsiteX256" fmla="*/ 1796099 w 2085975"/>
                      <a:gd name="connsiteY256" fmla="*/ 112157 h 1600200"/>
                      <a:gd name="connsiteX257" fmla="*/ 1808680 w 2085975"/>
                      <a:gd name="connsiteY257" fmla="*/ 112352 h 1600200"/>
                      <a:gd name="connsiteX258" fmla="*/ 1829549 w 2085975"/>
                      <a:gd name="connsiteY258" fmla="*/ 96279 h 1600200"/>
                      <a:gd name="connsiteX259" fmla="*/ 1843345 w 2085975"/>
                      <a:gd name="connsiteY259" fmla="*/ 100443 h 1600200"/>
                      <a:gd name="connsiteX260" fmla="*/ 1844191 w 2085975"/>
                      <a:gd name="connsiteY260" fmla="*/ 104326 h 1600200"/>
                      <a:gd name="connsiteX261" fmla="*/ 1861805 w 2085975"/>
                      <a:gd name="connsiteY261" fmla="*/ 109879 h 1600200"/>
                      <a:gd name="connsiteX262" fmla="*/ 1892652 w 2085975"/>
                      <a:gd name="connsiteY262" fmla="*/ 119924 h 1600200"/>
                      <a:gd name="connsiteX263" fmla="*/ 1885971 w 2085975"/>
                      <a:gd name="connsiteY263" fmla="*/ 125477 h 1600200"/>
                      <a:gd name="connsiteX264" fmla="*/ 1868834 w 2085975"/>
                      <a:gd name="connsiteY264" fmla="*/ 138861 h 1600200"/>
                      <a:gd name="connsiteX265" fmla="*/ 1878010 w 2085975"/>
                      <a:gd name="connsiteY265" fmla="*/ 134262 h 1600200"/>
                      <a:gd name="connsiteX266" fmla="*/ 1889030 w 2085975"/>
                      <a:gd name="connsiteY266" fmla="*/ 129490 h 1600200"/>
                      <a:gd name="connsiteX267" fmla="*/ 1895754 w 2085975"/>
                      <a:gd name="connsiteY267" fmla="*/ 126908 h 1600200"/>
                      <a:gd name="connsiteX268" fmla="*/ 1903108 w 2085975"/>
                      <a:gd name="connsiteY268" fmla="*/ 124305 h 1600200"/>
                      <a:gd name="connsiteX269" fmla="*/ 1905993 w 2085975"/>
                      <a:gd name="connsiteY269" fmla="*/ 123568 h 1600200"/>
                      <a:gd name="connsiteX270" fmla="*/ 1908900 w 2085975"/>
                      <a:gd name="connsiteY270" fmla="*/ 123199 h 1600200"/>
                      <a:gd name="connsiteX271" fmla="*/ 1918379 w 2085975"/>
                      <a:gd name="connsiteY271" fmla="*/ 120422 h 1600200"/>
                      <a:gd name="connsiteX272" fmla="*/ 1925342 w 2085975"/>
                      <a:gd name="connsiteY272" fmla="*/ 118687 h 1600200"/>
                      <a:gd name="connsiteX273" fmla="*/ 1934367 w 2085975"/>
                      <a:gd name="connsiteY273" fmla="*/ 116713 h 1600200"/>
                      <a:gd name="connsiteX274" fmla="*/ 1940961 w 2085975"/>
                      <a:gd name="connsiteY274" fmla="*/ 116149 h 1600200"/>
                      <a:gd name="connsiteX275" fmla="*/ 1948055 w 2085975"/>
                      <a:gd name="connsiteY275" fmla="*/ 115151 h 1600200"/>
                      <a:gd name="connsiteX276" fmla="*/ 1946211 w 2085975"/>
                      <a:gd name="connsiteY276" fmla="*/ 122938 h 1600200"/>
                      <a:gd name="connsiteX277" fmla="*/ 1944931 w 2085975"/>
                      <a:gd name="connsiteY277" fmla="*/ 130271 h 1600200"/>
                      <a:gd name="connsiteX278" fmla="*/ 1943912 w 2085975"/>
                      <a:gd name="connsiteY278" fmla="*/ 140488 h 1600200"/>
                      <a:gd name="connsiteX279" fmla="*/ 1943694 w 2085975"/>
                      <a:gd name="connsiteY279" fmla="*/ 149859 h 1600200"/>
                      <a:gd name="connsiteX280" fmla="*/ 1949205 w 2085975"/>
                      <a:gd name="connsiteY280" fmla="*/ 254091 h 1600200"/>
                      <a:gd name="connsiteX281" fmla="*/ 1955560 w 2085975"/>
                      <a:gd name="connsiteY281" fmla="*/ 254091 h 1600200"/>
                      <a:gd name="connsiteX282" fmla="*/ 1955517 w 2085975"/>
                      <a:gd name="connsiteY282" fmla="*/ 253636 h 1600200"/>
                      <a:gd name="connsiteX283" fmla="*/ 1956059 w 2085975"/>
                      <a:gd name="connsiteY283" fmla="*/ 253636 h 1600200"/>
                      <a:gd name="connsiteX284" fmla="*/ 1956103 w 2085975"/>
                      <a:gd name="connsiteY284" fmla="*/ 257193 h 1600200"/>
                      <a:gd name="connsiteX285" fmla="*/ 1955560 w 2085975"/>
                      <a:gd name="connsiteY285" fmla="*/ 257171 h 1600200"/>
                      <a:gd name="connsiteX286" fmla="*/ 1955755 w 2085975"/>
                      <a:gd name="connsiteY286" fmla="*/ 262985 h 1600200"/>
                      <a:gd name="connsiteX287" fmla="*/ 1957665 w 2085975"/>
                      <a:gd name="connsiteY287" fmla="*/ 296977 h 1600200"/>
                      <a:gd name="connsiteX288" fmla="*/ 1957057 w 2085975"/>
                      <a:gd name="connsiteY288" fmla="*/ 308647 h 1600200"/>
                      <a:gd name="connsiteX289" fmla="*/ 1958467 w 2085975"/>
                      <a:gd name="connsiteY289" fmla="*/ 335503 h 1600200"/>
                      <a:gd name="connsiteX290" fmla="*/ 1958792 w 2085975"/>
                      <a:gd name="connsiteY290" fmla="*/ 335590 h 1600200"/>
                      <a:gd name="connsiteX291" fmla="*/ 1958792 w 2085975"/>
                      <a:gd name="connsiteY291" fmla="*/ 336327 h 1600200"/>
                      <a:gd name="connsiteX292" fmla="*/ 1953717 w 2085975"/>
                      <a:gd name="connsiteY292" fmla="*/ 336435 h 1600200"/>
                      <a:gd name="connsiteX293" fmla="*/ 1939702 w 2085975"/>
                      <a:gd name="connsiteY293" fmla="*/ 336739 h 1600200"/>
                      <a:gd name="connsiteX294" fmla="*/ 1925842 w 2085975"/>
                      <a:gd name="connsiteY294" fmla="*/ 336479 h 1600200"/>
                      <a:gd name="connsiteX295" fmla="*/ 1850829 w 2085975"/>
                      <a:gd name="connsiteY295" fmla="*/ 337889 h 1600200"/>
                      <a:gd name="connsiteX296" fmla="*/ 1838269 w 2085975"/>
                      <a:gd name="connsiteY296" fmla="*/ 338279 h 1600200"/>
                      <a:gd name="connsiteX297" fmla="*/ 1840525 w 2085975"/>
                      <a:gd name="connsiteY297" fmla="*/ 347607 h 1600200"/>
                      <a:gd name="connsiteX298" fmla="*/ 1841740 w 2085975"/>
                      <a:gd name="connsiteY298" fmla="*/ 347607 h 1600200"/>
                      <a:gd name="connsiteX299" fmla="*/ 1842347 w 2085975"/>
                      <a:gd name="connsiteY299" fmla="*/ 350992 h 1600200"/>
                      <a:gd name="connsiteX300" fmla="*/ 1841784 w 2085975"/>
                      <a:gd name="connsiteY300" fmla="*/ 351013 h 1600200"/>
                      <a:gd name="connsiteX301" fmla="*/ 1842672 w 2085975"/>
                      <a:gd name="connsiteY301" fmla="*/ 359430 h 1600200"/>
                      <a:gd name="connsiteX302" fmla="*/ 1842390 w 2085975"/>
                      <a:gd name="connsiteY302" fmla="*/ 359452 h 1600200"/>
                      <a:gd name="connsiteX303" fmla="*/ 1842586 w 2085975"/>
                      <a:gd name="connsiteY303" fmla="*/ 364723 h 1600200"/>
                      <a:gd name="connsiteX304" fmla="*/ 1842347 w 2085975"/>
                      <a:gd name="connsiteY304" fmla="*/ 368389 h 1600200"/>
                      <a:gd name="connsiteX305" fmla="*/ 1842694 w 2085975"/>
                      <a:gd name="connsiteY305" fmla="*/ 368389 h 1600200"/>
                      <a:gd name="connsiteX306" fmla="*/ 1842521 w 2085975"/>
                      <a:gd name="connsiteY306" fmla="*/ 369929 h 1600200"/>
                      <a:gd name="connsiteX307" fmla="*/ 1842239 w 2085975"/>
                      <a:gd name="connsiteY307" fmla="*/ 369907 h 1600200"/>
                      <a:gd name="connsiteX308" fmla="*/ 1841154 w 2085975"/>
                      <a:gd name="connsiteY308" fmla="*/ 378432 h 1600200"/>
                      <a:gd name="connsiteX309" fmla="*/ 1841480 w 2085975"/>
                      <a:gd name="connsiteY309" fmla="*/ 378454 h 1600200"/>
                      <a:gd name="connsiteX310" fmla="*/ 1841089 w 2085975"/>
                      <a:gd name="connsiteY310" fmla="*/ 380753 h 1600200"/>
                      <a:gd name="connsiteX311" fmla="*/ 1840807 w 2085975"/>
                      <a:gd name="connsiteY311" fmla="*/ 380731 h 1600200"/>
                      <a:gd name="connsiteX312" fmla="*/ 1839115 w 2085975"/>
                      <a:gd name="connsiteY312" fmla="*/ 388628 h 1600200"/>
                      <a:gd name="connsiteX313" fmla="*/ 1839310 w 2085975"/>
                      <a:gd name="connsiteY313" fmla="*/ 388650 h 1600200"/>
                      <a:gd name="connsiteX314" fmla="*/ 1838746 w 2085975"/>
                      <a:gd name="connsiteY314" fmla="*/ 390884 h 1600200"/>
                      <a:gd name="connsiteX315" fmla="*/ 1838442 w 2085975"/>
                      <a:gd name="connsiteY315" fmla="*/ 390840 h 1600200"/>
                      <a:gd name="connsiteX316" fmla="*/ 1835688 w 2085975"/>
                      <a:gd name="connsiteY316" fmla="*/ 399431 h 1600200"/>
                      <a:gd name="connsiteX317" fmla="*/ 1835536 w 2085975"/>
                      <a:gd name="connsiteY317" fmla="*/ 399409 h 1600200"/>
                      <a:gd name="connsiteX318" fmla="*/ 1834820 w 2085975"/>
                      <a:gd name="connsiteY318" fmla="*/ 401123 h 1600200"/>
                      <a:gd name="connsiteX319" fmla="*/ 1834560 w 2085975"/>
                      <a:gd name="connsiteY319" fmla="*/ 401079 h 1600200"/>
                      <a:gd name="connsiteX320" fmla="*/ 1831588 w 2085975"/>
                      <a:gd name="connsiteY320" fmla="*/ 408107 h 1600200"/>
                      <a:gd name="connsiteX321" fmla="*/ 1832000 w 2085975"/>
                      <a:gd name="connsiteY321" fmla="*/ 408194 h 1600200"/>
                      <a:gd name="connsiteX322" fmla="*/ 1831002 w 2085975"/>
                      <a:gd name="connsiteY322" fmla="*/ 410386 h 1600200"/>
                      <a:gd name="connsiteX323" fmla="*/ 1831501 w 2085975"/>
                      <a:gd name="connsiteY323" fmla="*/ 410450 h 1600200"/>
                      <a:gd name="connsiteX324" fmla="*/ 1830850 w 2085975"/>
                      <a:gd name="connsiteY324" fmla="*/ 411969 h 1600200"/>
                      <a:gd name="connsiteX325" fmla="*/ 1830459 w 2085975"/>
                      <a:gd name="connsiteY325" fmla="*/ 411904 h 1600200"/>
                      <a:gd name="connsiteX326" fmla="*/ 1827574 w 2085975"/>
                      <a:gd name="connsiteY326" fmla="*/ 418715 h 1600200"/>
                      <a:gd name="connsiteX327" fmla="*/ 1827965 w 2085975"/>
                      <a:gd name="connsiteY327" fmla="*/ 418802 h 1600200"/>
                      <a:gd name="connsiteX328" fmla="*/ 1827813 w 2085975"/>
                      <a:gd name="connsiteY328" fmla="*/ 419214 h 1600200"/>
                      <a:gd name="connsiteX329" fmla="*/ 1826035 w 2085975"/>
                      <a:gd name="connsiteY329" fmla="*/ 423292 h 1600200"/>
                      <a:gd name="connsiteX330" fmla="*/ 1825687 w 2085975"/>
                      <a:gd name="connsiteY330" fmla="*/ 423227 h 1600200"/>
                      <a:gd name="connsiteX331" fmla="*/ 1822477 w 2085975"/>
                      <a:gd name="connsiteY331" fmla="*/ 430863 h 1600200"/>
                      <a:gd name="connsiteX332" fmla="*/ 1822846 w 2085975"/>
                      <a:gd name="connsiteY332" fmla="*/ 430928 h 1600200"/>
                      <a:gd name="connsiteX333" fmla="*/ 1821002 w 2085975"/>
                      <a:gd name="connsiteY333" fmla="*/ 435375 h 1600200"/>
                      <a:gd name="connsiteX334" fmla="*/ 1820676 w 2085975"/>
                      <a:gd name="connsiteY334" fmla="*/ 435332 h 1600200"/>
                      <a:gd name="connsiteX335" fmla="*/ 1820589 w 2085975"/>
                      <a:gd name="connsiteY335" fmla="*/ 435549 h 1600200"/>
                      <a:gd name="connsiteX336" fmla="*/ 1817422 w 2085975"/>
                      <a:gd name="connsiteY336" fmla="*/ 443097 h 1600200"/>
                      <a:gd name="connsiteX337" fmla="*/ 1817791 w 2085975"/>
                      <a:gd name="connsiteY337" fmla="*/ 443163 h 1600200"/>
                      <a:gd name="connsiteX338" fmla="*/ 1815860 w 2085975"/>
                      <a:gd name="connsiteY338" fmla="*/ 447675 h 1600200"/>
                      <a:gd name="connsiteX339" fmla="*/ 1815514 w 2085975"/>
                      <a:gd name="connsiteY339" fmla="*/ 447609 h 1600200"/>
                      <a:gd name="connsiteX340" fmla="*/ 1815383 w 2085975"/>
                      <a:gd name="connsiteY340" fmla="*/ 447891 h 1600200"/>
                      <a:gd name="connsiteX341" fmla="*/ 1813323 w 2085975"/>
                      <a:gd name="connsiteY341" fmla="*/ 453206 h 1600200"/>
                      <a:gd name="connsiteX342" fmla="*/ 1813518 w 2085975"/>
                      <a:gd name="connsiteY342" fmla="*/ 453250 h 1600200"/>
                      <a:gd name="connsiteX343" fmla="*/ 1808334 w 2085975"/>
                      <a:gd name="connsiteY343" fmla="*/ 465701 h 1600200"/>
                      <a:gd name="connsiteX344" fmla="*/ 1808247 w 2085975"/>
                      <a:gd name="connsiteY344" fmla="*/ 465853 h 1600200"/>
                      <a:gd name="connsiteX345" fmla="*/ 1807835 w 2085975"/>
                      <a:gd name="connsiteY345" fmla="*/ 465788 h 1600200"/>
                      <a:gd name="connsiteX346" fmla="*/ 1807162 w 2085975"/>
                      <a:gd name="connsiteY346" fmla="*/ 467393 h 1600200"/>
                      <a:gd name="connsiteX347" fmla="*/ 1806902 w 2085975"/>
                      <a:gd name="connsiteY347" fmla="*/ 467350 h 1600200"/>
                      <a:gd name="connsiteX348" fmla="*/ 1805014 w 2085975"/>
                      <a:gd name="connsiteY348" fmla="*/ 471884 h 1600200"/>
                      <a:gd name="connsiteX349" fmla="*/ 1803301 w 2085975"/>
                      <a:gd name="connsiteY349" fmla="*/ 475939 h 1600200"/>
                      <a:gd name="connsiteX350" fmla="*/ 1804104 w 2085975"/>
                      <a:gd name="connsiteY350" fmla="*/ 475831 h 1600200"/>
                      <a:gd name="connsiteX351" fmla="*/ 1803453 w 2085975"/>
                      <a:gd name="connsiteY351" fmla="*/ 477350 h 1600200"/>
                      <a:gd name="connsiteX352" fmla="*/ 1803605 w 2085975"/>
                      <a:gd name="connsiteY352" fmla="*/ 477371 h 1600200"/>
                      <a:gd name="connsiteX353" fmla="*/ 1802997 w 2085975"/>
                      <a:gd name="connsiteY353" fmla="*/ 478825 h 1600200"/>
                      <a:gd name="connsiteX354" fmla="*/ 1802650 w 2085975"/>
                      <a:gd name="connsiteY354" fmla="*/ 478760 h 1600200"/>
                      <a:gd name="connsiteX355" fmla="*/ 1799353 w 2085975"/>
                      <a:gd name="connsiteY355" fmla="*/ 486352 h 1600200"/>
                      <a:gd name="connsiteX356" fmla="*/ 1799374 w 2085975"/>
                      <a:gd name="connsiteY356" fmla="*/ 486873 h 1600200"/>
                      <a:gd name="connsiteX357" fmla="*/ 1796359 w 2085975"/>
                      <a:gd name="connsiteY357" fmla="*/ 494118 h 1600200"/>
                      <a:gd name="connsiteX358" fmla="*/ 1782801 w 2085975"/>
                      <a:gd name="connsiteY358" fmla="*/ 526245 h 1600200"/>
                      <a:gd name="connsiteX359" fmla="*/ 1756619 w 2085975"/>
                      <a:gd name="connsiteY359" fmla="*/ 589197 h 1600200"/>
                      <a:gd name="connsiteX360" fmla="*/ 1756293 w 2085975"/>
                      <a:gd name="connsiteY360" fmla="*/ 589197 h 1600200"/>
                      <a:gd name="connsiteX361" fmla="*/ 1755491 w 2085975"/>
                      <a:gd name="connsiteY361" fmla="*/ 591148 h 1600200"/>
                      <a:gd name="connsiteX362" fmla="*/ 1755165 w 2085975"/>
                      <a:gd name="connsiteY362" fmla="*/ 591105 h 1600200"/>
                      <a:gd name="connsiteX363" fmla="*/ 1753256 w 2085975"/>
                      <a:gd name="connsiteY363" fmla="*/ 595660 h 1600200"/>
                      <a:gd name="connsiteX364" fmla="*/ 1867467 w 2085975"/>
                      <a:gd name="connsiteY364" fmla="*/ 613514 h 1600200"/>
                      <a:gd name="connsiteX365" fmla="*/ 1873086 w 2085975"/>
                      <a:gd name="connsiteY365" fmla="*/ 614164 h 1600200"/>
                      <a:gd name="connsiteX366" fmla="*/ 1880223 w 2085975"/>
                      <a:gd name="connsiteY366" fmla="*/ 614728 h 1600200"/>
                      <a:gd name="connsiteX367" fmla="*/ 1900743 w 2085975"/>
                      <a:gd name="connsiteY367" fmla="*/ 615444 h 1600200"/>
                      <a:gd name="connsiteX368" fmla="*/ 1920289 w 2085975"/>
                      <a:gd name="connsiteY368" fmla="*/ 616008 h 1600200"/>
                      <a:gd name="connsiteX369" fmla="*/ 1920072 w 2085975"/>
                      <a:gd name="connsiteY369" fmla="*/ 622603 h 1600200"/>
                      <a:gd name="connsiteX370" fmla="*/ 1916319 w 2085975"/>
                      <a:gd name="connsiteY370" fmla="*/ 622559 h 1600200"/>
                      <a:gd name="connsiteX371" fmla="*/ 1916297 w 2085975"/>
                      <a:gd name="connsiteY371" fmla="*/ 623297 h 1600200"/>
                      <a:gd name="connsiteX372" fmla="*/ 1915104 w 2085975"/>
                      <a:gd name="connsiteY372" fmla="*/ 623644 h 1600200"/>
                      <a:gd name="connsiteX373" fmla="*/ 1913390 w 2085975"/>
                      <a:gd name="connsiteY373" fmla="*/ 643904 h 1600200"/>
                      <a:gd name="connsiteX374" fmla="*/ 1910180 w 2085975"/>
                      <a:gd name="connsiteY374" fmla="*/ 663905 h 1600200"/>
                      <a:gd name="connsiteX375" fmla="*/ 1909963 w 2085975"/>
                      <a:gd name="connsiteY375" fmla="*/ 667766 h 1600200"/>
                      <a:gd name="connsiteX376" fmla="*/ 1910114 w 2085975"/>
                      <a:gd name="connsiteY376" fmla="*/ 672994 h 1600200"/>
                      <a:gd name="connsiteX377" fmla="*/ 1967664 w 2085975"/>
                      <a:gd name="connsiteY377" fmla="*/ 672278 h 1600200"/>
                      <a:gd name="connsiteX378" fmla="*/ 1976710 w 2085975"/>
                      <a:gd name="connsiteY378" fmla="*/ 671974 h 1600200"/>
                      <a:gd name="connsiteX379" fmla="*/ 1986515 w 2085975"/>
                      <a:gd name="connsiteY379" fmla="*/ 671324 h 1600200"/>
                      <a:gd name="connsiteX380" fmla="*/ 1997926 w 2085975"/>
                      <a:gd name="connsiteY380" fmla="*/ 670174 h 1600200"/>
                      <a:gd name="connsiteX381" fmla="*/ 2006298 w 2085975"/>
                      <a:gd name="connsiteY381" fmla="*/ 669067 h 1600200"/>
                      <a:gd name="connsiteX382" fmla="*/ 2019878 w 2085975"/>
                      <a:gd name="connsiteY382" fmla="*/ 666985 h 1600200"/>
                      <a:gd name="connsiteX383" fmla="*/ 2022395 w 2085975"/>
                      <a:gd name="connsiteY383" fmla="*/ 672496 h 1600200"/>
                      <a:gd name="connsiteX384" fmla="*/ 2035714 w 2085975"/>
                      <a:gd name="connsiteY384" fmla="*/ 670217 h 1600200"/>
                      <a:gd name="connsiteX385" fmla="*/ 2043263 w 2085975"/>
                      <a:gd name="connsiteY385" fmla="*/ 686638 h 1600200"/>
                      <a:gd name="connsiteX386" fmla="*/ 2042633 w 2085975"/>
                      <a:gd name="connsiteY386" fmla="*/ 687203 h 1600200"/>
                      <a:gd name="connsiteX387" fmla="*/ 2064912 w 2085975"/>
                      <a:gd name="connsiteY387" fmla="*/ 735512 h 1600200"/>
                      <a:gd name="connsiteX388" fmla="*/ 2078318 w 2085975"/>
                      <a:gd name="connsiteY388" fmla="*/ 764579 h 1600200"/>
                      <a:gd name="connsiteX389" fmla="*/ 2079685 w 2085975"/>
                      <a:gd name="connsiteY389" fmla="*/ 764363 h 1600200"/>
                      <a:gd name="connsiteX390" fmla="*/ 2081268 w 2085975"/>
                      <a:gd name="connsiteY390" fmla="*/ 768246 h 1600200"/>
                      <a:gd name="connsiteX391" fmla="*/ 2082114 w 2085975"/>
                      <a:gd name="connsiteY391" fmla="*/ 789005 h 1600200"/>
                      <a:gd name="connsiteX392" fmla="*/ 2053675 w 2085975"/>
                      <a:gd name="connsiteY392" fmla="*/ 789331 h 1600200"/>
                      <a:gd name="connsiteX393" fmla="*/ 2054304 w 2085975"/>
                      <a:gd name="connsiteY393" fmla="*/ 807943 h 1600200"/>
                      <a:gd name="connsiteX394" fmla="*/ 2059618 w 2085975"/>
                      <a:gd name="connsiteY394" fmla="*/ 807943 h 1600200"/>
                      <a:gd name="connsiteX395" fmla="*/ 2060790 w 2085975"/>
                      <a:gd name="connsiteY395" fmla="*/ 860373 h 1600200"/>
                      <a:gd name="connsiteX396" fmla="*/ 2047232 w 2085975"/>
                      <a:gd name="connsiteY396" fmla="*/ 864517 h 1600200"/>
                      <a:gd name="connsiteX397" fmla="*/ 2047123 w 2085975"/>
                      <a:gd name="connsiteY397" fmla="*/ 923390 h 1600200"/>
                      <a:gd name="connsiteX398" fmla="*/ 2047254 w 2085975"/>
                      <a:gd name="connsiteY398" fmla="*/ 926232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Lst>
                    <a:rect l="l" t="t" r="r" b="b"/>
                    <a:pathLst>
                      <a:path w="2085975" h="1600200">
                        <a:moveTo>
                          <a:pt x="2047254" y="926232"/>
                        </a:moveTo>
                        <a:lnTo>
                          <a:pt x="2048166" y="978445"/>
                        </a:lnTo>
                        <a:lnTo>
                          <a:pt x="1957209" y="979010"/>
                        </a:lnTo>
                        <a:lnTo>
                          <a:pt x="1958358" y="1052460"/>
                        </a:lnTo>
                        <a:lnTo>
                          <a:pt x="1974714" y="1052331"/>
                        </a:lnTo>
                        <a:lnTo>
                          <a:pt x="1974932" y="1063567"/>
                        </a:lnTo>
                        <a:lnTo>
                          <a:pt x="1976862" y="1165565"/>
                        </a:lnTo>
                        <a:lnTo>
                          <a:pt x="1976905" y="1167799"/>
                        </a:lnTo>
                        <a:lnTo>
                          <a:pt x="1978685" y="1167799"/>
                        </a:lnTo>
                        <a:lnTo>
                          <a:pt x="1980658" y="1168059"/>
                        </a:lnTo>
                        <a:lnTo>
                          <a:pt x="1986342" y="1170337"/>
                        </a:lnTo>
                        <a:lnTo>
                          <a:pt x="1981721" y="1174502"/>
                        </a:lnTo>
                        <a:lnTo>
                          <a:pt x="1977058" y="1177713"/>
                        </a:lnTo>
                        <a:lnTo>
                          <a:pt x="1971330" y="1180706"/>
                        </a:lnTo>
                        <a:lnTo>
                          <a:pt x="1967686" y="1182203"/>
                        </a:lnTo>
                        <a:lnTo>
                          <a:pt x="1964346" y="1183353"/>
                        </a:lnTo>
                        <a:lnTo>
                          <a:pt x="1960333" y="1184502"/>
                        </a:lnTo>
                        <a:lnTo>
                          <a:pt x="1956602" y="1185370"/>
                        </a:lnTo>
                        <a:lnTo>
                          <a:pt x="1948879" y="1186520"/>
                        </a:lnTo>
                        <a:lnTo>
                          <a:pt x="1942978" y="1186866"/>
                        </a:lnTo>
                        <a:lnTo>
                          <a:pt x="1929573" y="1186650"/>
                        </a:lnTo>
                        <a:lnTo>
                          <a:pt x="1915971" y="1186107"/>
                        </a:lnTo>
                        <a:lnTo>
                          <a:pt x="1905320" y="1185435"/>
                        </a:lnTo>
                        <a:lnTo>
                          <a:pt x="1905255" y="1185630"/>
                        </a:lnTo>
                        <a:lnTo>
                          <a:pt x="1896557" y="1185066"/>
                        </a:lnTo>
                        <a:lnTo>
                          <a:pt x="1896622" y="1194155"/>
                        </a:lnTo>
                        <a:lnTo>
                          <a:pt x="1893107" y="1194503"/>
                        </a:lnTo>
                        <a:lnTo>
                          <a:pt x="1891806" y="1194893"/>
                        </a:lnTo>
                        <a:lnTo>
                          <a:pt x="1890396" y="1195891"/>
                        </a:lnTo>
                        <a:lnTo>
                          <a:pt x="1889897" y="1196911"/>
                        </a:lnTo>
                        <a:lnTo>
                          <a:pt x="1889875" y="1197431"/>
                        </a:lnTo>
                        <a:lnTo>
                          <a:pt x="1890461" y="1198342"/>
                        </a:lnTo>
                        <a:lnTo>
                          <a:pt x="1890093" y="1204936"/>
                        </a:lnTo>
                        <a:lnTo>
                          <a:pt x="1887511" y="1225913"/>
                        </a:lnTo>
                        <a:lnTo>
                          <a:pt x="1887055" y="1233289"/>
                        </a:lnTo>
                        <a:lnTo>
                          <a:pt x="1887034" y="1238821"/>
                        </a:lnTo>
                        <a:lnTo>
                          <a:pt x="1887250" y="1238821"/>
                        </a:lnTo>
                        <a:lnTo>
                          <a:pt x="1887316" y="1240273"/>
                        </a:lnTo>
                        <a:lnTo>
                          <a:pt x="1886839" y="1240361"/>
                        </a:lnTo>
                        <a:lnTo>
                          <a:pt x="1887034" y="1243788"/>
                        </a:lnTo>
                        <a:lnTo>
                          <a:pt x="1887359" y="1243788"/>
                        </a:lnTo>
                        <a:lnTo>
                          <a:pt x="1887381" y="1245284"/>
                        </a:lnTo>
                        <a:lnTo>
                          <a:pt x="1887576" y="1245479"/>
                        </a:lnTo>
                        <a:lnTo>
                          <a:pt x="1891394" y="1276717"/>
                        </a:lnTo>
                        <a:lnTo>
                          <a:pt x="1895255" y="1301447"/>
                        </a:lnTo>
                        <a:lnTo>
                          <a:pt x="1897945" y="1315178"/>
                        </a:lnTo>
                        <a:lnTo>
                          <a:pt x="1899767" y="1320796"/>
                        </a:lnTo>
                        <a:lnTo>
                          <a:pt x="1902240" y="1325764"/>
                        </a:lnTo>
                        <a:lnTo>
                          <a:pt x="1905386" y="1330405"/>
                        </a:lnTo>
                        <a:lnTo>
                          <a:pt x="1908813" y="1334354"/>
                        </a:lnTo>
                        <a:lnTo>
                          <a:pt x="1913564" y="1338714"/>
                        </a:lnTo>
                        <a:lnTo>
                          <a:pt x="1917555" y="1341686"/>
                        </a:lnTo>
                        <a:lnTo>
                          <a:pt x="1923303" y="1345287"/>
                        </a:lnTo>
                        <a:lnTo>
                          <a:pt x="1927209" y="1347239"/>
                        </a:lnTo>
                        <a:lnTo>
                          <a:pt x="1934995" y="1350428"/>
                        </a:lnTo>
                        <a:lnTo>
                          <a:pt x="1941526" y="1352489"/>
                        </a:lnTo>
                        <a:lnTo>
                          <a:pt x="1947403" y="1353986"/>
                        </a:lnTo>
                        <a:lnTo>
                          <a:pt x="1953022" y="1355070"/>
                        </a:lnTo>
                        <a:lnTo>
                          <a:pt x="1960484" y="1356047"/>
                        </a:lnTo>
                        <a:lnTo>
                          <a:pt x="1969335" y="1356653"/>
                        </a:lnTo>
                        <a:lnTo>
                          <a:pt x="1978142" y="1356784"/>
                        </a:lnTo>
                        <a:lnTo>
                          <a:pt x="1983456" y="1356589"/>
                        </a:lnTo>
                        <a:lnTo>
                          <a:pt x="1984346" y="1356415"/>
                        </a:lnTo>
                        <a:lnTo>
                          <a:pt x="1984411" y="1356675"/>
                        </a:lnTo>
                        <a:lnTo>
                          <a:pt x="1984759" y="1356697"/>
                        </a:lnTo>
                        <a:lnTo>
                          <a:pt x="1984866" y="1356458"/>
                        </a:lnTo>
                        <a:lnTo>
                          <a:pt x="1993501" y="1355938"/>
                        </a:lnTo>
                        <a:lnTo>
                          <a:pt x="1995734" y="1355612"/>
                        </a:lnTo>
                        <a:lnTo>
                          <a:pt x="1995843" y="1355764"/>
                        </a:lnTo>
                        <a:lnTo>
                          <a:pt x="1998988" y="1355504"/>
                        </a:lnTo>
                        <a:lnTo>
                          <a:pt x="1998945" y="1355309"/>
                        </a:lnTo>
                        <a:lnTo>
                          <a:pt x="2003045" y="1355027"/>
                        </a:lnTo>
                        <a:lnTo>
                          <a:pt x="2003110" y="1355200"/>
                        </a:lnTo>
                        <a:lnTo>
                          <a:pt x="2005626" y="1355005"/>
                        </a:lnTo>
                        <a:lnTo>
                          <a:pt x="2006928" y="1364875"/>
                        </a:lnTo>
                        <a:lnTo>
                          <a:pt x="2009270" y="1381991"/>
                        </a:lnTo>
                        <a:lnTo>
                          <a:pt x="2008273" y="1395418"/>
                        </a:lnTo>
                        <a:lnTo>
                          <a:pt x="1989400" y="1442187"/>
                        </a:lnTo>
                        <a:lnTo>
                          <a:pt x="1818355" y="1499520"/>
                        </a:lnTo>
                        <a:lnTo>
                          <a:pt x="1758050" y="1509911"/>
                        </a:lnTo>
                        <a:lnTo>
                          <a:pt x="1466764" y="1513881"/>
                        </a:lnTo>
                        <a:lnTo>
                          <a:pt x="1362640" y="1595162"/>
                        </a:lnTo>
                        <a:lnTo>
                          <a:pt x="1358215" y="1598394"/>
                        </a:lnTo>
                        <a:lnTo>
                          <a:pt x="1342661" y="1587960"/>
                        </a:lnTo>
                        <a:lnTo>
                          <a:pt x="1321641" y="1577396"/>
                        </a:lnTo>
                        <a:lnTo>
                          <a:pt x="1261619" y="1552298"/>
                        </a:lnTo>
                        <a:lnTo>
                          <a:pt x="1154262" y="1508024"/>
                        </a:lnTo>
                        <a:lnTo>
                          <a:pt x="1052937" y="1465897"/>
                        </a:lnTo>
                        <a:lnTo>
                          <a:pt x="960722" y="1427566"/>
                        </a:lnTo>
                        <a:lnTo>
                          <a:pt x="948140" y="1422317"/>
                        </a:lnTo>
                        <a:lnTo>
                          <a:pt x="938357" y="1417111"/>
                        </a:lnTo>
                        <a:lnTo>
                          <a:pt x="928812" y="1410299"/>
                        </a:lnTo>
                        <a:lnTo>
                          <a:pt x="901893" y="1384225"/>
                        </a:lnTo>
                        <a:lnTo>
                          <a:pt x="808550" y="1292465"/>
                        </a:lnTo>
                        <a:lnTo>
                          <a:pt x="801088" y="1286652"/>
                        </a:lnTo>
                        <a:lnTo>
                          <a:pt x="793799" y="1282227"/>
                        </a:lnTo>
                        <a:lnTo>
                          <a:pt x="781651" y="1274808"/>
                        </a:lnTo>
                        <a:lnTo>
                          <a:pt x="773322" y="1271208"/>
                        </a:lnTo>
                        <a:lnTo>
                          <a:pt x="729785" y="1253138"/>
                        </a:lnTo>
                        <a:lnTo>
                          <a:pt x="570431" y="1187951"/>
                        </a:lnTo>
                        <a:lnTo>
                          <a:pt x="373833" y="1107429"/>
                        </a:lnTo>
                        <a:lnTo>
                          <a:pt x="279514" y="1070335"/>
                        </a:lnTo>
                        <a:lnTo>
                          <a:pt x="165195" y="1025388"/>
                        </a:lnTo>
                        <a:lnTo>
                          <a:pt x="61223" y="984976"/>
                        </a:lnTo>
                        <a:lnTo>
                          <a:pt x="46537" y="978120"/>
                        </a:lnTo>
                        <a:lnTo>
                          <a:pt x="34671" y="971396"/>
                        </a:lnTo>
                        <a:lnTo>
                          <a:pt x="25517" y="964432"/>
                        </a:lnTo>
                        <a:lnTo>
                          <a:pt x="17469" y="956038"/>
                        </a:lnTo>
                        <a:lnTo>
                          <a:pt x="12936" y="949638"/>
                        </a:lnTo>
                        <a:lnTo>
                          <a:pt x="9399" y="941243"/>
                        </a:lnTo>
                        <a:lnTo>
                          <a:pt x="7144" y="926297"/>
                        </a:lnTo>
                        <a:lnTo>
                          <a:pt x="8575" y="915972"/>
                        </a:lnTo>
                        <a:lnTo>
                          <a:pt x="12783" y="901871"/>
                        </a:lnTo>
                        <a:lnTo>
                          <a:pt x="20940" y="872413"/>
                        </a:lnTo>
                        <a:lnTo>
                          <a:pt x="42849" y="796338"/>
                        </a:lnTo>
                        <a:lnTo>
                          <a:pt x="75409" y="680499"/>
                        </a:lnTo>
                        <a:lnTo>
                          <a:pt x="86061" y="640282"/>
                        </a:lnTo>
                        <a:lnTo>
                          <a:pt x="88230" y="629414"/>
                        </a:lnTo>
                        <a:lnTo>
                          <a:pt x="88707" y="615900"/>
                        </a:lnTo>
                        <a:lnTo>
                          <a:pt x="88057" y="604229"/>
                        </a:lnTo>
                        <a:lnTo>
                          <a:pt x="86994" y="593296"/>
                        </a:lnTo>
                        <a:lnTo>
                          <a:pt x="84022" y="576897"/>
                        </a:lnTo>
                        <a:lnTo>
                          <a:pt x="76776" y="554120"/>
                        </a:lnTo>
                        <a:lnTo>
                          <a:pt x="65562" y="529759"/>
                        </a:lnTo>
                        <a:lnTo>
                          <a:pt x="53782" y="511147"/>
                        </a:lnTo>
                        <a:lnTo>
                          <a:pt x="41808" y="495593"/>
                        </a:lnTo>
                        <a:lnTo>
                          <a:pt x="59640" y="490929"/>
                        </a:lnTo>
                        <a:lnTo>
                          <a:pt x="100161" y="461622"/>
                        </a:lnTo>
                        <a:lnTo>
                          <a:pt x="99163" y="426676"/>
                        </a:lnTo>
                        <a:lnTo>
                          <a:pt x="97167" y="367499"/>
                        </a:lnTo>
                        <a:lnTo>
                          <a:pt x="96430" y="357759"/>
                        </a:lnTo>
                        <a:lnTo>
                          <a:pt x="96235" y="351187"/>
                        </a:lnTo>
                        <a:lnTo>
                          <a:pt x="86950" y="291207"/>
                        </a:lnTo>
                        <a:lnTo>
                          <a:pt x="83219" y="279926"/>
                        </a:lnTo>
                        <a:lnTo>
                          <a:pt x="82243" y="274655"/>
                        </a:lnTo>
                        <a:lnTo>
                          <a:pt x="75887" y="239926"/>
                        </a:lnTo>
                        <a:lnTo>
                          <a:pt x="76798" y="209513"/>
                        </a:lnTo>
                        <a:lnTo>
                          <a:pt x="75974" y="160618"/>
                        </a:lnTo>
                        <a:lnTo>
                          <a:pt x="75995" y="142744"/>
                        </a:lnTo>
                        <a:lnTo>
                          <a:pt x="75496" y="131398"/>
                        </a:lnTo>
                        <a:lnTo>
                          <a:pt x="73110" y="99532"/>
                        </a:lnTo>
                        <a:lnTo>
                          <a:pt x="72894" y="89142"/>
                        </a:lnTo>
                        <a:lnTo>
                          <a:pt x="72677" y="87255"/>
                        </a:lnTo>
                        <a:lnTo>
                          <a:pt x="71831" y="85606"/>
                        </a:lnTo>
                        <a:lnTo>
                          <a:pt x="70269" y="83892"/>
                        </a:lnTo>
                        <a:lnTo>
                          <a:pt x="66928" y="81571"/>
                        </a:lnTo>
                        <a:lnTo>
                          <a:pt x="64520" y="80855"/>
                        </a:lnTo>
                        <a:lnTo>
                          <a:pt x="81983" y="30529"/>
                        </a:lnTo>
                        <a:lnTo>
                          <a:pt x="105367" y="36949"/>
                        </a:lnTo>
                        <a:lnTo>
                          <a:pt x="115107" y="8597"/>
                        </a:lnTo>
                        <a:lnTo>
                          <a:pt x="222419" y="22133"/>
                        </a:lnTo>
                        <a:lnTo>
                          <a:pt x="236433" y="23435"/>
                        </a:lnTo>
                        <a:lnTo>
                          <a:pt x="279796" y="29140"/>
                        </a:lnTo>
                        <a:lnTo>
                          <a:pt x="312551" y="34715"/>
                        </a:lnTo>
                        <a:lnTo>
                          <a:pt x="319189" y="36234"/>
                        </a:lnTo>
                        <a:lnTo>
                          <a:pt x="363095" y="48208"/>
                        </a:lnTo>
                        <a:lnTo>
                          <a:pt x="357715" y="52047"/>
                        </a:lnTo>
                        <a:lnTo>
                          <a:pt x="354483" y="55692"/>
                        </a:lnTo>
                        <a:lnTo>
                          <a:pt x="352726" y="58621"/>
                        </a:lnTo>
                        <a:lnTo>
                          <a:pt x="351880" y="60008"/>
                        </a:lnTo>
                        <a:lnTo>
                          <a:pt x="351077" y="62698"/>
                        </a:lnTo>
                        <a:lnTo>
                          <a:pt x="349668" y="70269"/>
                        </a:lnTo>
                        <a:lnTo>
                          <a:pt x="400819" y="125541"/>
                        </a:lnTo>
                        <a:lnTo>
                          <a:pt x="444616" y="32242"/>
                        </a:lnTo>
                        <a:lnTo>
                          <a:pt x="828659" y="31895"/>
                        </a:lnTo>
                        <a:lnTo>
                          <a:pt x="835492" y="31332"/>
                        </a:lnTo>
                        <a:lnTo>
                          <a:pt x="851913" y="29075"/>
                        </a:lnTo>
                        <a:lnTo>
                          <a:pt x="875991" y="27361"/>
                        </a:lnTo>
                        <a:lnTo>
                          <a:pt x="884691" y="27665"/>
                        </a:lnTo>
                        <a:lnTo>
                          <a:pt x="890005" y="27513"/>
                        </a:lnTo>
                        <a:lnTo>
                          <a:pt x="893584" y="26906"/>
                        </a:lnTo>
                        <a:lnTo>
                          <a:pt x="899008" y="25843"/>
                        </a:lnTo>
                        <a:lnTo>
                          <a:pt x="906513" y="23695"/>
                        </a:lnTo>
                        <a:lnTo>
                          <a:pt x="916817" y="19704"/>
                        </a:lnTo>
                        <a:lnTo>
                          <a:pt x="930028" y="14064"/>
                        </a:lnTo>
                        <a:lnTo>
                          <a:pt x="941742" y="10528"/>
                        </a:lnTo>
                        <a:lnTo>
                          <a:pt x="948792" y="8966"/>
                        </a:lnTo>
                        <a:lnTo>
                          <a:pt x="957230" y="7773"/>
                        </a:lnTo>
                        <a:lnTo>
                          <a:pt x="963087" y="7318"/>
                        </a:lnTo>
                        <a:lnTo>
                          <a:pt x="968119" y="7144"/>
                        </a:lnTo>
                        <a:lnTo>
                          <a:pt x="974042" y="7209"/>
                        </a:lnTo>
                        <a:lnTo>
                          <a:pt x="981743" y="7709"/>
                        </a:lnTo>
                        <a:lnTo>
                          <a:pt x="990592" y="8923"/>
                        </a:lnTo>
                        <a:lnTo>
                          <a:pt x="995951" y="10095"/>
                        </a:lnTo>
                        <a:lnTo>
                          <a:pt x="1001265" y="11526"/>
                        </a:lnTo>
                        <a:lnTo>
                          <a:pt x="1007535" y="13566"/>
                        </a:lnTo>
                        <a:lnTo>
                          <a:pt x="1011547" y="15084"/>
                        </a:lnTo>
                        <a:lnTo>
                          <a:pt x="1015517" y="17079"/>
                        </a:lnTo>
                        <a:lnTo>
                          <a:pt x="1016754" y="19119"/>
                        </a:lnTo>
                        <a:lnTo>
                          <a:pt x="1021982" y="22026"/>
                        </a:lnTo>
                        <a:lnTo>
                          <a:pt x="1027708" y="25995"/>
                        </a:lnTo>
                        <a:lnTo>
                          <a:pt x="1031939" y="29834"/>
                        </a:lnTo>
                        <a:lnTo>
                          <a:pt x="1034888" y="33197"/>
                        </a:lnTo>
                        <a:lnTo>
                          <a:pt x="1036668" y="35735"/>
                        </a:lnTo>
                        <a:lnTo>
                          <a:pt x="1039748" y="41353"/>
                        </a:lnTo>
                        <a:lnTo>
                          <a:pt x="1046191" y="56429"/>
                        </a:lnTo>
                        <a:lnTo>
                          <a:pt x="1050508" y="65084"/>
                        </a:lnTo>
                        <a:lnTo>
                          <a:pt x="1053349" y="70226"/>
                        </a:lnTo>
                        <a:lnTo>
                          <a:pt x="1060551" y="81962"/>
                        </a:lnTo>
                        <a:lnTo>
                          <a:pt x="1064325" y="87515"/>
                        </a:lnTo>
                        <a:lnTo>
                          <a:pt x="1073176" y="99337"/>
                        </a:lnTo>
                        <a:lnTo>
                          <a:pt x="1077558" y="104630"/>
                        </a:lnTo>
                        <a:lnTo>
                          <a:pt x="1082395" y="110161"/>
                        </a:lnTo>
                        <a:lnTo>
                          <a:pt x="1091007" y="119272"/>
                        </a:lnTo>
                        <a:lnTo>
                          <a:pt x="1094153" y="122157"/>
                        </a:lnTo>
                        <a:lnTo>
                          <a:pt x="1095867" y="123112"/>
                        </a:lnTo>
                        <a:lnTo>
                          <a:pt x="1099077" y="125628"/>
                        </a:lnTo>
                        <a:lnTo>
                          <a:pt x="1101571" y="127993"/>
                        </a:lnTo>
                        <a:lnTo>
                          <a:pt x="1104088" y="131052"/>
                        </a:lnTo>
                        <a:lnTo>
                          <a:pt x="1106604" y="132266"/>
                        </a:lnTo>
                        <a:lnTo>
                          <a:pt x="1112483" y="132049"/>
                        </a:lnTo>
                        <a:lnTo>
                          <a:pt x="1114197" y="131356"/>
                        </a:lnTo>
                        <a:lnTo>
                          <a:pt x="1116626" y="133784"/>
                        </a:lnTo>
                        <a:lnTo>
                          <a:pt x="1141963" y="124001"/>
                        </a:lnTo>
                        <a:lnTo>
                          <a:pt x="1146388" y="121702"/>
                        </a:lnTo>
                        <a:lnTo>
                          <a:pt x="1152028" y="119533"/>
                        </a:lnTo>
                        <a:lnTo>
                          <a:pt x="1157560" y="117840"/>
                        </a:lnTo>
                        <a:lnTo>
                          <a:pt x="1172202" y="112309"/>
                        </a:lnTo>
                        <a:lnTo>
                          <a:pt x="1177039" y="116517"/>
                        </a:lnTo>
                        <a:lnTo>
                          <a:pt x="1181443" y="114609"/>
                        </a:lnTo>
                        <a:lnTo>
                          <a:pt x="1184740" y="117385"/>
                        </a:lnTo>
                        <a:lnTo>
                          <a:pt x="1186801" y="119424"/>
                        </a:lnTo>
                        <a:lnTo>
                          <a:pt x="1188775" y="121789"/>
                        </a:lnTo>
                        <a:lnTo>
                          <a:pt x="1193287" y="125823"/>
                        </a:lnTo>
                        <a:lnTo>
                          <a:pt x="1195283" y="124999"/>
                        </a:lnTo>
                        <a:lnTo>
                          <a:pt x="1196259" y="126084"/>
                        </a:lnTo>
                        <a:lnTo>
                          <a:pt x="1201292" y="130921"/>
                        </a:lnTo>
                        <a:lnTo>
                          <a:pt x="1204285" y="133286"/>
                        </a:lnTo>
                        <a:lnTo>
                          <a:pt x="1216564" y="141920"/>
                        </a:lnTo>
                        <a:lnTo>
                          <a:pt x="1221813" y="145282"/>
                        </a:lnTo>
                        <a:lnTo>
                          <a:pt x="1241791" y="156692"/>
                        </a:lnTo>
                        <a:lnTo>
                          <a:pt x="1249232" y="160510"/>
                        </a:lnTo>
                        <a:lnTo>
                          <a:pt x="1256954" y="164176"/>
                        </a:lnTo>
                        <a:lnTo>
                          <a:pt x="1269775" y="169599"/>
                        </a:lnTo>
                        <a:lnTo>
                          <a:pt x="1284092" y="175109"/>
                        </a:lnTo>
                        <a:lnTo>
                          <a:pt x="1298040" y="179990"/>
                        </a:lnTo>
                        <a:lnTo>
                          <a:pt x="1304417" y="181964"/>
                        </a:lnTo>
                        <a:lnTo>
                          <a:pt x="1315025" y="184740"/>
                        </a:lnTo>
                        <a:lnTo>
                          <a:pt x="1320101" y="185868"/>
                        </a:lnTo>
                        <a:lnTo>
                          <a:pt x="1326175" y="187083"/>
                        </a:lnTo>
                        <a:lnTo>
                          <a:pt x="1337672" y="188732"/>
                        </a:lnTo>
                        <a:lnTo>
                          <a:pt x="1365699" y="189057"/>
                        </a:lnTo>
                        <a:lnTo>
                          <a:pt x="1394181" y="189101"/>
                        </a:lnTo>
                        <a:lnTo>
                          <a:pt x="1702843" y="188797"/>
                        </a:lnTo>
                        <a:lnTo>
                          <a:pt x="1716770" y="188471"/>
                        </a:lnTo>
                        <a:lnTo>
                          <a:pt x="1730805" y="187539"/>
                        </a:lnTo>
                        <a:lnTo>
                          <a:pt x="1744275" y="185977"/>
                        </a:lnTo>
                        <a:lnTo>
                          <a:pt x="1755664" y="184133"/>
                        </a:lnTo>
                        <a:lnTo>
                          <a:pt x="1757400" y="182680"/>
                        </a:lnTo>
                        <a:lnTo>
                          <a:pt x="1758528" y="179795"/>
                        </a:lnTo>
                        <a:lnTo>
                          <a:pt x="1758506" y="170532"/>
                        </a:lnTo>
                        <a:lnTo>
                          <a:pt x="1759590" y="164870"/>
                        </a:lnTo>
                        <a:lnTo>
                          <a:pt x="1760307" y="148123"/>
                        </a:lnTo>
                        <a:lnTo>
                          <a:pt x="1762107" y="121073"/>
                        </a:lnTo>
                        <a:lnTo>
                          <a:pt x="1763213" y="112331"/>
                        </a:lnTo>
                        <a:lnTo>
                          <a:pt x="1770632" y="112287"/>
                        </a:lnTo>
                        <a:lnTo>
                          <a:pt x="1796099" y="112157"/>
                        </a:lnTo>
                        <a:lnTo>
                          <a:pt x="1808680" y="112352"/>
                        </a:lnTo>
                        <a:lnTo>
                          <a:pt x="1829549" y="96279"/>
                        </a:lnTo>
                        <a:lnTo>
                          <a:pt x="1843345" y="100443"/>
                        </a:lnTo>
                        <a:lnTo>
                          <a:pt x="1844191" y="104326"/>
                        </a:lnTo>
                        <a:lnTo>
                          <a:pt x="1861805" y="109879"/>
                        </a:lnTo>
                        <a:lnTo>
                          <a:pt x="1892652" y="119924"/>
                        </a:lnTo>
                        <a:lnTo>
                          <a:pt x="1885971" y="125477"/>
                        </a:lnTo>
                        <a:lnTo>
                          <a:pt x="1868834" y="138861"/>
                        </a:lnTo>
                        <a:lnTo>
                          <a:pt x="1878010" y="134262"/>
                        </a:lnTo>
                        <a:lnTo>
                          <a:pt x="1889030" y="129490"/>
                        </a:lnTo>
                        <a:lnTo>
                          <a:pt x="1895754" y="126908"/>
                        </a:lnTo>
                        <a:lnTo>
                          <a:pt x="1903108" y="124305"/>
                        </a:lnTo>
                        <a:lnTo>
                          <a:pt x="1905993" y="123568"/>
                        </a:lnTo>
                        <a:lnTo>
                          <a:pt x="1908900" y="123199"/>
                        </a:lnTo>
                        <a:lnTo>
                          <a:pt x="1918379" y="120422"/>
                        </a:lnTo>
                        <a:lnTo>
                          <a:pt x="1925342" y="118687"/>
                        </a:lnTo>
                        <a:lnTo>
                          <a:pt x="1934367" y="116713"/>
                        </a:lnTo>
                        <a:lnTo>
                          <a:pt x="1940961" y="116149"/>
                        </a:lnTo>
                        <a:lnTo>
                          <a:pt x="1948055" y="115151"/>
                        </a:lnTo>
                        <a:lnTo>
                          <a:pt x="1946211" y="122938"/>
                        </a:lnTo>
                        <a:lnTo>
                          <a:pt x="1944931" y="130271"/>
                        </a:lnTo>
                        <a:lnTo>
                          <a:pt x="1943912" y="140488"/>
                        </a:lnTo>
                        <a:lnTo>
                          <a:pt x="1943694" y="149859"/>
                        </a:lnTo>
                        <a:lnTo>
                          <a:pt x="1949205" y="254091"/>
                        </a:lnTo>
                        <a:lnTo>
                          <a:pt x="1955560" y="254091"/>
                        </a:lnTo>
                        <a:lnTo>
                          <a:pt x="1955517" y="253636"/>
                        </a:lnTo>
                        <a:lnTo>
                          <a:pt x="1956059" y="253636"/>
                        </a:lnTo>
                        <a:lnTo>
                          <a:pt x="1956103" y="257193"/>
                        </a:lnTo>
                        <a:lnTo>
                          <a:pt x="1955560" y="257171"/>
                        </a:lnTo>
                        <a:lnTo>
                          <a:pt x="1955755" y="262985"/>
                        </a:lnTo>
                        <a:lnTo>
                          <a:pt x="1957665" y="296977"/>
                        </a:lnTo>
                        <a:lnTo>
                          <a:pt x="1957057" y="308647"/>
                        </a:lnTo>
                        <a:lnTo>
                          <a:pt x="1958467" y="335503"/>
                        </a:lnTo>
                        <a:lnTo>
                          <a:pt x="1958792" y="335590"/>
                        </a:lnTo>
                        <a:lnTo>
                          <a:pt x="1958792" y="336327"/>
                        </a:lnTo>
                        <a:lnTo>
                          <a:pt x="1953717" y="336435"/>
                        </a:lnTo>
                        <a:lnTo>
                          <a:pt x="1939702" y="336739"/>
                        </a:lnTo>
                        <a:lnTo>
                          <a:pt x="1925842" y="336479"/>
                        </a:lnTo>
                        <a:lnTo>
                          <a:pt x="1850829" y="337889"/>
                        </a:lnTo>
                        <a:lnTo>
                          <a:pt x="1838269" y="338279"/>
                        </a:lnTo>
                        <a:lnTo>
                          <a:pt x="1840525" y="347607"/>
                        </a:lnTo>
                        <a:lnTo>
                          <a:pt x="1841740" y="347607"/>
                        </a:lnTo>
                        <a:lnTo>
                          <a:pt x="1842347" y="350992"/>
                        </a:lnTo>
                        <a:lnTo>
                          <a:pt x="1841784" y="351013"/>
                        </a:lnTo>
                        <a:lnTo>
                          <a:pt x="1842672" y="359430"/>
                        </a:lnTo>
                        <a:lnTo>
                          <a:pt x="1842390" y="359452"/>
                        </a:lnTo>
                        <a:lnTo>
                          <a:pt x="1842586" y="364723"/>
                        </a:lnTo>
                        <a:lnTo>
                          <a:pt x="1842347" y="368389"/>
                        </a:lnTo>
                        <a:lnTo>
                          <a:pt x="1842694" y="368389"/>
                        </a:lnTo>
                        <a:lnTo>
                          <a:pt x="1842521" y="369929"/>
                        </a:lnTo>
                        <a:lnTo>
                          <a:pt x="1842239" y="369907"/>
                        </a:lnTo>
                        <a:lnTo>
                          <a:pt x="1841154" y="378432"/>
                        </a:lnTo>
                        <a:lnTo>
                          <a:pt x="1841480" y="378454"/>
                        </a:lnTo>
                        <a:lnTo>
                          <a:pt x="1841089" y="380753"/>
                        </a:lnTo>
                        <a:lnTo>
                          <a:pt x="1840807" y="380731"/>
                        </a:lnTo>
                        <a:lnTo>
                          <a:pt x="1839115" y="388628"/>
                        </a:lnTo>
                        <a:lnTo>
                          <a:pt x="1839310" y="388650"/>
                        </a:lnTo>
                        <a:lnTo>
                          <a:pt x="1838746" y="390884"/>
                        </a:lnTo>
                        <a:lnTo>
                          <a:pt x="1838442" y="390840"/>
                        </a:lnTo>
                        <a:lnTo>
                          <a:pt x="1835688" y="399431"/>
                        </a:lnTo>
                        <a:lnTo>
                          <a:pt x="1835536" y="399409"/>
                        </a:lnTo>
                        <a:lnTo>
                          <a:pt x="1834820" y="401123"/>
                        </a:lnTo>
                        <a:lnTo>
                          <a:pt x="1834560" y="401079"/>
                        </a:lnTo>
                        <a:lnTo>
                          <a:pt x="1831588" y="408107"/>
                        </a:lnTo>
                        <a:lnTo>
                          <a:pt x="1832000" y="408194"/>
                        </a:lnTo>
                        <a:lnTo>
                          <a:pt x="1831002" y="410386"/>
                        </a:lnTo>
                        <a:lnTo>
                          <a:pt x="1831501" y="410450"/>
                        </a:lnTo>
                        <a:lnTo>
                          <a:pt x="1830850" y="411969"/>
                        </a:lnTo>
                        <a:lnTo>
                          <a:pt x="1830459" y="411904"/>
                        </a:lnTo>
                        <a:lnTo>
                          <a:pt x="1827574" y="418715"/>
                        </a:lnTo>
                        <a:lnTo>
                          <a:pt x="1827965" y="418802"/>
                        </a:lnTo>
                        <a:lnTo>
                          <a:pt x="1827813" y="419214"/>
                        </a:lnTo>
                        <a:lnTo>
                          <a:pt x="1826035" y="423292"/>
                        </a:lnTo>
                        <a:lnTo>
                          <a:pt x="1825687" y="423227"/>
                        </a:lnTo>
                        <a:lnTo>
                          <a:pt x="1822477" y="430863"/>
                        </a:lnTo>
                        <a:lnTo>
                          <a:pt x="1822846" y="430928"/>
                        </a:lnTo>
                        <a:lnTo>
                          <a:pt x="1821002" y="435375"/>
                        </a:lnTo>
                        <a:lnTo>
                          <a:pt x="1820676" y="435332"/>
                        </a:lnTo>
                        <a:lnTo>
                          <a:pt x="1820589" y="435549"/>
                        </a:lnTo>
                        <a:lnTo>
                          <a:pt x="1817422" y="443097"/>
                        </a:lnTo>
                        <a:lnTo>
                          <a:pt x="1817791" y="443163"/>
                        </a:lnTo>
                        <a:lnTo>
                          <a:pt x="1815860" y="447675"/>
                        </a:lnTo>
                        <a:lnTo>
                          <a:pt x="1815514" y="447609"/>
                        </a:lnTo>
                        <a:lnTo>
                          <a:pt x="1815383" y="447891"/>
                        </a:lnTo>
                        <a:lnTo>
                          <a:pt x="1813323" y="453206"/>
                        </a:lnTo>
                        <a:lnTo>
                          <a:pt x="1813518" y="453250"/>
                        </a:lnTo>
                        <a:lnTo>
                          <a:pt x="1808334" y="465701"/>
                        </a:lnTo>
                        <a:lnTo>
                          <a:pt x="1808247" y="465853"/>
                        </a:lnTo>
                        <a:lnTo>
                          <a:pt x="1807835" y="465788"/>
                        </a:lnTo>
                        <a:lnTo>
                          <a:pt x="1807162" y="467393"/>
                        </a:lnTo>
                        <a:lnTo>
                          <a:pt x="1806902" y="467350"/>
                        </a:lnTo>
                        <a:lnTo>
                          <a:pt x="1805014" y="471884"/>
                        </a:lnTo>
                        <a:lnTo>
                          <a:pt x="1803301" y="475939"/>
                        </a:lnTo>
                        <a:lnTo>
                          <a:pt x="1804104" y="475831"/>
                        </a:lnTo>
                        <a:lnTo>
                          <a:pt x="1803453" y="477350"/>
                        </a:lnTo>
                        <a:lnTo>
                          <a:pt x="1803605" y="477371"/>
                        </a:lnTo>
                        <a:lnTo>
                          <a:pt x="1802997" y="478825"/>
                        </a:lnTo>
                        <a:lnTo>
                          <a:pt x="1802650" y="478760"/>
                        </a:lnTo>
                        <a:lnTo>
                          <a:pt x="1799353" y="486352"/>
                        </a:lnTo>
                        <a:lnTo>
                          <a:pt x="1799374" y="486873"/>
                        </a:lnTo>
                        <a:lnTo>
                          <a:pt x="1796359" y="494118"/>
                        </a:lnTo>
                        <a:lnTo>
                          <a:pt x="1782801" y="526245"/>
                        </a:lnTo>
                        <a:lnTo>
                          <a:pt x="1756619" y="589197"/>
                        </a:lnTo>
                        <a:lnTo>
                          <a:pt x="1756293" y="589197"/>
                        </a:lnTo>
                        <a:lnTo>
                          <a:pt x="1755491" y="591148"/>
                        </a:lnTo>
                        <a:lnTo>
                          <a:pt x="1755165" y="591105"/>
                        </a:lnTo>
                        <a:lnTo>
                          <a:pt x="1753256" y="595660"/>
                        </a:lnTo>
                        <a:lnTo>
                          <a:pt x="1867467" y="613514"/>
                        </a:lnTo>
                        <a:lnTo>
                          <a:pt x="1873086" y="614164"/>
                        </a:lnTo>
                        <a:lnTo>
                          <a:pt x="1880223" y="614728"/>
                        </a:lnTo>
                        <a:lnTo>
                          <a:pt x="1900743" y="615444"/>
                        </a:lnTo>
                        <a:lnTo>
                          <a:pt x="1920289" y="616008"/>
                        </a:lnTo>
                        <a:lnTo>
                          <a:pt x="1920072" y="622603"/>
                        </a:lnTo>
                        <a:lnTo>
                          <a:pt x="1916319" y="622559"/>
                        </a:lnTo>
                        <a:lnTo>
                          <a:pt x="1916297" y="623297"/>
                        </a:lnTo>
                        <a:lnTo>
                          <a:pt x="1915104" y="623644"/>
                        </a:lnTo>
                        <a:lnTo>
                          <a:pt x="1913390" y="643904"/>
                        </a:lnTo>
                        <a:lnTo>
                          <a:pt x="1910180" y="663905"/>
                        </a:lnTo>
                        <a:lnTo>
                          <a:pt x="1909963" y="667766"/>
                        </a:lnTo>
                        <a:lnTo>
                          <a:pt x="1910114" y="672994"/>
                        </a:lnTo>
                        <a:lnTo>
                          <a:pt x="1967664" y="672278"/>
                        </a:lnTo>
                        <a:lnTo>
                          <a:pt x="1976710" y="671974"/>
                        </a:lnTo>
                        <a:lnTo>
                          <a:pt x="1986515" y="671324"/>
                        </a:lnTo>
                        <a:lnTo>
                          <a:pt x="1997926" y="670174"/>
                        </a:lnTo>
                        <a:lnTo>
                          <a:pt x="2006298" y="669067"/>
                        </a:lnTo>
                        <a:lnTo>
                          <a:pt x="2019878" y="666985"/>
                        </a:lnTo>
                        <a:lnTo>
                          <a:pt x="2022395" y="672496"/>
                        </a:lnTo>
                        <a:lnTo>
                          <a:pt x="2035714" y="670217"/>
                        </a:lnTo>
                        <a:lnTo>
                          <a:pt x="2043263" y="686638"/>
                        </a:lnTo>
                        <a:lnTo>
                          <a:pt x="2042633" y="687203"/>
                        </a:lnTo>
                        <a:lnTo>
                          <a:pt x="2064912" y="735512"/>
                        </a:lnTo>
                        <a:lnTo>
                          <a:pt x="2078318" y="764579"/>
                        </a:lnTo>
                        <a:lnTo>
                          <a:pt x="2079685" y="764363"/>
                        </a:lnTo>
                        <a:lnTo>
                          <a:pt x="2081268" y="768246"/>
                        </a:lnTo>
                        <a:lnTo>
                          <a:pt x="2082114" y="789005"/>
                        </a:lnTo>
                        <a:lnTo>
                          <a:pt x="2053675" y="789331"/>
                        </a:lnTo>
                        <a:lnTo>
                          <a:pt x="2054304" y="807943"/>
                        </a:lnTo>
                        <a:lnTo>
                          <a:pt x="2059618" y="807943"/>
                        </a:lnTo>
                        <a:lnTo>
                          <a:pt x="2060790" y="860373"/>
                        </a:lnTo>
                        <a:lnTo>
                          <a:pt x="2047232" y="864517"/>
                        </a:lnTo>
                        <a:lnTo>
                          <a:pt x="2047123" y="923390"/>
                        </a:lnTo>
                        <a:lnTo>
                          <a:pt x="2047254" y="926232"/>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56" name="Freeform: Shape 55">
                    <a:extLst>
                      <a:ext uri="{FF2B5EF4-FFF2-40B4-BE49-F238E27FC236}">
                        <a16:creationId xmlns:a16="http://schemas.microsoft.com/office/drawing/2014/main" id="{CC12129F-2A39-47DC-B775-5EB9E3FAF854}"/>
                      </a:ext>
                    </a:extLst>
                  </p:cNvPr>
                  <p:cNvSpPr/>
                  <p:nvPr/>
                </p:nvSpPr>
                <p:spPr>
                  <a:xfrm>
                    <a:off x="5359195" y="4375906"/>
                    <a:ext cx="606004" cy="381660"/>
                  </a:xfrm>
                  <a:custGeom>
                    <a:avLst/>
                    <a:gdLst>
                      <a:gd name="connsiteX0" fmla="*/ 1724623 w 2133600"/>
                      <a:gd name="connsiteY0" fmla="*/ 866881 h 895350"/>
                      <a:gd name="connsiteX1" fmla="*/ 1712952 w 2133600"/>
                      <a:gd name="connsiteY1" fmla="*/ 867076 h 895350"/>
                      <a:gd name="connsiteX2" fmla="*/ 1699329 w 2133600"/>
                      <a:gd name="connsiteY2" fmla="*/ 867207 h 895350"/>
                      <a:gd name="connsiteX3" fmla="*/ 1694644 w 2133600"/>
                      <a:gd name="connsiteY3" fmla="*/ 866881 h 895350"/>
                      <a:gd name="connsiteX4" fmla="*/ 1686986 w 2133600"/>
                      <a:gd name="connsiteY4" fmla="*/ 866903 h 895350"/>
                      <a:gd name="connsiteX5" fmla="*/ 1667007 w 2133600"/>
                      <a:gd name="connsiteY5" fmla="*/ 867706 h 895350"/>
                      <a:gd name="connsiteX6" fmla="*/ 1653298 w 2133600"/>
                      <a:gd name="connsiteY6" fmla="*/ 868009 h 895350"/>
                      <a:gd name="connsiteX7" fmla="*/ 1330081 w 2133600"/>
                      <a:gd name="connsiteY7" fmla="*/ 874018 h 895350"/>
                      <a:gd name="connsiteX8" fmla="*/ 1135586 w 2133600"/>
                      <a:gd name="connsiteY8" fmla="*/ 877467 h 895350"/>
                      <a:gd name="connsiteX9" fmla="*/ 993977 w 2133600"/>
                      <a:gd name="connsiteY9" fmla="*/ 879832 h 895350"/>
                      <a:gd name="connsiteX10" fmla="*/ 890916 w 2133600"/>
                      <a:gd name="connsiteY10" fmla="*/ 881784 h 895350"/>
                      <a:gd name="connsiteX11" fmla="*/ 889138 w 2133600"/>
                      <a:gd name="connsiteY11" fmla="*/ 881870 h 895350"/>
                      <a:gd name="connsiteX12" fmla="*/ 887012 w 2133600"/>
                      <a:gd name="connsiteY12" fmla="*/ 882218 h 895350"/>
                      <a:gd name="connsiteX13" fmla="*/ 886297 w 2133600"/>
                      <a:gd name="connsiteY13" fmla="*/ 882760 h 895350"/>
                      <a:gd name="connsiteX14" fmla="*/ 885862 w 2133600"/>
                      <a:gd name="connsiteY14" fmla="*/ 883931 h 895350"/>
                      <a:gd name="connsiteX15" fmla="*/ 885494 w 2133600"/>
                      <a:gd name="connsiteY15" fmla="*/ 888400 h 895350"/>
                      <a:gd name="connsiteX16" fmla="*/ 866882 w 2133600"/>
                      <a:gd name="connsiteY16" fmla="*/ 888747 h 895350"/>
                      <a:gd name="connsiteX17" fmla="*/ 866729 w 2133600"/>
                      <a:gd name="connsiteY17" fmla="*/ 885689 h 895350"/>
                      <a:gd name="connsiteX18" fmla="*/ 862781 w 2133600"/>
                      <a:gd name="connsiteY18" fmla="*/ 885515 h 895350"/>
                      <a:gd name="connsiteX19" fmla="*/ 862847 w 2133600"/>
                      <a:gd name="connsiteY19" fmla="*/ 881068 h 895350"/>
                      <a:gd name="connsiteX20" fmla="*/ 857770 w 2133600"/>
                      <a:gd name="connsiteY20" fmla="*/ 881177 h 895350"/>
                      <a:gd name="connsiteX21" fmla="*/ 860265 w 2133600"/>
                      <a:gd name="connsiteY21" fmla="*/ 745187 h 895350"/>
                      <a:gd name="connsiteX22" fmla="*/ 859658 w 2133600"/>
                      <a:gd name="connsiteY22" fmla="*/ 727529 h 895350"/>
                      <a:gd name="connsiteX23" fmla="*/ 858551 w 2133600"/>
                      <a:gd name="connsiteY23" fmla="*/ 720479 h 895350"/>
                      <a:gd name="connsiteX24" fmla="*/ 857619 w 2133600"/>
                      <a:gd name="connsiteY24" fmla="*/ 717333 h 895350"/>
                      <a:gd name="connsiteX25" fmla="*/ 854755 w 2133600"/>
                      <a:gd name="connsiteY25" fmla="*/ 709415 h 895350"/>
                      <a:gd name="connsiteX26" fmla="*/ 853258 w 2133600"/>
                      <a:gd name="connsiteY26" fmla="*/ 709394 h 895350"/>
                      <a:gd name="connsiteX27" fmla="*/ 849267 w 2133600"/>
                      <a:gd name="connsiteY27" fmla="*/ 696964 h 895350"/>
                      <a:gd name="connsiteX28" fmla="*/ 848855 w 2133600"/>
                      <a:gd name="connsiteY28" fmla="*/ 695597 h 895350"/>
                      <a:gd name="connsiteX29" fmla="*/ 827575 w 2133600"/>
                      <a:gd name="connsiteY29" fmla="*/ 695142 h 895350"/>
                      <a:gd name="connsiteX30" fmla="*/ 754341 w 2133600"/>
                      <a:gd name="connsiteY30" fmla="*/ 692930 h 895350"/>
                      <a:gd name="connsiteX31" fmla="*/ 677116 w 2133600"/>
                      <a:gd name="connsiteY31" fmla="*/ 690109 h 895350"/>
                      <a:gd name="connsiteX32" fmla="*/ 676074 w 2133600"/>
                      <a:gd name="connsiteY32" fmla="*/ 690564 h 895350"/>
                      <a:gd name="connsiteX33" fmla="*/ 670001 w 2133600"/>
                      <a:gd name="connsiteY33" fmla="*/ 698808 h 895350"/>
                      <a:gd name="connsiteX34" fmla="*/ 669133 w 2133600"/>
                      <a:gd name="connsiteY34" fmla="*/ 700847 h 895350"/>
                      <a:gd name="connsiteX35" fmla="*/ 667506 w 2133600"/>
                      <a:gd name="connsiteY35" fmla="*/ 701476 h 895350"/>
                      <a:gd name="connsiteX36" fmla="*/ 641410 w 2133600"/>
                      <a:gd name="connsiteY36" fmla="*/ 705467 h 895350"/>
                      <a:gd name="connsiteX37" fmla="*/ 617050 w 2133600"/>
                      <a:gd name="connsiteY37" fmla="*/ 709394 h 895350"/>
                      <a:gd name="connsiteX38" fmla="*/ 589348 w 2133600"/>
                      <a:gd name="connsiteY38" fmla="*/ 697745 h 895350"/>
                      <a:gd name="connsiteX39" fmla="*/ 579695 w 2133600"/>
                      <a:gd name="connsiteY39" fmla="*/ 699632 h 895350"/>
                      <a:gd name="connsiteX40" fmla="*/ 546505 w 2133600"/>
                      <a:gd name="connsiteY40" fmla="*/ 705489 h 895350"/>
                      <a:gd name="connsiteX41" fmla="*/ 514660 w 2133600"/>
                      <a:gd name="connsiteY41" fmla="*/ 711411 h 895350"/>
                      <a:gd name="connsiteX42" fmla="*/ 512340 w 2133600"/>
                      <a:gd name="connsiteY42" fmla="*/ 712214 h 895350"/>
                      <a:gd name="connsiteX43" fmla="*/ 492079 w 2133600"/>
                      <a:gd name="connsiteY43" fmla="*/ 721000 h 895350"/>
                      <a:gd name="connsiteX44" fmla="*/ 495225 w 2133600"/>
                      <a:gd name="connsiteY44" fmla="*/ 743582 h 895350"/>
                      <a:gd name="connsiteX45" fmla="*/ 495441 w 2133600"/>
                      <a:gd name="connsiteY45" fmla="*/ 755447 h 895350"/>
                      <a:gd name="connsiteX46" fmla="*/ 490734 w 2133600"/>
                      <a:gd name="connsiteY46" fmla="*/ 755707 h 895350"/>
                      <a:gd name="connsiteX47" fmla="*/ 490517 w 2133600"/>
                      <a:gd name="connsiteY47" fmla="*/ 759764 h 895350"/>
                      <a:gd name="connsiteX48" fmla="*/ 371079 w 2133600"/>
                      <a:gd name="connsiteY48" fmla="*/ 773452 h 895350"/>
                      <a:gd name="connsiteX49" fmla="*/ 325351 w 2133600"/>
                      <a:gd name="connsiteY49" fmla="*/ 778224 h 895350"/>
                      <a:gd name="connsiteX50" fmla="*/ 298648 w 2133600"/>
                      <a:gd name="connsiteY50" fmla="*/ 780827 h 895350"/>
                      <a:gd name="connsiteX51" fmla="*/ 201053 w 2133600"/>
                      <a:gd name="connsiteY51" fmla="*/ 790827 h 895350"/>
                      <a:gd name="connsiteX52" fmla="*/ 195348 w 2133600"/>
                      <a:gd name="connsiteY52" fmla="*/ 791977 h 895350"/>
                      <a:gd name="connsiteX53" fmla="*/ 181920 w 2133600"/>
                      <a:gd name="connsiteY53" fmla="*/ 795079 h 895350"/>
                      <a:gd name="connsiteX54" fmla="*/ 166823 w 2133600"/>
                      <a:gd name="connsiteY54" fmla="*/ 795513 h 895350"/>
                      <a:gd name="connsiteX55" fmla="*/ 75670 w 2133600"/>
                      <a:gd name="connsiteY55" fmla="*/ 794428 h 895350"/>
                      <a:gd name="connsiteX56" fmla="*/ 67145 w 2133600"/>
                      <a:gd name="connsiteY56" fmla="*/ 794472 h 895350"/>
                      <a:gd name="connsiteX57" fmla="*/ 64130 w 2133600"/>
                      <a:gd name="connsiteY57" fmla="*/ 794776 h 895350"/>
                      <a:gd name="connsiteX58" fmla="*/ 63002 w 2133600"/>
                      <a:gd name="connsiteY58" fmla="*/ 795144 h 895350"/>
                      <a:gd name="connsiteX59" fmla="*/ 61939 w 2133600"/>
                      <a:gd name="connsiteY59" fmla="*/ 795686 h 895350"/>
                      <a:gd name="connsiteX60" fmla="*/ 58685 w 2133600"/>
                      <a:gd name="connsiteY60" fmla="*/ 798376 h 895350"/>
                      <a:gd name="connsiteX61" fmla="*/ 58057 w 2133600"/>
                      <a:gd name="connsiteY61" fmla="*/ 798571 h 895350"/>
                      <a:gd name="connsiteX62" fmla="*/ 35431 w 2133600"/>
                      <a:gd name="connsiteY62" fmla="*/ 798853 h 895350"/>
                      <a:gd name="connsiteX63" fmla="*/ 29162 w 2133600"/>
                      <a:gd name="connsiteY63" fmla="*/ 789916 h 895350"/>
                      <a:gd name="connsiteX64" fmla="*/ 19964 w 2133600"/>
                      <a:gd name="connsiteY64" fmla="*/ 779742 h 895350"/>
                      <a:gd name="connsiteX65" fmla="*/ 7144 w 2133600"/>
                      <a:gd name="connsiteY65" fmla="*/ 769178 h 895350"/>
                      <a:gd name="connsiteX66" fmla="*/ 11569 w 2133600"/>
                      <a:gd name="connsiteY66" fmla="*/ 765946 h 895350"/>
                      <a:gd name="connsiteX67" fmla="*/ 115694 w 2133600"/>
                      <a:gd name="connsiteY67" fmla="*/ 684665 h 895350"/>
                      <a:gd name="connsiteX68" fmla="*/ 406979 w 2133600"/>
                      <a:gd name="connsiteY68" fmla="*/ 680695 h 895350"/>
                      <a:gd name="connsiteX69" fmla="*/ 467284 w 2133600"/>
                      <a:gd name="connsiteY69" fmla="*/ 670304 h 895350"/>
                      <a:gd name="connsiteX70" fmla="*/ 638329 w 2133600"/>
                      <a:gd name="connsiteY70" fmla="*/ 612971 h 895350"/>
                      <a:gd name="connsiteX71" fmla="*/ 657202 w 2133600"/>
                      <a:gd name="connsiteY71" fmla="*/ 566202 h 895350"/>
                      <a:gd name="connsiteX72" fmla="*/ 658199 w 2133600"/>
                      <a:gd name="connsiteY72" fmla="*/ 552775 h 895350"/>
                      <a:gd name="connsiteX73" fmla="*/ 655857 w 2133600"/>
                      <a:gd name="connsiteY73" fmla="*/ 535659 h 895350"/>
                      <a:gd name="connsiteX74" fmla="*/ 654555 w 2133600"/>
                      <a:gd name="connsiteY74" fmla="*/ 525789 h 895350"/>
                      <a:gd name="connsiteX75" fmla="*/ 652040 w 2133600"/>
                      <a:gd name="connsiteY75" fmla="*/ 525984 h 895350"/>
                      <a:gd name="connsiteX76" fmla="*/ 651974 w 2133600"/>
                      <a:gd name="connsiteY76" fmla="*/ 525811 h 895350"/>
                      <a:gd name="connsiteX77" fmla="*/ 647874 w 2133600"/>
                      <a:gd name="connsiteY77" fmla="*/ 526092 h 895350"/>
                      <a:gd name="connsiteX78" fmla="*/ 647917 w 2133600"/>
                      <a:gd name="connsiteY78" fmla="*/ 526288 h 895350"/>
                      <a:gd name="connsiteX79" fmla="*/ 644772 w 2133600"/>
                      <a:gd name="connsiteY79" fmla="*/ 526548 h 895350"/>
                      <a:gd name="connsiteX80" fmla="*/ 644663 w 2133600"/>
                      <a:gd name="connsiteY80" fmla="*/ 526396 h 895350"/>
                      <a:gd name="connsiteX81" fmla="*/ 642430 w 2133600"/>
                      <a:gd name="connsiteY81" fmla="*/ 526722 h 895350"/>
                      <a:gd name="connsiteX82" fmla="*/ 633795 w 2133600"/>
                      <a:gd name="connsiteY82" fmla="*/ 527242 h 895350"/>
                      <a:gd name="connsiteX83" fmla="*/ 633688 w 2133600"/>
                      <a:gd name="connsiteY83" fmla="*/ 527481 h 895350"/>
                      <a:gd name="connsiteX84" fmla="*/ 633340 w 2133600"/>
                      <a:gd name="connsiteY84" fmla="*/ 527459 h 895350"/>
                      <a:gd name="connsiteX85" fmla="*/ 633275 w 2133600"/>
                      <a:gd name="connsiteY85" fmla="*/ 527199 h 895350"/>
                      <a:gd name="connsiteX86" fmla="*/ 632386 w 2133600"/>
                      <a:gd name="connsiteY86" fmla="*/ 527373 h 895350"/>
                      <a:gd name="connsiteX87" fmla="*/ 627071 w 2133600"/>
                      <a:gd name="connsiteY87" fmla="*/ 527568 h 895350"/>
                      <a:gd name="connsiteX88" fmla="*/ 618264 w 2133600"/>
                      <a:gd name="connsiteY88" fmla="*/ 527437 h 895350"/>
                      <a:gd name="connsiteX89" fmla="*/ 609413 w 2133600"/>
                      <a:gd name="connsiteY89" fmla="*/ 526831 h 895350"/>
                      <a:gd name="connsiteX90" fmla="*/ 601951 w 2133600"/>
                      <a:gd name="connsiteY90" fmla="*/ 525854 h 895350"/>
                      <a:gd name="connsiteX91" fmla="*/ 596333 w 2133600"/>
                      <a:gd name="connsiteY91" fmla="*/ 524769 h 895350"/>
                      <a:gd name="connsiteX92" fmla="*/ 590455 w 2133600"/>
                      <a:gd name="connsiteY92" fmla="*/ 523273 h 895350"/>
                      <a:gd name="connsiteX93" fmla="*/ 583924 w 2133600"/>
                      <a:gd name="connsiteY93" fmla="*/ 521212 h 895350"/>
                      <a:gd name="connsiteX94" fmla="*/ 576138 w 2133600"/>
                      <a:gd name="connsiteY94" fmla="*/ 518023 h 895350"/>
                      <a:gd name="connsiteX95" fmla="*/ 572233 w 2133600"/>
                      <a:gd name="connsiteY95" fmla="*/ 516071 h 895350"/>
                      <a:gd name="connsiteX96" fmla="*/ 566484 w 2133600"/>
                      <a:gd name="connsiteY96" fmla="*/ 512470 h 895350"/>
                      <a:gd name="connsiteX97" fmla="*/ 562493 w 2133600"/>
                      <a:gd name="connsiteY97" fmla="*/ 509498 h 895350"/>
                      <a:gd name="connsiteX98" fmla="*/ 557742 w 2133600"/>
                      <a:gd name="connsiteY98" fmla="*/ 505137 h 895350"/>
                      <a:gd name="connsiteX99" fmla="*/ 554315 w 2133600"/>
                      <a:gd name="connsiteY99" fmla="*/ 501189 h 895350"/>
                      <a:gd name="connsiteX100" fmla="*/ 551169 w 2133600"/>
                      <a:gd name="connsiteY100" fmla="*/ 496548 h 895350"/>
                      <a:gd name="connsiteX101" fmla="*/ 548696 w 2133600"/>
                      <a:gd name="connsiteY101" fmla="*/ 491580 h 895350"/>
                      <a:gd name="connsiteX102" fmla="*/ 546874 w 2133600"/>
                      <a:gd name="connsiteY102" fmla="*/ 485962 h 895350"/>
                      <a:gd name="connsiteX103" fmla="*/ 544184 w 2133600"/>
                      <a:gd name="connsiteY103" fmla="*/ 472230 h 895350"/>
                      <a:gd name="connsiteX104" fmla="*/ 540323 w 2133600"/>
                      <a:gd name="connsiteY104" fmla="*/ 447501 h 895350"/>
                      <a:gd name="connsiteX105" fmla="*/ 536505 w 2133600"/>
                      <a:gd name="connsiteY105" fmla="*/ 416263 h 895350"/>
                      <a:gd name="connsiteX106" fmla="*/ 536310 w 2133600"/>
                      <a:gd name="connsiteY106" fmla="*/ 416068 h 895350"/>
                      <a:gd name="connsiteX107" fmla="*/ 536288 w 2133600"/>
                      <a:gd name="connsiteY107" fmla="*/ 414572 h 895350"/>
                      <a:gd name="connsiteX108" fmla="*/ 535963 w 2133600"/>
                      <a:gd name="connsiteY108" fmla="*/ 414572 h 895350"/>
                      <a:gd name="connsiteX109" fmla="*/ 535768 w 2133600"/>
                      <a:gd name="connsiteY109" fmla="*/ 411145 h 895350"/>
                      <a:gd name="connsiteX110" fmla="*/ 536245 w 2133600"/>
                      <a:gd name="connsiteY110" fmla="*/ 411057 h 895350"/>
                      <a:gd name="connsiteX111" fmla="*/ 536180 w 2133600"/>
                      <a:gd name="connsiteY111" fmla="*/ 409605 h 895350"/>
                      <a:gd name="connsiteX112" fmla="*/ 535963 w 2133600"/>
                      <a:gd name="connsiteY112" fmla="*/ 409605 h 895350"/>
                      <a:gd name="connsiteX113" fmla="*/ 535984 w 2133600"/>
                      <a:gd name="connsiteY113" fmla="*/ 404072 h 895350"/>
                      <a:gd name="connsiteX114" fmla="*/ 536440 w 2133600"/>
                      <a:gd name="connsiteY114" fmla="*/ 396697 h 895350"/>
                      <a:gd name="connsiteX115" fmla="*/ 539022 w 2133600"/>
                      <a:gd name="connsiteY115" fmla="*/ 375720 h 895350"/>
                      <a:gd name="connsiteX116" fmla="*/ 539390 w 2133600"/>
                      <a:gd name="connsiteY116" fmla="*/ 369126 h 895350"/>
                      <a:gd name="connsiteX117" fmla="*/ 538804 w 2133600"/>
                      <a:gd name="connsiteY117" fmla="*/ 368215 h 895350"/>
                      <a:gd name="connsiteX118" fmla="*/ 538826 w 2133600"/>
                      <a:gd name="connsiteY118" fmla="*/ 367695 h 895350"/>
                      <a:gd name="connsiteX119" fmla="*/ 539326 w 2133600"/>
                      <a:gd name="connsiteY119" fmla="*/ 366674 h 895350"/>
                      <a:gd name="connsiteX120" fmla="*/ 540735 w 2133600"/>
                      <a:gd name="connsiteY120" fmla="*/ 365677 h 895350"/>
                      <a:gd name="connsiteX121" fmla="*/ 542036 w 2133600"/>
                      <a:gd name="connsiteY121" fmla="*/ 365287 h 895350"/>
                      <a:gd name="connsiteX122" fmla="*/ 545551 w 2133600"/>
                      <a:gd name="connsiteY122" fmla="*/ 364939 h 895350"/>
                      <a:gd name="connsiteX123" fmla="*/ 545486 w 2133600"/>
                      <a:gd name="connsiteY123" fmla="*/ 355850 h 895350"/>
                      <a:gd name="connsiteX124" fmla="*/ 554185 w 2133600"/>
                      <a:gd name="connsiteY124" fmla="*/ 356414 h 895350"/>
                      <a:gd name="connsiteX125" fmla="*/ 554249 w 2133600"/>
                      <a:gd name="connsiteY125" fmla="*/ 356219 h 895350"/>
                      <a:gd name="connsiteX126" fmla="*/ 564900 w 2133600"/>
                      <a:gd name="connsiteY126" fmla="*/ 356891 h 895350"/>
                      <a:gd name="connsiteX127" fmla="*/ 578502 w 2133600"/>
                      <a:gd name="connsiteY127" fmla="*/ 357434 h 895350"/>
                      <a:gd name="connsiteX128" fmla="*/ 591907 w 2133600"/>
                      <a:gd name="connsiteY128" fmla="*/ 357650 h 895350"/>
                      <a:gd name="connsiteX129" fmla="*/ 597808 w 2133600"/>
                      <a:gd name="connsiteY129" fmla="*/ 357304 h 895350"/>
                      <a:gd name="connsiteX130" fmla="*/ 605531 w 2133600"/>
                      <a:gd name="connsiteY130" fmla="*/ 356154 h 895350"/>
                      <a:gd name="connsiteX131" fmla="*/ 609262 w 2133600"/>
                      <a:gd name="connsiteY131" fmla="*/ 355286 h 895350"/>
                      <a:gd name="connsiteX132" fmla="*/ 613275 w 2133600"/>
                      <a:gd name="connsiteY132" fmla="*/ 354137 h 895350"/>
                      <a:gd name="connsiteX133" fmla="*/ 616615 w 2133600"/>
                      <a:gd name="connsiteY133" fmla="*/ 352987 h 895350"/>
                      <a:gd name="connsiteX134" fmla="*/ 620260 w 2133600"/>
                      <a:gd name="connsiteY134" fmla="*/ 351490 h 895350"/>
                      <a:gd name="connsiteX135" fmla="*/ 625987 w 2133600"/>
                      <a:gd name="connsiteY135" fmla="*/ 348497 h 895350"/>
                      <a:gd name="connsiteX136" fmla="*/ 630650 w 2133600"/>
                      <a:gd name="connsiteY136" fmla="*/ 345286 h 895350"/>
                      <a:gd name="connsiteX137" fmla="*/ 635271 w 2133600"/>
                      <a:gd name="connsiteY137" fmla="*/ 341121 h 895350"/>
                      <a:gd name="connsiteX138" fmla="*/ 629587 w 2133600"/>
                      <a:gd name="connsiteY138" fmla="*/ 338843 h 895350"/>
                      <a:gd name="connsiteX139" fmla="*/ 627614 w 2133600"/>
                      <a:gd name="connsiteY139" fmla="*/ 338583 h 895350"/>
                      <a:gd name="connsiteX140" fmla="*/ 625835 w 2133600"/>
                      <a:gd name="connsiteY140" fmla="*/ 338583 h 895350"/>
                      <a:gd name="connsiteX141" fmla="*/ 625791 w 2133600"/>
                      <a:gd name="connsiteY141" fmla="*/ 336349 h 895350"/>
                      <a:gd name="connsiteX142" fmla="*/ 623861 w 2133600"/>
                      <a:gd name="connsiteY142" fmla="*/ 234351 h 895350"/>
                      <a:gd name="connsiteX143" fmla="*/ 623644 w 2133600"/>
                      <a:gd name="connsiteY143" fmla="*/ 223115 h 895350"/>
                      <a:gd name="connsiteX144" fmla="*/ 607287 w 2133600"/>
                      <a:gd name="connsiteY144" fmla="*/ 223244 h 895350"/>
                      <a:gd name="connsiteX145" fmla="*/ 606138 w 2133600"/>
                      <a:gd name="connsiteY145" fmla="*/ 149794 h 895350"/>
                      <a:gd name="connsiteX146" fmla="*/ 697095 w 2133600"/>
                      <a:gd name="connsiteY146" fmla="*/ 149229 h 895350"/>
                      <a:gd name="connsiteX147" fmla="*/ 696183 w 2133600"/>
                      <a:gd name="connsiteY147" fmla="*/ 97016 h 895350"/>
                      <a:gd name="connsiteX148" fmla="*/ 721151 w 2133600"/>
                      <a:gd name="connsiteY148" fmla="*/ 96821 h 895350"/>
                      <a:gd name="connsiteX149" fmla="*/ 726466 w 2133600"/>
                      <a:gd name="connsiteY149" fmla="*/ 96951 h 895350"/>
                      <a:gd name="connsiteX150" fmla="*/ 732713 w 2133600"/>
                      <a:gd name="connsiteY150" fmla="*/ 97059 h 895350"/>
                      <a:gd name="connsiteX151" fmla="*/ 767442 w 2133600"/>
                      <a:gd name="connsiteY151" fmla="*/ 96799 h 895350"/>
                      <a:gd name="connsiteX152" fmla="*/ 772866 w 2133600"/>
                      <a:gd name="connsiteY152" fmla="*/ 97146 h 895350"/>
                      <a:gd name="connsiteX153" fmla="*/ 776206 w 2133600"/>
                      <a:gd name="connsiteY153" fmla="*/ 97059 h 895350"/>
                      <a:gd name="connsiteX154" fmla="*/ 779200 w 2133600"/>
                      <a:gd name="connsiteY154" fmla="*/ 96864 h 895350"/>
                      <a:gd name="connsiteX155" fmla="*/ 781934 w 2133600"/>
                      <a:gd name="connsiteY155" fmla="*/ 96452 h 895350"/>
                      <a:gd name="connsiteX156" fmla="*/ 785492 w 2133600"/>
                      <a:gd name="connsiteY156" fmla="*/ 95389 h 895350"/>
                      <a:gd name="connsiteX157" fmla="*/ 794103 w 2133600"/>
                      <a:gd name="connsiteY157" fmla="*/ 93545 h 895350"/>
                      <a:gd name="connsiteX158" fmla="*/ 797270 w 2133600"/>
                      <a:gd name="connsiteY158" fmla="*/ 93024 h 895350"/>
                      <a:gd name="connsiteX159" fmla="*/ 798832 w 2133600"/>
                      <a:gd name="connsiteY159" fmla="*/ 93133 h 895350"/>
                      <a:gd name="connsiteX160" fmla="*/ 804776 w 2133600"/>
                      <a:gd name="connsiteY160" fmla="*/ 94608 h 895350"/>
                      <a:gd name="connsiteX161" fmla="*/ 823951 w 2133600"/>
                      <a:gd name="connsiteY161" fmla="*/ 100443 h 895350"/>
                      <a:gd name="connsiteX162" fmla="*/ 814168 w 2133600"/>
                      <a:gd name="connsiteY162" fmla="*/ 112873 h 895350"/>
                      <a:gd name="connsiteX163" fmla="*/ 809678 w 2133600"/>
                      <a:gd name="connsiteY163" fmla="*/ 127190 h 895350"/>
                      <a:gd name="connsiteX164" fmla="*/ 830547 w 2133600"/>
                      <a:gd name="connsiteY164" fmla="*/ 129641 h 895350"/>
                      <a:gd name="connsiteX165" fmla="*/ 914258 w 2133600"/>
                      <a:gd name="connsiteY165" fmla="*/ 108057 h 895350"/>
                      <a:gd name="connsiteX166" fmla="*/ 932479 w 2133600"/>
                      <a:gd name="connsiteY166" fmla="*/ 103588 h 895350"/>
                      <a:gd name="connsiteX167" fmla="*/ 976689 w 2133600"/>
                      <a:gd name="connsiteY167" fmla="*/ 92200 h 895350"/>
                      <a:gd name="connsiteX168" fmla="*/ 976472 w 2133600"/>
                      <a:gd name="connsiteY168" fmla="*/ 91810 h 895350"/>
                      <a:gd name="connsiteX169" fmla="*/ 985930 w 2133600"/>
                      <a:gd name="connsiteY169" fmla="*/ 89445 h 895350"/>
                      <a:gd name="connsiteX170" fmla="*/ 986125 w 2133600"/>
                      <a:gd name="connsiteY170" fmla="*/ 89705 h 895350"/>
                      <a:gd name="connsiteX171" fmla="*/ 1006125 w 2133600"/>
                      <a:gd name="connsiteY171" fmla="*/ 84716 h 895350"/>
                      <a:gd name="connsiteX172" fmla="*/ 1006255 w 2133600"/>
                      <a:gd name="connsiteY172" fmla="*/ 84912 h 895350"/>
                      <a:gd name="connsiteX173" fmla="*/ 1016993 w 2133600"/>
                      <a:gd name="connsiteY173" fmla="*/ 82504 h 895350"/>
                      <a:gd name="connsiteX174" fmla="*/ 1055410 w 2133600"/>
                      <a:gd name="connsiteY174" fmla="*/ 73263 h 895350"/>
                      <a:gd name="connsiteX175" fmla="*/ 1056148 w 2133600"/>
                      <a:gd name="connsiteY175" fmla="*/ 73154 h 895350"/>
                      <a:gd name="connsiteX176" fmla="*/ 1056950 w 2133600"/>
                      <a:gd name="connsiteY176" fmla="*/ 76365 h 895350"/>
                      <a:gd name="connsiteX177" fmla="*/ 1057341 w 2133600"/>
                      <a:gd name="connsiteY177" fmla="*/ 76625 h 895350"/>
                      <a:gd name="connsiteX178" fmla="*/ 1062981 w 2133600"/>
                      <a:gd name="connsiteY178" fmla="*/ 77297 h 895350"/>
                      <a:gd name="connsiteX179" fmla="*/ 1065346 w 2133600"/>
                      <a:gd name="connsiteY179" fmla="*/ 74867 h 895350"/>
                      <a:gd name="connsiteX180" fmla="*/ 1065346 w 2133600"/>
                      <a:gd name="connsiteY180" fmla="*/ 70855 h 895350"/>
                      <a:gd name="connsiteX181" fmla="*/ 1086431 w 2133600"/>
                      <a:gd name="connsiteY181" fmla="*/ 65823 h 895350"/>
                      <a:gd name="connsiteX182" fmla="*/ 1114002 w 2133600"/>
                      <a:gd name="connsiteY182" fmla="*/ 59488 h 895350"/>
                      <a:gd name="connsiteX183" fmla="*/ 1124696 w 2133600"/>
                      <a:gd name="connsiteY183" fmla="*/ 56755 h 895350"/>
                      <a:gd name="connsiteX184" fmla="*/ 1153179 w 2133600"/>
                      <a:gd name="connsiteY184" fmla="*/ 49076 h 895350"/>
                      <a:gd name="connsiteX185" fmla="*/ 1155413 w 2133600"/>
                      <a:gd name="connsiteY185" fmla="*/ 52112 h 895350"/>
                      <a:gd name="connsiteX186" fmla="*/ 1181140 w 2133600"/>
                      <a:gd name="connsiteY186" fmla="*/ 45605 h 895350"/>
                      <a:gd name="connsiteX187" fmla="*/ 1182354 w 2133600"/>
                      <a:gd name="connsiteY187" fmla="*/ 47362 h 895350"/>
                      <a:gd name="connsiteX188" fmla="*/ 1186107 w 2133600"/>
                      <a:gd name="connsiteY188" fmla="*/ 46386 h 895350"/>
                      <a:gd name="connsiteX189" fmla="*/ 1181769 w 2133600"/>
                      <a:gd name="connsiteY189" fmla="*/ 40008 h 895350"/>
                      <a:gd name="connsiteX190" fmla="*/ 1184242 w 2133600"/>
                      <a:gd name="connsiteY190" fmla="*/ 39401 h 895350"/>
                      <a:gd name="connsiteX191" fmla="*/ 1187518 w 2133600"/>
                      <a:gd name="connsiteY191" fmla="*/ 44021 h 895350"/>
                      <a:gd name="connsiteX192" fmla="*/ 1194134 w 2133600"/>
                      <a:gd name="connsiteY192" fmla="*/ 44129 h 895350"/>
                      <a:gd name="connsiteX193" fmla="*/ 1195674 w 2133600"/>
                      <a:gd name="connsiteY193" fmla="*/ 43934 h 895350"/>
                      <a:gd name="connsiteX194" fmla="*/ 1201379 w 2133600"/>
                      <a:gd name="connsiteY194" fmla="*/ 42893 h 895350"/>
                      <a:gd name="connsiteX195" fmla="*/ 1207344 w 2133600"/>
                      <a:gd name="connsiteY195" fmla="*/ 41419 h 895350"/>
                      <a:gd name="connsiteX196" fmla="*/ 1219535 w 2133600"/>
                      <a:gd name="connsiteY196" fmla="*/ 37752 h 895350"/>
                      <a:gd name="connsiteX197" fmla="*/ 1225479 w 2133600"/>
                      <a:gd name="connsiteY197" fmla="*/ 35453 h 895350"/>
                      <a:gd name="connsiteX198" fmla="*/ 1229991 w 2133600"/>
                      <a:gd name="connsiteY198" fmla="*/ 35778 h 895350"/>
                      <a:gd name="connsiteX199" fmla="*/ 1232356 w 2133600"/>
                      <a:gd name="connsiteY199" fmla="*/ 35453 h 895350"/>
                      <a:gd name="connsiteX200" fmla="*/ 1234959 w 2133600"/>
                      <a:gd name="connsiteY200" fmla="*/ 34737 h 895350"/>
                      <a:gd name="connsiteX201" fmla="*/ 1236282 w 2133600"/>
                      <a:gd name="connsiteY201" fmla="*/ 34238 h 895350"/>
                      <a:gd name="connsiteX202" fmla="*/ 1237128 w 2133600"/>
                      <a:gd name="connsiteY202" fmla="*/ 33197 h 895350"/>
                      <a:gd name="connsiteX203" fmla="*/ 1237779 w 2133600"/>
                      <a:gd name="connsiteY203" fmla="*/ 30571 h 895350"/>
                      <a:gd name="connsiteX204" fmla="*/ 1239493 w 2133600"/>
                      <a:gd name="connsiteY204" fmla="*/ 30116 h 895350"/>
                      <a:gd name="connsiteX205" fmla="*/ 1241271 w 2133600"/>
                      <a:gd name="connsiteY205" fmla="*/ 29661 h 895350"/>
                      <a:gd name="connsiteX206" fmla="*/ 1242508 w 2133600"/>
                      <a:gd name="connsiteY206" fmla="*/ 30464 h 895350"/>
                      <a:gd name="connsiteX207" fmla="*/ 1244308 w 2133600"/>
                      <a:gd name="connsiteY207" fmla="*/ 30832 h 895350"/>
                      <a:gd name="connsiteX208" fmla="*/ 1246347 w 2133600"/>
                      <a:gd name="connsiteY208" fmla="*/ 31548 h 895350"/>
                      <a:gd name="connsiteX209" fmla="*/ 1249428 w 2133600"/>
                      <a:gd name="connsiteY209" fmla="*/ 31634 h 895350"/>
                      <a:gd name="connsiteX210" fmla="*/ 1254005 w 2133600"/>
                      <a:gd name="connsiteY210" fmla="*/ 32004 h 895350"/>
                      <a:gd name="connsiteX211" fmla="*/ 1263203 w 2133600"/>
                      <a:gd name="connsiteY211" fmla="*/ 34737 h 895350"/>
                      <a:gd name="connsiteX212" fmla="*/ 1267866 w 2133600"/>
                      <a:gd name="connsiteY212" fmla="*/ 36949 h 895350"/>
                      <a:gd name="connsiteX213" fmla="*/ 1268929 w 2133600"/>
                      <a:gd name="connsiteY213" fmla="*/ 37101 h 895350"/>
                      <a:gd name="connsiteX214" fmla="*/ 1270556 w 2133600"/>
                      <a:gd name="connsiteY214" fmla="*/ 37123 h 895350"/>
                      <a:gd name="connsiteX215" fmla="*/ 1272747 w 2133600"/>
                      <a:gd name="connsiteY215" fmla="*/ 36428 h 895350"/>
                      <a:gd name="connsiteX216" fmla="*/ 1274092 w 2133600"/>
                      <a:gd name="connsiteY216" fmla="*/ 35474 h 895350"/>
                      <a:gd name="connsiteX217" fmla="*/ 1275611 w 2133600"/>
                      <a:gd name="connsiteY217" fmla="*/ 34000 h 895350"/>
                      <a:gd name="connsiteX218" fmla="*/ 1280470 w 2133600"/>
                      <a:gd name="connsiteY218" fmla="*/ 35063 h 895350"/>
                      <a:gd name="connsiteX219" fmla="*/ 1281402 w 2133600"/>
                      <a:gd name="connsiteY219" fmla="*/ 36212 h 895350"/>
                      <a:gd name="connsiteX220" fmla="*/ 1288257 w 2133600"/>
                      <a:gd name="connsiteY220" fmla="*/ 34260 h 895350"/>
                      <a:gd name="connsiteX221" fmla="*/ 1289862 w 2133600"/>
                      <a:gd name="connsiteY221" fmla="*/ 35756 h 895350"/>
                      <a:gd name="connsiteX222" fmla="*/ 1295004 w 2133600"/>
                      <a:gd name="connsiteY222" fmla="*/ 34411 h 895350"/>
                      <a:gd name="connsiteX223" fmla="*/ 1296522 w 2133600"/>
                      <a:gd name="connsiteY223" fmla="*/ 36624 h 895350"/>
                      <a:gd name="connsiteX224" fmla="*/ 1296305 w 2133600"/>
                      <a:gd name="connsiteY224" fmla="*/ 36993 h 895350"/>
                      <a:gd name="connsiteX225" fmla="*/ 1297130 w 2133600"/>
                      <a:gd name="connsiteY225" fmla="*/ 38164 h 895350"/>
                      <a:gd name="connsiteX226" fmla="*/ 1297802 w 2133600"/>
                      <a:gd name="connsiteY226" fmla="*/ 38468 h 895350"/>
                      <a:gd name="connsiteX227" fmla="*/ 1297998 w 2133600"/>
                      <a:gd name="connsiteY227" fmla="*/ 39162 h 895350"/>
                      <a:gd name="connsiteX228" fmla="*/ 1304918 w 2133600"/>
                      <a:gd name="connsiteY228" fmla="*/ 37427 h 895350"/>
                      <a:gd name="connsiteX229" fmla="*/ 1304483 w 2133600"/>
                      <a:gd name="connsiteY229" fmla="*/ 36819 h 895350"/>
                      <a:gd name="connsiteX230" fmla="*/ 1306718 w 2133600"/>
                      <a:gd name="connsiteY230" fmla="*/ 36255 h 895350"/>
                      <a:gd name="connsiteX231" fmla="*/ 1306392 w 2133600"/>
                      <a:gd name="connsiteY231" fmla="*/ 35756 h 895350"/>
                      <a:gd name="connsiteX232" fmla="*/ 1305590 w 2133600"/>
                      <a:gd name="connsiteY232" fmla="*/ 35800 h 895350"/>
                      <a:gd name="connsiteX233" fmla="*/ 1305242 w 2133600"/>
                      <a:gd name="connsiteY233" fmla="*/ 35279 h 895350"/>
                      <a:gd name="connsiteX234" fmla="*/ 1304114 w 2133600"/>
                      <a:gd name="connsiteY234" fmla="*/ 34976 h 895350"/>
                      <a:gd name="connsiteX235" fmla="*/ 1303529 w 2133600"/>
                      <a:gd name="connsiteY235" fmla="*/ 35127 h 895350"/>
                      <a:gd name="connsiteX236" fmla="*/ 1300470 w 2133600"/>
                      <a:gd name="connsiteY236" fmla="*/ 30746 h 895350"/>
                      <a:gd name="connsiteX237" fmla="*/ 1310210 w 2133600"/>
                      <a:gd name="connsiteY237" fmla="*/ 27990 h 895350"/>
                      <a:gd name="connsiteX238" fmla="*/ 1313724 w 2133600"/>
                      <a:gd name="connsiteY238" fmla="*/ 33023 h 895350"/>
                      <a:gd name="connsiteX239" fmla="*/ 1314353 w 2133600"/>
                      <a:gd name="connsiteY239" fmla="*/ 32850 h 895350"/>
                      <a:gd name="connsiteX240" fmla="*/ 1315785 w 2133600"/>
                      <a:gd name="connsiteY240" fmla="*/ 34823 h 895350"/>
                      <a:gd name="connsiteX241" fmla="*/ 1340341 w 2133600"/>
                      <a:gd name="connsiteY241" fmla="*/ 28034 h 895350"/>
                      <a:gd name="connsiteX242" fmla="*/ 1384095 w 2133600"/>
                      <a:gd name="connsiteY242" fmla="*/ 16363 h 895350"/>
                      <a:gd name="connsiteX243" fmla="*/ 1416503 w 2133600"/>
                      <a:gd name="connsiteY243" fmla="*/ 7144 h 895350"/>
                      <a:gd name="connsiteX244" fmla="*/ 1420733 w 2133600"/>
                      <a:gd name="connsiteY244" fmla="*/ 8728 h 895350"/>
                      <a:gd name="connsiteX245" fmla="*/ 1422903 w 2133600"/>
                      <a:gd name="connsiteY245" fmla="*/ 9292 h 895350"/>
                      <a:gd name="connsiteX246" fmla="*/ 1425136 w 2133600"/>
                      <a:gd name="connsiteY246" fmla="*/ 9682 h 895350"/>
                      <a:gd name="connsiteX247" fmla="*/ 1428152 w 2133600"/>
                      <a:gd name="connsiteY247" fmla="*/ 9942 h 895350"/>
                      <a:gd name="connsiteX248" fmla="*/ 1450017 w 2133600"/>
                      <a:gd name="connsiteY248" fmla="*/ 10311 h 895350"/>
                      <a:gd name="connsiteX249" fmla="*/ 1454508 w 2133600"/>
                      <a:gd name="connsiteY249" fmla="*/ 10810 h 895350"/>
                      <a:gd name="connsiteX250" fmla="*/ 1458999 w 2133600"/>
                      <a:gd name="connsiteY250" fmla="*/ 11700 h 895350"/>
                      <a:gd name="connsiteX251" fmla="*/ 1463098 w 2133600"/>
                      <a:gd name="connsiteY251" fmla="*/ 12914 h 895350"/>
                      <a:gd name="connsiteX252" fmla="*/ 1466960 w 2133600"/>
                      <a:gd name="connsiteY252" fmla="*/ 14476 h 895350"/>
                      <a:gd name="connsiteX253" fmla="*/ 1487850 w 2133600"/>
                      <a:gd name="connsiteY253" fmla="*/ 24932 h 895350"/>
                      <a:gd name="connsiteX254" fmla="*/ 1507676 w 2133600"/>
                      <a:gd name="connsiteY254" fmla="*/ 34845 h 895350"/>
                      <a:gd name="connsiteX255" fmla="*/ 1531300 w 2133600"/>
                      <a:gd name="connsiteY255" fmla="*/ 46711 h 895350"/>
                      <a:gd name="connsiteX256" fmla="*/ 1537178 w 2133600"/>
                      <a:gd name="connsiteY256" fmla="*/ 49813 h 895350"/>
                      <a:gd name="connsiteX257" fmla="*/ 1543491 w 2133600"/>
                      <a:gd name="connsiteY257" fmla="*/ 54000 h 895350"/>
                      <a:gd name="connsiteX258" fmla="*/ 1548480 w 2133600"/>
                      <a:gd name="connsiteY258" fmla="*/ 58251 h 895350"/>
                      <a:gd name="connsiteX259" fmla="*/ 1551083 w 2133600"/>
                      <a:gd name="connsiteY259" fmla="*/ 60985 h 895350"/>
                      <a:gd name="connsiteX260" fmla="*/ 1553469 w 2133600"/>
                      <a:gd name="connsiteY260" fmla="*/ 63892 h 895350"/>
                      <a:gd name="connsiteX261" fmla="*/ 1558133 w 2133600"/>
                      <a:gd name="connsiteY261" fmla="*/ 68165 h 895350"/>
                      <a:gd name="connsiteX262" fmla="*/ 1564489 w 2133600"/>
                      <a:gd name="connsiteY262" fmla="*/ 72894 h 895350"/>
                      <a:gd name="connsiteX263" fmla="*/ 1571518 w 2133600"/>
                      <a:gd name="connsiteY263" fmla="*/ 77080 h 895350"/>
                      <a:gd name="connsiteX264" fmla="*/ 1575596 w 2133600"/>
                      <a:gd name="connsiteY264" fmla="*/ 79098 h 895350"/>
                      <a:gd name="connsiteX265" fmla="*/ 1579977 w 2133600"/>
                      <a:gd name="connsiteY265" fmla="*/ 80920 h 895350"/>
                      <a:gd name="connsiteX266" fmla="*/ 1588762 w 2133600"/>
                      <a:gd name="connsiteY266" fmla="*/ 83784 h 895350"/>
                      <a:gd name="connsiteX267" fmla="*/ 1597115 w 2133600"/>
                      <a:gd name="connsiteY267" fmla="*/ 85715 h 895350"/>
                      <a:gd name="connsiteX268" fmla="*/ 1603015 w 2133600"/>
                      <a:gd name="connsiteY268" fmla="*/ 86669 h 895350"/>
                      <a:gd name="connsiteX269" fmla="*/ 1607007 w 2133600"/>
                      <a:gd name="connsiteY269" fmla="*/ 87124 h 895350"/>
                      <a:gd name="connsiteX270" fmla="*/ 1610585 w 2133600"/>
                      <a:gd name="connsiteY270" fmla="*/ 87428 h 895350"/>
                      <a:gd name="connsiteX271" fmla="*/ 1721954 w 2133600"/>
                      <a:gd name="connsiteY271" fmla="*/ 94131 h 895350"/>
                      <a:gd name="connsiteX272" fmla="*/ 1762324 w 2133600"/>
                      <a:gd name="connsiteY272" fmla="*/ 96561 h 895350"/>
                      <a:gd name="connsiteX273" fmla="*/ 1767096 w 2133600"/>
                      <a:gd name="connsiteY273" fmla="*/ 96257 h 895350"/>
                      <a:gd name="connsiteX274" fmla="*/ 1773647 w 2133600"/>
                      <a:gd name="connsiteY274" fmla="*/ 95606 h 895350"/>
                      <a:gd name="connsiteX275" fmla="*/ 1779049 w 2133600"/>
                      <a:gd name="connsiteY275" fmla="*/ 94846 h 895350"/>
                      <a:gd name="connsiteX276" fmla="*/ 1788507 w 2133600"/>
                      <a:gd name="connsiteY276" fmla="*/ 92959 h 895350"/>
                      <a:gd name="connsiteX277" fmla="*/ 1841198 w 2133600"/>
                      <a:gd name="connsiteY277" fmla="*/ 82222 h 895350"/>
                      <a:gd name="connsiteX278" fmla="*/ 1891633 w 2133600"/>
                      <a:gd name="connsiteY278" fmla="*/ 72395 h 895350"/>
                      <a:gd name="connsiteX279" fmla="*/ 1905364 w 2133600"/>
                      <a:gd name="connsiteY279" fmla="*/ 68837 h 895350"/>
                      <a:gd name="connsiteX280" fmla="*/ 1910961 w 2133600"/>
                      <a:gd name="connsiteY280" fmla="*/ 78837 h 895350"/>
                      <a:gd name="connsiteX281" fmla="*/ 1936211 w 2133600"/>
                      <a:gd name="connsiteY281" fmla="*/ 134869 h 895350"/>
                      <a:gd name="connsiteX282" fmla="*/ 1946992 w 2133600"/>
                      <a:gd name="connsiteY282" fmla="*/ 151876 h 895350"/>
                      <a:gd name="connsiteX283" fmla="*/ 1986277 w 2133600"/>
                      <a:gd name="connsiteY283" fmla="*/ 195153 h 895350"/>
                      <a:gd name="connsiteX284" fmla="*/ 2027190 w 2133600"/>
                      <a:gd name="connsiteY284" fmla="*/ 239037 h 895350"/>
                      <a:gd name="connsiteX285" fmla="*/ 2044890 w 2133600"/>
                      <a:gd name="connsiteY285" fmla="*/ 268039 h 895350"/>
                      <a:gd name="connsiteX286" fmla="*/ 2070227 w 2133600"/>
                      <a:gd name="connsiteY286" fmla="*/ 309559 h 895350"/>
                      <a:gd name="connsiteX287" fmla="*/ 2080531 w 2133600"/>
                      <a:gd name="connsiteY287" fmla="*/ 326435 h 895350"/>
                      <a:gd name="connsiteX288" fmla="*/ 2090379 w 2133600"/>
                      <a:gd name="connsiteY288" fmla="*/ 360731 h 895350"/>
                      <a:gd name="connsiteX289" fmla="*/ 2091030 w 2133600"/>
                      <a:gd name="connsiteY289" fmla="*/ 364006 h 895350"/>
                      <a:gd name="connsiteX290" fmla="*/ 2093069 w 2133600"/>
                      <a:gd name="connsiteY290" fmla="*/ 373964 h 895350"/>
                      <a:gd name="connsiteX291" fmla="*/ 2096474 w 2133600"/>
                      <a:gd name="connsiteY291" fmla="*/ 383638 h 895350"/>
                      <a:gd name="connsiteX292" fmla="*/ 2105456 w 2133600"/>
                      <a:gd name="connsiteY292" fmla="*/ 401535 h 895350"/>
                      <a:gd name="connsiteX293" fmla="*/ 2111551 w 2133600"/>
                      <a:gd name="connsiteY293" fmla="*/ 408997 h 895350"/>
                      <a:gd name="connsiteX294" fmla="*/ 2127300 w 2133600"/>
                      <a:gd name="connsiteY294" fmla="*/ 428368 h 895350"/>
                      <a:gd name="connsiteX295" fmla="*/ 2129057 w 2133600"/>
                      <a:gd name="connsiteY295" fmla="*/ 432924 h 895350"/>
                      <a:gd name="connsiteX296" fmla="*/ 2130011 w 2133600"/>
                      <a:gd name="connsiteY296" fmla="*/ 439041 h 895350"/>
                      <a:gd name="connsiteX297" fmla="*/ 2129578 w 2133600"/>
                      <a:gd name="connsiteY297" fmla="*/ 445223 h 895350"/>
                      <a:gd name="connsiteX298" fmla="*/ 2127387 w 2133600"/>
                      <a:gd name="connsiteY298" fmla="*/ 450885 h 895350"/>
                      <a:gd name="connsiteX299" fmla="*/ 2123330 w 2133600"/>
                      <a:gd name="connsiteY299" fmla="*/ 456525 h 895350"/>
                      <a:gd name="connsiteX300" fmla="*/ 2116714 w 2133600"/>
                      <a:gd name="connsiteY300" fmla="*/ 465224 h 895350"/>
                      <a:gd name="connsiteX301" fmla="*/ 2109555 w 2133600"/>
                      <a:gd name="connsiteY301" fmla="*/ 473076 h 895350"/>
                      <a:gd name="connsiteX302" fmla="*/ 2099925 w 2133600"/>
                      <a:gd name="connsiteY302" fmla="*/ 479584 h 895350"/>
                      <a:gd name="connsiteX303" fmla="*/ 2091074 w 2133600"/>
                      <a:gd name="connsiteY303" fmla="*/ 484855 h 895350"/>
                      <a:gd name="connsiteX304" fmla="*/ 2078730 w 2133600"/>
                      <a:gd name="connsiteY304" fmla="*/ 491363 h 895350"/>
                      <a:gd name="connsiteX305" fmla="*/ 2065498 w 2133600"/>
                      <a:gd name="connsiteY305" fmla="*/ 496113 h 895350"/>
                      <a:gd name="connsiteX306" fmla="*/ 2060813 w 2133600"/>
                      <a:gd name="connsiteY306" fmla="*/ 497307 h 895350"/>
                      <a:gd name="connsiteX307" fmla="*/ 2047276 w 2133600"/>
                      <a:gd name="connsiteY307" fmla="*/ 500561 h 895350"/>
                      <a:gd name="connsiteX308" fmla="*/ 2037298 w 2133600"/>
                      <a:gd name="connsiteY308" fmla="*/ 502730 h 895350"/>
                      <a:gd name="connsiteX309" fmla="*/ 2023349 w 2133600"/>
                      <a:gd name="connsiteY309" fmla="*/ 506331 h 895350"/>
                      <a:gd name="connsiteX310" fmla="*/ 2009249 w 2133600"/>
                      <a:gd name="connsiteY310" fmla="*/ 512231 h 895350"/>
                      <a:gd name="connsiteX311" fmla="*/ 2005844 w 2133600"/>
                      <a:gd name="connsiteY311" fmla="*/ 513663 h 895350"/>
                      <a:gd name="connsiteX312" fmla="*/ 1977601 w 2133600"/>
                      <a:gd name="connsiteY312" fmla="*/ 524227 h 895350"/>
                      <a:gd name="connsiteX313" fmla="*/ 1972958 w 2133600"/>
                      <a:gd name="connsiteY313" fmla="*/ 526440 h 895350"/>
                      <a:gd name="connsiteX314" fmla="*/ 1967232 w 2133600"/>
                      <a:gd name="connsiteY314" fmla="*/ 529802 h 895350"/>
                      <a:gd name="connsiteX315" fmla="*/ 1965604 w 2133600"/>
                      <a:gd name="connsiteY315" fmla="*/ 530822 h 895350"/>
                      <a:gd name="connsiteX316" fmla="*/ 1963435 w 2133600"/>
                      <a:gd name="connsiteY316" fmla="*/ 532926 h 895350"/>
                      <a:gd name="connsiteX317" fmla="*/ 1961873 w 2133600"/>
                      <a:gd name="connsiteY317" fmla="*/ 535116 h 895350"/>
                      <a:gd name="connsiteX318" fmla="*/ 1960854 w 2133600"/>
                      <a:gd name="connsiteY318" fmla="*/ 537307 h 895350"/>
                      <a:gd name="connsiteX319" fmla="*/ 1954542 w 2133600"/>
                      <a:gd name="connsiteY319" fmla="*/ 563512 h 895350"/>
                      <a:gd name="connsiteX320" fmla="*/ 1953652 w 2133600"/>
                      <a:gd name="connsiteY320" fmla="*/ 568848 h 895350"/>
                      <a:gd name="connsiteX321" fmla="*/ 1952329 w 2133600"/>
                      <a:gd name="connsiteY321" fmla="*/ 573209 h 895350"/>
                      <a:gd name="connsiteX322" fmla="*/ 1951395 w 2133600"/>
                      <a:gd name="connsiteY322" fmla="*/ 575335 h 895350"/>
                      <a:gd name="connsiteX323" fmla="*/ 1948663 w 2133600"/>
                      <a:gd name="connsiteY323" fmla="*/ 579976 h 895350"/>
                      <a:gd name="connsiteX324" fmla="*/ 1945604 w 2133600"/>
                      <a:gd name="connsiteY324" fmla="*/ 583903 h 895350"/>
                      <a:gd name="connsiteX325" fmla="*/ 1942611 w 2133600"/>
                      <a:gd name="connsiteY325" fmla="*/ 586918 h 895350"/>
                      <a:gd name="connsiteX326" fmla="*/ 1935127 w 2133600"/>
                      <a:gd name="connsiteY326" fmla="*/ 595183 h 895350"/>
                      <a:gd name="connsiteX327" fmla="*/ 1925235 w 2133600"/>
                      <a:gd name="connsiteY327" fmla="*/ 605140 h 895350"/>
                      <a:gd name="connsiteX328" fmla="*/ 1918857 w 2133600"/>
                      <a:gd name="connsiteY328" fmla="*/ 610672 h 895350"/>
                      <a:gd name="connsiteX329" fmla="*/ 1908510 w 2133600"/>
                      <a:gd name="connsiteY329" fmla="*/ 619045 h 895350"/>
                      <a:gd name="connsiteX330" fmla="*/ 1903521 w 2133600"/>
                      <a:gd name="connsiteY330" fmla="*/ 622321 h 895350"/>
                      <a:gd name="connsiteX331" fmla="*/ 1897251 w 2133600"/>
                      <a:gd name="connsiteY331" fmla="*/ 625032 h 895350"/>
                      <a:gd name="connsiteX332" fmla="*/ 1890375 w 2133600"/>
                      <a:gd name="connsiteY332" fmla="*/ 626962 h 895350"/>
                      <a:gd name="connsiteX333" fmla="*/ 1881914 w 2133600"/>
                      <a:gd name="connsiteY333" fmla="*/ 628091 h 895350"/>
                      <a:gd name="connsiteX334" fmla="*/ 1866687 w 2133600"/>
                      <a:gd name="connsiteY334" fmla="*/ 629154 h 895350"/>
                      <a:gd name="connsiteX335" fmla="*/ 1858660 w 2133600"/>
                      <a:gd name="connsiteY335" fmla="*/ 629479 h 895350"/>
                      <a:gd name="connsiteX336" fmla="*/ 1852521 w 2133600"/>
                      <a:gd name="connsiteY336" fmla="*/ 629436 h 895350"/>
                      <a:gd name="connsiteX337" fmla="*/ 1830005 w 2133600"/>
                      <a:gd name="connsiteY337" fmla="*/ 627896 h 895350"/>
                      <a:gd name="connsiteX338" fmla="*/ 1817879 w 2133600"/>
                      <a:gd name="connsiteY338" fmla="*/ 628307 h 895350"/>
                      <a:gd name="connsiteX339" fmla="*/ 1809223 w 2133600"/>
                      <a:gd name="connsiteY339" fmla="*/ 629261 h 895350"/>
                      <a:gd name="connsiteX340" fmla="*/ 1801132 w 2133600"/>
                      <a:gd name="connsiteY340" fmla="*/ 630759 h 895350"/>
                      <a:gd name="connsiteX341" fmla="*/ 1797010 w 2133600"/>
                      <a:gd name="connsiteY341" fmla="*/ 631778 h 895350"/>
                      <a:gd name="connsiteX342" fmla="*/ 1793366 w 2133600"/>
                      <a:gd name="connsiteY342" fmla="*/ 632776 h 895350"/>
                      <a:gd name="connsiteX343" fmla="*/ 1789591 w 2133600"/>
                      <a:gd name="connsiteY343" fmla="*/ 634186 h 895350"/>
                      <a:gd name="connsiteX344" fmla="*/ 1785818 w 2133600"/>
                      <a:gd name="connsiteY344" fmla="*/ 635921 h 895350"/>
                      <a:gd name="connsiteX345" fmla="*/ 1782715 w 2133600"/>
                      <a:gd name="connsiteY345" fmla="*/ 637809 h 895350"/>
                      <a:gd name="connsiteX346" fmla="*/ 1779700 w 2133600"/>
                      <a:gd name="connsiteY346" fmla="*/ 640043 h 895350"/>
                      <a:gd name="connsiteX347" fmla="*/ 1777855 w 2133600"/>
                      <a:gd name="connsiteY347" fmla="*/ 641931 h 895350"/>
                      <a:gd name="connsiteX348" fmla="*/ 1774950 w 2133600"/>
                      <a:gd name="connsiteY348" fmla="*/ 645423 h 895350"/>
                      <a:gd name="connsiteX349" fmla="*/ 1772910 w 2133600"/>
                      <a:gd name="connsiteY349" fmla="*/ 648851 h 895350"/>
                      <a:gd name="connsiteX350" fmla="*/ 1771934 w 2133600"/>
                      <a:gd name="connsiteY350" fmla="*/ 653145 h 895350"/>
                      <a:gd name="connsiteX351" fmla="*/ 1771825 w 2133600"/>
                      <a:gd name="connsiteY351" fmla="*/ 657462 h 895350"/>
                      <a:gd name="connsiteX352" fmla="*/ 1772216 w 2133600"/>
                      <a:gd name="connsiteY352" fmla="*/ 660043 h 895350"/>
                      <a:gd name="connsiteX353" fmla="*/ 1780459 w 2133600"/>
                      <a:gd name="connsiteY353" fmla="*/ 678526 h 895350"/>
                      <a:gd name="connsiteX354" fmla="*/ 1783430 w 2133600"/>
                      <a:gd name="connsiteY354" fmla="*/ 687181 h 895350"/>
                      <a:gd name="connsiteX355" fmla="*/ 1784798 w 2133600"/>
                      <a:gd name="connsiteY355" fmla="*/ 693038 h 895350"/>
                      <a:gd name="connsiteX356" fmla="*/ 1784819 w 2133600"/>
                      <a:gd name="connsiteY356" fmla="*/ 698244 h 895350"/>
                      <a:gd name="connsiteX357" fmla="*/ 1783756 w 2133600"/>
                      <a:gd name="connsiteY357" fmla="*/ 702626 h 895350"/>
                      <a:gd name="connsiteX358" fmla="*/ 1781283 w 2133600"/>
                      <a:gd name="connsiteY358" fmla="*/ 707420 h 895350"/>
                      <a:gd name="connsiteX359" fmla="*/ 1778181 w 2133600"/>
                      <a:gd name="connsiteY359" fmla="*/ 712127 h 895350"/>
                      <a:gd name="connsiteX360" fmla="*/ 1766967 w 2133600"/>
                      <a:gd name="connsiteY360" fmla="*/ 724839 h 895350"/>
                      <a:gd name="connsiteX361" fmla="*/ 1757985 w 2133600"/>
                      <a:gd name="connsiteY361" fmla="*/ 733495 h 895350"/>
                      <a:gd name="connsiteX362" fmla="*/ 1746836 w 2133600"/>
                      <a:gd name="connsiteY362" fmla="*/ 745382 h 895350"/>
                      <a:gd name="connsiteX363" fmla="*/ 1742909 w 2133600"/>
                      <a:gd name="connsiteY363" fmla="*/ 750675 h 895350"/>
                      <a:gd name="connsiteX364" fmla="*/ 1739851 w 2133600"/>
                      <a:gd name="connsiteY364" fmla="*/ 755469 h 895350"/>
                      <a:gd name="connsiteX365" fmla="*/ 1736771 w 2133600"/>
                      <a:gd name="connsiteY365" fmla="*/ 761694 h 895350"/>
                      <a:gd name="connsiteX366" fmla="*/ 1732822 w 2133600"/>
                      <a:gd name="connsiteY366" fmla="*/ 770849 h 895350"/>
                      <a:gd name="connsiteX367" fmla="*/ 1730197 w 2133600"/>
                      <a:gd name="connsiteY367" fmla="*/ 777942 h 895350"/>
                      <a:gd name="connsiteX368" fmla="*/ 1727746 w 2133600"/>
                      <a:gd name="connsiteY368" fmla="*/ 782780 h 895350"/>
                      <a:gd name="connsiteX369" fmla="*/ 1714644 w 2133600"/>
                      <a:gd name="connsiteY369" fmla="*/ 806598 h 895350"/>
                      <a:gd name="connsiteX370" fmla="*/ 1703125 w 2133600"/>
                      <a:gd name="connsiteY370" fmla="*/ 825296 h 895350"/>
                      <a:gd name="connsiteX371" fmla="*/ 1701933 w 2133600"/>
                      <a:gd name="connsiteY371" fmla="*/ 828290 h 895350"/>
                      <a:gd name="connsiteX372" fmla="*/ 1701347 w 2133600"/>
                      <a:gd name="connsiteY372" fmla="*/ 830980 h 895350"/>
                      <a:gd name="connsiteX373" fmla="*/ 1702149 w 2133600"/>
                      <a:gd name="connsiteY373" fmla="*/ 836273 h 895350"/>
                      <a:gd name="connsiteX374" fmla="*/ 1704579 w 2133600"/>
                      <a:gd name="connsiteY374" fmla="*/ 843584 h 895350"/>
                      <a:gd name="connsiteX375" fmla="*/ 1706596 w 2133600"/>
                      <a:gd name="connsiteY375" fmla="*/ 847358 h 895350"/>
                      <a:gd name="connsiteX376" fmla="*/ 1712866 w 2133600"/>
                      <a:gd name="connsiteY376" fmla="*/ 857206 h 895350"/>
                      <a:gd name="connsiteX377" fmla="*/ 1716184 w 2133600"/>
                      <a:gd name="connsiteY377" fmla="*/ 860894 h 895350"/>
                      <a:gd name="connsiteX378" fmla="*/ 1719981 w 2133600"/>
                      <a:gd name="connsiteY378" fmla="*/ 863996 h 895350"/>
                      <a:gd name="connsiteX379" fmla="*/ 1724623 w 2133600"/>
                      <a:gd name="connsiteY379" fmla="*/ 866881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Lst>
                    <a:rect l="l" t="t" r="r" b="b"/>
                    <a:pathLst>
                      <a:path w="2133600" h="895350">
                        <a:moveTo>
                          <a:pt x="1724623" y="866881"/>
                        </a:moveTo>
                        <a:lnTo>
                          <a:pt x="1712952" y="867076"/>
                        </a:lnTo>
                        <a:lnTo>
                          <a:pt x="1699329" y="867207"/>
                        </a:lnTo>
                        <a:lnTo>
                          <a:pt x="1694644" y="866881"/>
                        </a:lnTo>
                        <a:lnTo>
                          <a:pt x="1686986" y="866903"/>
                        </a:lnTo>
                        <a:lnTo>
                          <a:pt x="1667007" y="867706"/>
                        </a:lnTo>
                        <a:lnTo>
                          <a:pt x="1653298" y="868009"/>
                        </a:lnTo>
                        <a:lnTo>
                          <a:pt x="1330081" y="874018"/>
                        </a:lnTo>
                        <a:lnTo>
                          <a:pt x="1135586" y="877467"/>
                        </a:lnTo>
                        <a:lnTo>
                          <a:pt x="993977" y="879832"/>
                        </a:lnTo>
                        <a:lnTo>
                          <a:pt x="890916" y="881784"/>
                        </a:lnTo>
                        <a:lnTo>
                          <a:pt x="889138" y="881870"/>
                        </a:lnTo>
                        <a:lnTo>
                          <a:pt x="887012" y="882218"/>
                        </a:lnTo>
                        <a:lnTo>
                          <a:pt x="886297" y="882760"/>
                        </a:lnTo>
                        <a:lnTo>
                          <a:pt x="885862" y="883931"/>
                        </a:lnTo>
                        <a:lnTo>
                          <a:pt x="885494" y="888400"/>
                        </a:lnTo>
                        <a:lnTo>
                          <a:pt x="866882" y="888747"/>
                        </a:lnTo>
                        <a:lnTo>
                          <a:pt x="866729" y="885689"/>
                        </a:lnTo>
                        <a:lnTo>
                          <a:pt x="862781" y="885515"/>
                        </a:lnTo>
                        <a:lnTo>
                          <a:pt x="862847" y="881068"/>
                        </a:lnTo>
                        <a:lnTo>
                          <a:pt x="857770" y="881177"/>
                        </a:lnTo>
                        <a:lnTo>
                          <a:pt x="860265" y="745187"/>
                        </a:lnTo>
                        <a:lnTo>
                          <a:pt x="859658" y="727529"/>
                        </a:lnTo>
                        <a:lnTo>
                          <a:pt x="858551" y="720479"/>
                        </a:lnTo>
                        <a:lnTo>
                          <a:pt x="857619" y="717333"/>
                        </a:lnTo>
                        <a:lnTo>
                          <a:pt x="854755" y="709415"/>
                        </a:lnTo>
                        <a:lnTo>
                          <a:pt x="853258" y="709394"/>
                        </a:lnTo>
                        <a:lnTo>
                          <a:pt x="849267" y="696964"/>
                        </a:lnTo>
                        <a:lnTo>
                          <a:pt x="848855" y="695597"/>
                        </a:lnTo>
                        <a:lnTo>
                          <a:pt x="827575" y="695142"/>
                        </a:lnTo>
                        <a:lnTo>
                          <a:pt x="754341" y="692930"/>
                        </a:lnTo>
                        <a:lnTo>
                          <a:pt x="677116" y="690109"/>
                        </a:lnTo>
                        <a:lnTo>
                          <a:pt x="676074" y="690564"/>
                        </a:lnTo>
                        <a:lnTo>
                          <a:pt x="670001" y="698808"/>
                        </a:lnTo>
                        <a:lnTo>
                          <a:pt x="669133" y="700847"/>
                        </a:lnTo>
                        <a:lnTo>
                          <a:pt x="667506" y="701476"/>
                        </a:lnTo>
                        <a:lnTo>
                          <a:pt x="641410" y="705467"/>
                        </a:lnTo>
                        <a:lnTo>
                          <a:pt x="617050" y="709394"/>
                        </a:lnTo>
                        <a:lnTo>
                          <a:pt x="589348" y="697745"/>
                        </a:lnTo>
                        <a:lnTo>
                          <a:pt x="579695" y="699632"/>
                        </a:lnTo>
                        <a:lnTo>
                          <a:pt x="546505" y="705489"/>
                        </a:lnTo>
                        <a:lnTo>
                          <a:pt x="514660" y="711411"/>
                        </a:lnTo>
                        <a:lnTo>
                          <a:pt x="512340" y="712214"/>
                        </a:lnTo>
                        <a:lnTo>
                          <a:pt x="492079" y="721000"/>
                        </a:lnTo>
                        <a:lnTo>
                          <a:pt x="495225" y="743582"/>
                        </a:lnTo>
                        <a:lnTo>
                          <a:pt x="495441" y="755447"/>
                        </a:lnTo>
                        <a:lnTo>
                          <a:pt x="490734" y="755707"/>
                        </a:lnTo>
                        <a:lnTo>
                          <a:pt x="490517" y="759764"/>
                        </a:lnTo>
                        <a:lnTo>
                          <a:pt x="371079" y="773452"/>
                        </a:lnTo>
                        <a:lnTo>
                          <a:pt x="325351" y="778224"/>
                        </a:lnTo>
                        <a:lnTo>
                          <a:pt x="298648" y="780827"/>
                        </a:lnTo>
                        <a:lnTo>
                          <a:pt x="201053" y="790827"/>
                        </a:lnTo>
                        <a:lnTo>
                          <a:pt x="195348" y="791977"/>
                        </a:lnTo>
                        <a:lnTo>
                          <a:pt x="181920" y="795079"/>
                        </a:lnTo>
                        <a:lnTo>
                          <a:pt x="166823" y="795513"/>
                        </a:lnTo>
                        <a:lnTo>
                          <a:pt x="75670" y="794428"/>
                        </a:lnTo>
                        <a:lnTo>
                          <a:pt x="67145" y="794472"/>
                        </a:lnTo>
                        <a:lnTo>
                          <a:pt x="64130" y="794776"/>
                        </a:lnTo>
                        <a:lnTo>
                          <a:pt x="63002" y="795144"/>
                        </a:lnTo>
                        <a:lnTo>
                          <a:pt x="61939" y="795686"/>
                        </a:lnTo>
                        <a:lnTo>
                          <a:pt x="58685" y="798376"/>
                        </a:lnTo>
                        <a:lnTo>
                          <a:pt x="58057" y="798571"/>
                        </a:lnTo>
                        <a:lnTo>
                          <a:pt x="35431" y="798853"/>
                        </a:lnTo>
                        <a:lnTo>
                          <a:pt x="29162" y="789916"/>
                        </a:lnTo>
                        <a:lnTo>
                          <a:pt x="19964" y="779742"/>
                        </a:lnTo>
                        <a:lnTo>
                          <a:pt x="7144" y="769178"/>
                        </a:lnTo>
                        <a:lnTo>
                          <a:pt x="11569" y="765946"/>
                        </a:lnTo>
                        <a:lnTo>
                          <a:pt x="115694" y="684665"/>
                        </a:lnTo>
                        <a:lnTo>
                          <a:pt x="406979" y="680695"/>
                        </a:lnTo>
                        <a:lnTo>
                          <a:pt x="467284" y="670304"/>
                        </a:lnTo>
                        <a:lnTo>
                          <a:pt x="638329" y="612971"/>
                        </a:lnTo>
                        <a:lnTo>
                          <a:pt x="657202" y="566202"/>
                        </a:lnTo>
                        <a:lnTo>
                          <a:pt x="658199" y="552775"/>
                        </a:lnTo>
                        <a:lnTo>
                          <a:pt x="655857" y="535659"/>
                        </a:lnTo>
                        <a:lnTo>
                          <a:pt x="654555" y="525789"/>
                        </a:lnTo>
                        <a:lnTo>
                          <a:pt x="652040" y="525984"/>
                        </a:lnTo>
                        <a:lnTo>
                          <a:pt x="651974" y="525811"/>
                        </a:lnTo>
                        <a:lnTo>
                          <a:pt x="647874" y="526092"/>
                        </a:lnTo>
                        <a:lnTo>
                          <a:pt x="647917" y="526288"/>
                        </a:lnTo>
                        <a:lnTo>
                          <a:pt x="644772" y="526548"/>
                        </a:lnTo>
                        <a:lnTo>
                          <a:pt x="644663" y="526396"/>
                        </a:lnTo>
                        <a:lnTo>
                          <a:pt x="642430" y="526722"/>
                        </a:lnTo>
                        <a:lnTo>
                          <a:pt x="633795" y="527242"/>
                        </a:lnTo>
                        <a:lnTo>
                          <a:pt x="633688" y="527481"/>
                        </a:lnTo>
                        <a:lnTo>
                          <a:pt x="633340" y="527459"/>
                        </a:lnTo>
                        <a:lnTo>
                          <a:pt x="633275" y="527199"/>
                        </a:lnTo>
                        <a:lnTo>
                          <a:pt x="632386" y="527373"/>
                        </a:lnTo>
                        <a:lnTo>
                          <a:pt x="627071" y="527568"/>
                        </a:lnTo>
                        <a:lnTo>
                          <a:pt x="618264" y="527437"/>
                        </a:lnTo>
                        <a:lnTo>
                          <a:pt x="609413" y="526831"/>
                        </a:lnTo>
                        <a:lnTo>
                          <a:pt x="601951" y="525854"/>
                        </a:lnTo>
                        <a:lnTo>
                          <a:pt x="596333" y="524769"/>
                        </a:lnTo>
                        <a:lnTo>
                          <a:pt x="590455" y="523273"/>
                        </a:lnTo>
                        <a:lnTo>
                          <a:pt x="583924" y="521212"/>
                        </a:lnTo>
                        <a:lnTo>
                          <a:pt x="576138" y="518023"/>
                        </a:lnTo>
                        <a:lnTo>
                          <a:pt x="572233" y="516071"/>
                        </a:lnTo>
                        <a:lnTo>
                          <a:pt x="566484" y="512470"/>
                        </a:lnTo>
                        <a:lnTo>
                          <a:pt x="562493" y="509498"/>
                        </a:lnTo>
                        <a:lnTo>
                          <a:pt x="557742" y="505137"/>
                        </a:lnTo>
                        <a:lnTo>
                          <a:pt x="554315" y="501189"/>
                        </a:lnTo>
                        <a:lnTo>
                          <a:pt x="551169" y="496548"/>
                        </a:lnTo>
                        <a:lnTo>
                          <a:pt x="548696" y="491580"/>
                        </a:lnTo>
                        <a:lnTo>
                          <a:pt x="546874" y="485962"/>
                        </a:lnTo>
                        <a:lnTo>
                          <a:pt x="544184" y="472230"/>
                        </a:lnTo>
                        <a:lnTo>
                          <a:pt x="540323" y="447501"/>
                        </a:lnTo>
                        <a:lnTo>
                          <a:pt x="536505" y="416263"/>
                        </a:lnTo>
                        <a:lnTo>
                          <a:pt x="536310" y="416068"/>
                        </a:lnTo>
                        <a:lnTo>
                          <a:pt x="536288" y="414572"/>
                        </a:lnTo>
                        <a:lnTo>
                          <a:pt x="535963" y="414572"/>
                        </a:lnTo>
                        <a:lnTo>
                          <a:pt x="535768" y="411145"/>
                        </a:lnTo>
                        <a:lnTo>
                          <a:pt x="536245" y="411057"/>
                        </a:lnTo>
                        <a:lnTo>
                          <a:pt x="536180" y="409605"/>
                        </a:lnTo>
                        <a:lnTo>
                          <a:pt x="535963" y="409605"/>
                        </a:lnTo>
                        <a:lnTo>
                          <a:pt x="535984" y="404072"/>
                        </a:lnTo>
                        <a:lnTo>
                          <a:pt x="536440" y="396697"/>
                        </a:lnTo>
                        <a:lnTo>
                          <a:pt x="539022" y="375720"/>
                        </a:lnTo>
                        <a:lnTo>
                          <a:pt x="539390" y="369126"/>
                        </a:lnTo>
                        <a:lnTo>
                          <a:pt x="538804" y="368215"/>
                        </a:lnTo>
                        <a:lnTo>
                          <a:pt x="538826" y="367695"/>
                        </a:lnTo>
                        <a:lnTo>
                          <a:pt x="539326" y="366674"/>
                        </a:lnTo>
                        <a:lnTo>
                          <a:pt x="540735" y="365677"/>
                        </a:lnTo>
                        <a:lnTo>
                          <a:pt x="542036" y="365287"/>
                        </a:lnTo>
                        <a:lnTo>
                          <a:pt x="545551" y="364939"/>
                        </a:lnTo>
                        <a:lnTo>
                          <a:pt x="545486" y="355850"/>
                        </a:lnTo>
                        <a:lnTo>
                          <a:pt x="554185" y="356414"/>
                        </a:lnTo>
                        <a:lnTo>
                          <a:pt x="554249" y="356219"/>
                        </a:lnTo>
                        <a:lnTo>
                          <a:pt x="564900" y="356891"/>
                        </a:lnTo>
                        <a:lnTo>
                          <a:pt x="578502" y="357434"/>
                        </a:lnTo>
                        <a:lnTo>
                          <a:pt x="591907" y="357650"/>
                        </a:lnTo>
                        <a:lnTo>
                          <a:pt x="597808" y="357304"/>
                        </a:lnTo>
                        <a:lnTo>
                          <a:pt x="605531" y="356154"/>
                        </a:lnTo>
                        <a:lnTo>
                          <a:pt x="609262" y="355286"/>
                        </a:lnTo>
                        <a:lnTo>
                          <a:pt x="613275" y="354137"/>
                        </a:lnTo>
                        <a:lnTo>
                          <a:pt x="616615" y="352987"/>
                        </a:lnTo>
                        <a:lnTo>
                          <a:pt x="620260" y="351490"/>
                        </a:lnTo>
                        <a:lnTo>
                          <a:pt x="625987" y="348497"/>
                        </a:lnTo>
                        <a:lnTo>
                          <a:pt x="630650" y="345286"/>
                        </a:lnTo>
                        <a:lnTo>
                          <a:pt x="635271" y="341121"/>
                        </a:lnTo>
                        <a:lnTo>
                          <a:pt x="629587" y="338843"/>
                        </a:lnTo>
                        <a:lnTo>
                          <a:pt x="627614" y="338583"/>
                        </a:lnTo>
                        <a:lnTo>
                          <a:pt x="625835" y="338583"/>
                        </a:lnTo>
                        <a:lnTo>
                          <a:pt x="625791" y="336349"/>
                        </a:lnTo>
                        <a:lnTo>
                          <a:pt x="623861" y="234351"/>
                        </a:lnTo>
                        <a:lnTo>
                          <a:pt x="623644" y="223115"/>
                        </a:lnTo>
                        <a:lnTo>
                          <a:pt x="607287" y="223244"/>
                        </a:lnTo>
                        <a:lnTo>
                          <a:pt x="606138" y="149794"/>
                        </a:lnTo>
                        <a:lnTo>
                          <a:pt x="697095" y="149229"/>
                        </a:lnTo>
                        <a:lnTo>
                          <a:pt x="696183" y="97016"/>
                        </a:lnTo>
                        <a:lnTo>
                          <a:pt x="721151" y="96821"/>
                        </a:lnTo>
                        <a:lnTo>
                          <a:pt x="726466" y="96951"/>
                        </a:lnTo>
                        <a:lnTo>
                          <a:pt x="732713" y="97059"/>
                        </a:lnTo>
                        <a:lnTo>
                          <a:pt x="767442" y="96799"/>
                        </a:lnTo>
                        <a:lnTo>
                          <a:pt x="772866" y="97146"/>
                        </a:lnTo>
                        <a:lnTo>
                          <a:pt x="776206" y="97059"/>
                        </a:lnTo>
                        <a:lnTo>
                          <a:pt x="779200" y="96864"/>
                        </a:lnTo>
                        <a:lnTo>
                          <a:pt x="781934" y="96452"/>
                        </a:lnTo>
                        <a:lnTo>
                          <a:pt x="785492" y="95389"/>
                        </a:lnTo>
                        <a:lnTo>
                          <a:pt x="794103" y="93545"/>
                        </a:lnTo>
                        <a:lnTo>
                          <a:pt x="797270" y="93024"/>
                        </a:lnTo>
                        <a:lnTo>
                          <a:pt x="798832" y="93133"/>
                        </a:lnTo>
                        <a:lnTo>
                          <a:pt x="804776" y="94608"/>
                        </a:lnTo>
                        <a:lnTo>
                          <a:pt x="823951" y="100443"/>
                        </a:lnTo>
                        <a:lnTo>
                          <a:pt x="814168" y="112873"/>
                        </a:lnTo>
                        <a:lnTo>
                          <a:pt x="809678" y="127190"/>
                        </a:lnTo>
                        <a:lnTo>
                          <a:pt x="830547" y="129641"/>
                        </a:lnTo>
                        <a:lnTo>
                          <a:pt x="914258" y="108057"/>
                        </a:lnTo>
                        <a:lnTo>
                          <a:pt x="932479" y="103588"/>
                        </a:lnTo>
                        <a:lnTo>
                          <a:pt x="976689" y="92200"/>
                        </a:lnTo>
                        <a:lnTo>
                          <a:pt x="976472" y="91810"/>
                        </a:lnTo>
                        <a:lnTo>
                          <a:pt x="985930" y="89445"/>
                        </a:lnTo>
                        <a:lnTo>
                          <a:pt x="986125" y="89705"/>
                        </a:lnTo>
                        <a:lnTo>
                          <a:pt x="1006125" y="84716"/>
                        </a:lnTo>
                        <a:lnTo>
                          <a:pt x="1006255" y="84912"/>
                        </a:lnTo>
                        <a:lnTo>
                          <a:pt x="1016993" y="82504"/>
                        </a:lnTo>
                        <a:lnTo>
                          <a:pt x="1055410" y="73263"/>
                        </a:lnTo>
                        <a:lnTo>
                          <a:pt x="1056148" y="73154"/>
                        </a:lnTo>
                        <a:lnTo>
                          <a:pt x="1056950" y="76365"/>
                        </a:lnTo>
                        <a:lnTo>
                          <a:pt x="1057341" y="76625"/>
                        </a:lnTo>
                        <a:lnTo>
                          <a:pt x="1062981" y="77297"/>
                        </a:lnTo>
                        <a:lnTo>
                          <a:pt x="1065346" y="74867"/>
                        </a:lnTo>
                        <a:lnTo>
                          <a:pt x="1065346" y="70855"/>
                        </a:lnTo>
                        <a:lnTo>
                          <a:pt x="1086431" y="65823"/>
                        </a:lnTo>
                        <a:lnTo>
                          <a:pt x="1114002" y="59488"/>
                        </a:lnTo>
                        <a:lnTo>
                          <a:pt x="1124696" y="56755"/>
                        </a:lnTo>
                        <a:lnTo>
                          <a:pt x="1153179" y="49076"/>
                        </a:lnTo>
                        <a:lnTo>
                          <a:pt x="1155413" y="52112"/>
                        </a:lnTo>
                        <a:lnTo>
                          <a:pt x="1181140" y="45605"/>
                        </a:lnTo>
                        <a:lnTo>
                          <a:pt x="1182354" y="47362"/>
                        </a:lnTo>
                        <a:lnTo>
                          <a:pt x="1186107" y="46386"/>
                        </a:lnTo>
                        <a:lnTo>
                          <a:pt x="1181769" y="40008"/>
                        </a:lnTo>
                        <a:lnTo>
                          <a:pt x="1184242" y="39401"/>
                        </a:lnTo>
                        <a:lnTo>
                          <a:pt x="1187518" y="44021"/>
                        </a:lnTo>
                        <a:lnTo>
                          <a:pt x="1194134" y="44129"/>
                        </a:lnTo>
                        <a:lnTo>
                          <a:pt x="1195674" y="43934"/>
                        </a:lnTo>
                        <a:lnTo>
                          <a:pt x="1201379" y="42893"/>
                        </a:lnTo>
                        <a:lnTo>
                          <a:pt x="1207344" y="41419"/>
                        </a:lnTo>
                        <a:lnTo>
                          <a:pt x="1219535" y="37752"/>
                        </a:lnTo>
                        <a:lnTo>
                          <a:pt x="1225479" y="35453"/>
                        </a:lnTo>
                        <a:lnTo>
                          <a:pt x="1229991" y="35778"/>
                        </a:lnTo>
                        <a:lnTo>
                          <a:pt x="1232356" y="35453"/>
                        </a:lnTo>
                        <a:lnTo>
                          <a:pt x="1234959" y="34737"/>
                        </a:lnTo>
                        <a:lnTo>
                          <a:pt x="1236282" y="34238"/>
                        </a:lnTo>
                        <a:lnTo>
                          <a:pt x="1237128" y="33197"/>
                        </a:lnTo>
                        <a:lnTo>
                          <a:pt x="1237779" y="30571"/>
                        </a:lnTo>
                        <a:lnTo>
                          <a:pt x="1239493" y="30116"/>
                        </a:lnTo>
                        <a:lnTo>
                          <a:pt x="1241271" y="29661"/>
                        </a:lnTo>
                        <a:lnTo>
                          <a:pt x="1242508" y="30464"/>
                        </a:lnTo>
                        <a:lnTo>
                          <a:pt x="1244308" y="30832"/>
                        </a:lnTo>
                        <a:lnTo>
                          <a:pt x="1246347" y="31548"/>
                        </a:lnTo>
                        <a:lnTo>
                          <a:pt x="1249428" y="31634"/>
                        </a:lnTo>
                        <a:lnTo>
                          <a:pt x="1254005" y="32004"/>
                        </a:lnTo>
                        <a:lnTo>
                          <a:pt x="1263203" y="34737"/>
                        </a:lnTo>
                        <a:lnTo>
                          <a:pt x="1267866" y="36949"/>
                        </a:lnTo>
                        <a:lnTo>
                          <a:pt x="1268929" y="37101"/>
                        </a:lnTo>
                        <a:lnTo>
                          <a:pt x="1270556" y="37123"/>
                        </a:lnTo>
                        <a:lnTo>
                          <a:pt x="1272747" y="36428"/>
                        </a:lnTo>
                        <a:lnTo>
                          <a:pt x="1274092" y="35474"/>
                        </a:lnTo>
                        <a:lnTo>
                          <a:pt x="1275611" y="34000"/>
                        </a:lnTo>
                        <a:lnTo>
                          <a:pt x="1280470" y="35063"/>
                        </a:lnTo>
                        <a:lnTo>
                          <a:pt x="1281402" y="36212"/>
                        </a:lnTo>
                        <a:lnTo>
                          <a:pt x="1288257" y="34260"/>
                        </a:lnTo>
                        <a:lnTo>
                          <a:pt x="1289862" y="35756"/>
                        </a:lnTo>
                        <a:lnTo>
                          <a:pt x="1295004" y="34411"/>
                        </a:lnTo>
                        <a:lnTo>
                          <a:pt x="1296522" y="36624"/>
                        </a:lnTo>
                        <a:lnTo>
                          <a:pt x="1296305" y="36993"/>
                        </a:lnTo>
                        <a:lnTo>
                          <a:pt x="1297130" y="38164"/>
                        </a:lnTo>
                        <a:lnTo>
                          <a:pt x="1297802" y="38468"/>
                        </a:lnTo>
                        <a:lnTo>
                          <a:pt x="1297998" y="39162"/>
                        </a:lnTo>
                        <a:lnTo>
                          <a:pt x="1304918" y="37427"/>
                        </a:lnTo>
                        <a:lnTo>
                          <a:pt x="1304483" y="36819"/>
                        </a:lnTo>
                        <a:lnTo>
                          <a:pt x="1306718" y="36255"/>
                        </a:lnTo>
                        <a:lnTo>
                          <a:pt x="1306392" y="35756"/>
                        </a:lnTo>
                        <a:lnTo>
                          <a:pt x="1305590" y="35800"/>
                        </a:lnTo>
                        <a:lnTo>
                          <a:pt x="1305242" y="35279"/>
                        </a:lnTo>
                        <a:lnTo>
                          <a:pt x="1304114" y="34976"/>
                        </a:lnTo>
                        <a:lnTo>
                          <a:pt x="1303529" y="35127"/>
                        </a:lnTo>
                        <a:lnTo>
                          <a:pt x="1300470" y="30746"/>
                        </a:lnTo>
                        <a:lnTo>
                          <a:pt x="1310210" y="27990"/>
                        </a:lnTo>
                        <a:lnTo>
                          <a:pt x="1313724" y="33023"/>
                        </a:lnTo>
                        <a:lnTo>
                          <a:pt x="1314353" y="32850"/>
                        </a:lnTo>
                        <a:lnTo>
                          <a:pt x="1315785" y="34823"/>
                        </a:lnTo>
                        <a:lnTo>
                          <a:pt x="1340341" y="28034"/>
                        </a:lnTo>
                        <a:lnTo>
                          <a:pt x="1384095" y="16363"/>
                        </a:lnTo>
                        <a:lnTo>
                          <a:pt x="1416503" y="7144"/>
                        </a:lnTo>
                        <a:lnTo>
                          <a:pt x="1420733" y="8728"/>
                        </a:lnTo>
                        <a:lnTo>
                          <a:pt x="1422903" y="9292"/>
                        </a:lnTo>
                        <a:lnTo>
                          <a:pt x="1425136" y="9682"/>
                        </a:lnTo>
                        <a:lnTo>
                          <a:pt x="1428152" y="9942"/>
                        </a:lnTo>
                        <a:lnTo>
                          <a:pt x="1450017" y="10311"/>
                        </a:lnTo>
                        <a:lnTo>
                          <a:pt x="1454508" y="10810"/>
                        </a:lnTo>
                        <a:lnTo>
                          <a:pt x="1458999" y="11700"/>
                        </a:lnTo>
                        <a:lnTo>
                          <a:pt x="1463098" y="12914"/>
                        </a:lnTo>
                        <a:lnTo>
                          <a:pt x="1466960" y="14476"/>
                        </a:lnTo>
                        <a:lnTo>
                          <a:pt x="1487850" y="24932"/>
                        </a:lnTo>
                        <a:lnTo>
                          <a:pt x="1507676" y="34845"/>
                        </a:lnTo>
                        <a:lnTo>
                          <a:pt x="1531300" y="46711"/>
                        </a:lnTo>
                        <a:lnTo>
                          <a:pt x="1537178" y="49813"/>
                        </a:lnTo>
                        <a:lnTo>
                          <a:pt x="1543491" y="54000"/>
                        </a:lnTo>
                        <a:lnTo>
                          <a:pt x="1548480" y="58251"/>
                        </a:lnTo>
                        <a:lnTo>
                          <a:pt x="1551083" y="60985"/>
                        </a:lnTo>
                        <a:lnTo>
                          <a:pt x="1553469" y="63892"/>
                        </a:lnTo>
                        <a:lnTo>
                          <a:pt x="1558133" y="68165"/>
                        </a:lnTo>
                        <a:lnTo>
                          <a:pt x="1564489" y="72894"/>
                        </a:lnTo>
                        <a:lnTo>
                          <a:pt x="1571518" y="77080"/>
                        </a:lnTo>
                        <a:lnTo>
                          <a:pt x="1575596" y="79098"/>
                        </a:lnTo>
                        <a:lnTo>
                          <a:pt x="1579977" y="80920"/>
                        </a:lnTo>
                        <a:lnTo>
                          <a:pt x="1588762" y="83784"/>
                        </a:lnTo>
                        <a:lnTo>
                          <a:pt x="1597115" y="85715"/>
                        </a:lnTo>
                        <a:lnTo>
                          <a:pt x="1603015" y="86669"/>
                        </a:lnTo>
                        <a:lnTo>
                          <a:pt x="1607007" y="87124"/>
                        </a:lnTo>
                        <a:lnTo>
                          <a:pt x="1610585" y="87428"/>
                        </a:lnTo>
                        <a:lnTo>
                          <a:pt x="1721954" y="94131"/>
                        </a:lnTo>
                        <a:lnTo>
                          <a:pt x="1762324" y="96561"/>
                        </a:lnTo>
                        <a:lnTo>
                          <a:pt x="1767096" y="96257"/>
                        </a:lnTo>
                        <a:lnTo>
                          <a:pt x="1773647" y="95606"/>
                        </a:lnTo>
                        <a:lnTo>
                          <a:pt x="1779049" y="94846"/>
                        </a:lnTo>
                        <a:lnTo>
                          <a:pt x="1788507" y="92959"/>
                        </a:lnTo>
                        <a:lnTo>
                          <a:pt x="1841198" y="82222"/>
                        </a:lnTo>
                        <a:lnTo>
                          <a:pt x="1891633" y="72395"/>
                        </a:lnTo>
                        <a:lnTo>
                          <a:pt x="1905364" y="68837"/>
                        </a:lnTo>
                        <a:lnTo>
                          <a:pt x="1910961" y="78837"/>
                        </a:lnTo>
                        <a:lnTo>
                          <a:pt x="1936211" y="134869"/>
                        </a:lnTo>
                        <a:lnTo>
                          <a:pt x="1946992" y="151876"/>
                        </a:lnTo>
                        <a:lnTo>
                          <a:pt x="1986277" y="195153"/>
                        </a:lnTo>
                        <a:lnTo>
                          <a:pt x="2027190" y="239037"/>
                        </a:lnTo>
                        <a:lnTo>
                          <a:pt x="2044890" y="268039"/>
                        </a:lnTo>
                        <a:lnTo>
                          <a:pt x="2070227" y="309559"/>
                        </a:lnTo>
                        <a:lnTo>
                          <a:pt x="2080531" y="326435"/>
                        </a:lnTo>
                        <a:lnTo>
                          <a:pt x="2090379" y="360731"/>
                        </a:lnTo>
                        <a:lnTo>
                          <a:pt x="2091030" y="364006"/>
                        </a:lnTo>
                        <a:lnTo>
                          <a:pt x="2093069" y="373964"/>
                        </a:lnTo>
                        <a:lnTo>
                          <a:pt x="2096474" y="383638"/>
                        </a:lnTo>
                        <a:lnTo>
                          <a:pt x="2105456" y="401535"/>
                        </a:lnTo>
                        <a:lnTo>
                          <a:pt x="2111551" y="408997"/>
                        </a:lnTo>
                        <a:lnTo>
                          <a:pt x="2127300" y="428368"/>
                        </a:lnTo>
                        <a:lnTo>
                          <a:pt x="2129057" y="432924"/>
                        </a:lnTo>
                        <a:lnTo>
                          <a:pt x="2130011" y="439041"/>
                        </a:lnTo>
                        <a:lnTo>
                          <a:pt x="2129578" y="445223"/>
                        </a:lnTo>
                        <a:lnTo>
                          <a:pt x="2127387" y="450885"/>
                        </a:lnTo>
                        <a:lnTo>
                          <a:pt x="2123330" y="456525"/>
                        </a:lnTo>
                        <a:lnTo>
                          <a:pt x="2116714" y="465224"/>
                        </a:lnTo>
                        <a:lnTo>
                          <a:pt x="2109555" y="473076"/>
                        </a:lnTo>
                        <a:lnTo>
                          <a:pt x="2099925" y="479584"/>
                        </a:lnTo>
                        <a:lnTo>
                          <a:pt x="2091074" y="484855"/>
                        </a:lnTo>
                        <a:lnTo>
                          <a:pt x="2078730" y="491363"/>
                        </a:lnTo>
                        <a:lnTo>
                          <a:pt x="2065498" y="496113"/>
                        </a:lnTo>
                        <a:lnTo>
                          <a:pt x="2060813" y="497307"/>
                        </a:lnTo>
                        <a:lnTo>
                          <a:pt x="2047276" y="500561"/>
                        </a:lnTo>
                        <a:lnTo>
                          <a:pt x="2037298" y="502730"/>
                        </a:lnTo>
                        <a:lnTo>
                          <a:pt x="2023349" y="506331"/>
                        </a:lnTo>
                        <a:lnTo>
                          <a:pt x="2009249" y="512231"/>
                        </a:lnTo>
                        <a:lnTo>
                          <a:pt x="2005844" y="513663"/>
                        </a:lnTo>
                        <a:lnTo>
                          <a:pt x="1977601" y="524227"/>
                        </a:lnTo>
                        <a:lnTo>
                          <a:pt x="1972958" y="526440"/>
                        </a:lnTo>
                        <a:lnTo>
                          <a:pt x="1967232" y="529802"/>
                        </a:lnTo>
                        <a:lnTo>
                          <a:pt x="1965604" y="530822"/>
                        </a:lnTo>
                        <a:lnTo>
                          <a:pt x="1963435" y="532926"/>
                        </a:lnTo>
                        <a:lnTo>
                          <a:pt x="1961873" y="535116"/>
                        </a:lnTo>
                        <a:lnTo>
                          <a:pt x="1960854" y="537307"/>
                        </a:lnTo>
                        <a:lnTo>
                          <a:pt x="1954542" y="563512"/>
                        </a:lnTo>
                        <a:lnTo>
                          <a:pt x="1953652" y="568848"/>
                        </a:lnTo>
                        <a:lnTo>
                          <a:pt x="1952329" y="573209"/>
                        </a:lnTo>
                        <a:lnTo>
                          <a:pt x="1951395" y="575335"/>
                        </a:lnTo>
                        <a:lnTo>
                          <a:pt x="1948663" y="579976"/>
                        </a:lnTo>
                        <a:lnTo>
                          <a:pt x="1945604" y="583903"/>
                        </a:lnTo>
                        <a:lnTo>
                          <a:pt x="1942611" y="586918"/>
                        </a:lnTo>
                        <a:lnTo>
                          <a:pt x="1935127" y="595183"/>
                        </a:lnTo>
                        <a:lnTo>
                          <a:pt x="1925235" y="605140"/>
                        </a:lnTo>
                        <a:lnTo>
                          <a:pt x="1918857" y="610672"/>
                        </a:lnTo>
                        <a:lnTo>
                          <a:pt x="1908510" y="619045"/>
                        </a:lnTo>
                        <a:lnTo>
                          <a:pt x="1903521" y="622321"/>
                        </a:lnTo>
                        <a:lnTo>
                          <a:pt x="1897251" y="625032"/>
                        </a:lnTo>
                        <a:lnTo>
                          <a:pt x="1890375" y="626962"/>
                        </a:lnTo>
                        <a:lnTo>
                          <a:pt x="1881914" y="628091"/>
                        </a:lnTo>
                        <a:lnTo>
                          <a:pt x="1866687" y="629154"/>
                        </a:lnTo>
                        <a:lnTo>
                          <a:pt x="1858660" y="629479"/>
                        </a:lnTo>
                        <a:lnTo>
                          <a:pt x="1852521" y="629436"/>
                        </a:lnTo>
                        <a:lnTo>
                          <a:pt x="1830005" y="627896"/>
                        </a:lnTo>
                        <a:lnTo>
                          <a:pt x="1817879" y="628307"/>
                        </a:lnTo>
                        <a:lnTo>
                          <a:pt x="1809223" y="629261"/>
                        </a:lnTo>
                        <a:lnTo>
                          <a:pt x="1801132" y="630759"/>
                        </a:lnTo>
                        <a:lnTo>
                          <a:pt x="1797010" y="631778"/>
                        </a:lnTo>
                        <a:lnTo>
                          <a:pt x="1793366" y="632776"/>
                        </a:lnTo>
                        <a:lnTo>
                          <a:pt x="1789591" y="634186"/>
                        </a:lnTo>
                        <a:lnTo>
                          <a:pt x="1785818" y="635921"/>
                        </a:lnTo>
                        <a:lnTo>
                          <a:pt x="1782715" y="637809"/>
                        </a:lnTo>
                        <a:lnTo>
                          <a:pt x="1779700" y="640043"/>
                        </a:lnTo>
                        <a:lnTo>
                          <a:pt x="1777855" y="641931"/>
                        </a:lnTo>
                        <a:lnTo>
                          <a:pt x="1774950" y="645423"/>
                        </a:lnTo>
                        <a:lnTo>
                          <a:pt x="1772910" y="648851"/>
                        </a:lnTo>
                        <a:lnTo>
                          <a:pt x="1771934" y="653145"/>
                        </a:lnTo>
                        <a:lnTo>
                          <a:pt x="1771825" y="657462"/>
                        </a:lnTo>
                        <a:lnTo>
                          <a:pt x="1772216" y="660043"/>
                        </a:lnTo>
                        <a:lnTo>
                          <a:pt x="1780459" y="678526"/>
                        </a:lnTo>
                        <a:lnTo>
                          <a:pt x="1783430" y="687181"/>
                        </a:lnTo>
                        <a:lnTo>
                          <a:pt x="1784798" y="693038"/>
                        </a:lnTo>
                        <a:lnTo>
                          <a:pt x="1784819" y="698244"/>
                        </a:lnTo>
                        <a:lnTo>
                          <a:pt x="1783756" y="702626"/>
                        </a:lnTo>
                        <a:lnTo>
                          <a:pt x="1781283" y="707420"/>
                        </a:lnTo>
                        <a:lnTo>
                          <a:pt x="1778181" y="712127"/>
                        </a:lnTo>
                        <a:lnTo>
                          <a:pt x="1766967" y="724839"/>
                        </a:lnTo>
                        <a:lnTo>
                          <a:pt x="1757985" y="733495"/>
                        </a:lnTo>
                        <a:lnTo>
                          <a:pt x="1746836" y="745382"/>
                        </a:lnTo>
                        <a:lnTo>
                          <a:pt x="1742909" y="750675"/>
                        </a:lnTo>
                        <a:lnTo>
                          <a:pt x="1739851" y="755469"/>
                        </a:lnTo>
                        <a:lnTo>
                          <a:pt x="1736771" y="761694"/>
                        </a:lnTo>
                        <a:lnTo>
                          <a:pt x="1732822" y="770849"/>
                        </a:lnTo>
                        <a:lnTo>
                          <a:pt x="1730197" y="777942"/>
                        </a:lnTo>
                        <a:lnTo>
                          <a:pt x="1727746" y="782780"/>
                        </a:lnTo>
                        <a:lnTo>
                          <a:pt x="1714644" y="806598"/>
                        </a:lnTo>
                        <a:lnTo>
                          <a:pt x="1703125" y="825296"/>
                        </a:lnTo>
                        <a:lnTo>
                          <a:pt x="1701933" y="828290"/>
                        </a:lnTo>
                        <a:lnTo>
                          <a:pt x="1701347" y="830980"/>
                        </a:lnTo>
                        <a:lnTo>
                          <a:pt x="1702149" y="836273"/>
                        </a:lnTo>
                        <a:lnTo>
                          <a:pt x="1704579" y="843584"/>
                        </a:lnTo>
                        <a:lnTo>
                          <a:pt x="1706596" y="847358"/>
                        </a:lnTo>
                        <a:lnTo>
                          <a:pt x="1712866" y="857206"/>
                        </a:lnTo>
                        <a:lnTo>
                          <a:pt x="1716184" y="860894"/>
                        </a:lnTo>
                        <a:lnTo>
                          <a:pt x="1719981" y="863996"/>
                        </a:lnTo>
                        <a:lnTo>
                          <a:pt x="1724623" y="866881"/>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57" name="Freeform: Shape 56">
                    <a:extLst>
                      <a:ext uri="{FF2B5EF4-FFF2-40B4-BE49-F238E27FC236}">
                        <a16:creationId xmlns:a16="http://schemas.microsoft.com/office/drawing/2014/main" id="{78C05573-9FFE-4D09-A764-04EFDEE9CEB1}"/>
                      </a:ext>
                    </a:extLst>
                  </p:cNvPr>
                  <p:cNvSpPr/>
                  <p:nvPr/>
                </p:nvSpPr>
                <p:spPr>
                  <a:xfrm>
                    <a:off x="5840398" y="4184683"/>
                    <a:ext cx="890069" cy="600911"/>
                  </a:xfrm>
                  <a:custGeom>
                    <a:avLst/>
                    <a:gdLst>
                      <a:gd name="connsiteX0" fmla="*/ 30420 w 3133725"/>
                      <a:gd name="connsiteY0" fmla="*/ 1313615 h 1409700"/>
                      <a:gd name="connsiteX1" fmla="*/ 25777 w 3133725"/>
                      <a:gd name="connsiteY1" fmla="*/ 1310730 h 1409700"/>
                      <a:gd name="connsiteX2" fmla="*/ 21981 w 3133725"/>
                      <a:gd name="connsiteY2" fmla="*/ 1307628 h 1409700"/>
                      <a:gd name="connsiteX3" fmla="*/ 18662 w 3133725"/>
                      <a:gd name="connsiteY3" fmla="*/ 1303940 h 1409700"/>
                      <a:gd name="connsiteX4" fmla="*/ 12393 w 3133725"/>
                      <a:gd name="connsiteY4" fmla="*/ 1294092 h 1409700"/>
                      <a:gd name="connsiteX5" fmla="*/ 10376 w 3133725"/>
                      <a:gd name="connsiteY5" fmla="*/ 1290318 h 1409700"/>
                      <a:gd name="connsiteX6" fmla="*/ 7946 w 3133725"/>
                      <a:gd name="connsiteY6" fmla="*/ 1283007 h 1409700"/>
                      <a:gd name="connsiteX7" fmla="*/ 7144 w 3133725"/>
                      <a:gd name="connsiteY7" fmla="*/ 1277714 h 1409700"/>
                      <a:gd name="connsiteX8" fmla="*/ 7729 w 3133725"/>
                      <a:gd name="connsiteY8" fmla="*/ 1275024 h 1409700"/>
                      <a:gd name="connsiteX9" fmla="*/ 8922 w 3133725"/>
                      <a:gd name="connsiteY9" fmla="*/ 1272030 h 1409700"/>
                      <a:gd name="connsiteX10" fmla="*/ 20441 w 3133725"/>
                      <a:gd name="connsiteY10" fmla="*/ 1253332 h 1409700"/>
                      <a:gd name="connsiteX11" fmla="*/ 33543 w 3133725"/>
                      <a:gd name="connsiteY11" fmla="*/ 1229514 h 1409700"/>
                      <a:gd name="connsiteX12" fmla="*/ 35994 w 3133725"/>
                      <a:gd name="connsiteY12" fmla="*/ 1224676 h 1409700"/>
                      <a:gd name="connsiteX13" fmla="*/ 38619 w 3133725"/>
                      <a:gd name="connsiteY13" fmla="*/ 1217583 h 1409700"/>
                      <a:gd name="connsiteX14" fmla="*/ 42567 w 3133725"/>
                      <a:gd name="connsiteY14" fmla="*/ 1208428 h 1409700"/>
                      <a:gd name="connsiteX15" fmla="*/ 45648 w 3133725"/>
                      <a:gd name="connsiteY15" fmla="*/ 1202203 h 1409700"/>
                      <a:gd name="connsiteX16" fmla="*/ 48706 w 3133725"/>
                      <a:gd name="connsiteY16" fmla="*/ 1197409 h 1409700"/>
                      <a:gd name="connsiteX17" fmla="*/ 52632 w 3133725"/>
                      <a:gd name="connsiteY17" fmla="*/ 1192116 h 1409700"/>
                      <a:gd name="connsiteX18" fmla="*/ 63782 w 3133725"/>
                      <a:gd name="connsiteY18" fmla="*/ 1180228 h 1409700"/>
                      <a:gd name="connsiteX19" fmla="*/ 72763 w 3133725"/>
                      <a:gd name="connsiteY19" fmla="*/ 1171573 h 1409700"/>
                      <a:gd name="connsiteX20" fmla="*/ 83978 w 3133725"/>
                      <a:gd name="connsiteY20" fmla="*/ 1158861 h 1409700"/>
                      <a:gd name="connsiteX21" fmla="*/ 87080 w 3133725"/>
                      <a:gd name="connsiteY21" fmla="*/ 1154154 h 1409700"/>
                      <a:gd name="connsiteX22" fmla="*/ 89553 w 3133725"/>
                      <a:gd name="connsiteY22" fmla="*/ 1149360 h 1409700"/>
                      <a:gd name="connsiteX23" fmla="*/ 90616 w 3133725"/>
                      <a:gd name="connsiteY23" fmla="*/ 1144978 h 1409700"/>
                      <a:gd name="connsiteX24" fmla="*/ 90594 w 3133725"/>
                      <a:gd name="connsiteY24" fmla="*/ 1139772 h 1409700"/>
                      <a:gd name="connsiteX25" fmla="*/ 89227 w 3133725"/>
                      <a:gd name="connsiteY25" fmla="*/ 1133915 h 1409700"/>
                      <a:gd name="connsiteX26" fmla="*/ 86255 w 3133725"/>
                      <a:gd name="connsiteY26" fmla="*/ 1125260 h 1409700"/>
                      <a:gd name="connsiteX27" fmla="*/ 78012 w 3133725"/>
                      <a:gd name="connsiteY27" fmla="*/ 1106777 h 1409700"/>
                      <a:gd name="connsiteX28" fmla="*/ 77622 w 3133725"/>
                      <a:gd name="connsiteY28" fmla="*/ 1104196 h 1409700"/>
                      <a:gd name="connsiteX29" fmla="*/ 77730 w 3133725"/>
                      <a:gd name="connsiteY29" fmla="*/ 1099879 h 1409700"/>
                      <a:gd name="connsiteX30" fmla="*/ 78707 w 3133725"/>
                      <a:gd name="connsiteY30" fmla="*/ 1095585 h 1409700"/>
                      <a:gd name="connsiteX31" fmla="*/ 80746 w 3133725"/>
                      <a:gd name="connsiteY31" fmla="*/ 1092157 h 1409700"/>
                      <a:gd name="connsiteX32" fmla="*/ 83652 w 3133725"/>
                      <a:gd name="connsiteY32" fmla="*/ 1088665 h 1409700"/>
                      <a:gd name="connsiteX33" fmla="*/ 85496 w 3133725"/>
                      <a:gd name="connsiteY33" fmla="*/ 1086777 h 1409700"/>
                      <a:gd name="connsiteX34" fmla="*/ 88512 w 3133725"/>
                      <a:gd name="connsiteY34" fmla="*/ 1084543 h 1409700"/>
                      <a:gd name="connsiteX35" fmla="*/ 91614 w 3133725"/>
                      <a:gd name="connsiteY35" fmla="*/ 1082655 h 1409700"/>
                      <a:gd name="connsiteX36" fmla="*/ 95388 w 3133725"/>
                      <a:gd name="connsiteY36" fmla="*/ 1080920 h 1409700"/>
                      <a:gd name="connsiteX37" fmla="*/ 99163 w 3133725"/>
                      <a:gd name="connsiteY37" fmla="*/ 1079510 h 1409700"/>
                      <a:gd name="connsiteX38" fmla="*/ 102807 w 3133725"/>
                      <a:gd name="connsiteY38" fmla="*/ 1078512 h 1409700"/>
                      <a:gd name="connsiteX39" fmla="*/ 106928 w 3133725"/>
                      <a:gd name="connsiteY39" fmla="*/ 1077493 h 1409700"/>
                      <a:gd name="connsiteX40" fmla="*/ 115020 w 3133725"/>
                      <a:gd name="connsiteY40" fmla="*/ 1075995 h 1409700"/>
                      <a:gd name="connsiteX41" fmla="*/ 123675 w 3133725"/>
                      <a:gd name="connsiteY41" fmla="*/ 1075041 h 1409700"/>
                      <a:gd name="connsiteX42" fmla="*/ 135802 w 3133725"/>
                      <a:gd name="connsiteY42" fmla="*/ 1074630 h 1409700"/>
                      <a:gd name="connsiteX43" fmla="*/ 158318 w 3133725"/>
                      <a:gd name="connsiteY43" fmla="*/ 1076170 h 1409700"/>
                      <a:gd name="connsiteX44" fmla="*/ 164457 w 3133725"/>
                      <a:gd name="connsiteY44" fmla="*/ 1076213 h 1409700"/>
                      <a:gd name="connsiteX45" fmla="*/ 172483 w 3133725"/>
                      <a:gd name="connsiteY45" fmla="*/ 1075888 h 1409700"/>
                      <a:gd name="connsiteX46" fmla="*/ 187711 w 3133725"/>
                      <a:gd name="connsiteY46" fmla="*/ 1074825 h 1409700"/>
                      <a:gd name="connsiteX47" fmla="*/ 196171 w 3133725"/>
                      <a:gd name="connsiteY47" fmla="*/ 1073696 h 1409700"/>
                      <a:gd name="connsiteX48" fmla="*/ 203048 w 3133725"/>
                      <a:gd name="connsiteY48" fmla="*/ 1071765 h 1409700"/>
                      <a:gd name="connsiteX49" fmla="*/ 209317 w 3133725"/>
                      <a:gd name="connsiteY49" fmla="*/ 1069055 h 1409700"/>
                      <a:gd name="connsiteX50" fmla="*/ 214307 w 3133725"/>
                      <a:gd name="connsiteY50" fmla="*/ 1065779 h 1409700"/>
                      <a:gd name="connsiteX51" fmla="*/ 224654 w 3133725"/>
                      <a:gd name="connsiteY51" fmla="*/ 1057406 h 1409700"/>
                      <a:gd name="connsiteX52" fmla="*/ 231032 w 3133725"/>
                      <a:gd name="connsiteY52" fmla="*/ 1051874 h 1409700"/>
                      <a:gd name="connsiteX53" fmla="*/ 240923 w 3133725"/>
                      <a:gd name="connsiteY53" fmla="*/ 1041917 h 1409700"/>
                      <a:gd name="connsiteX54" fmla="*/ 248407 w 3133725"/>
                      <a:gd name="connsiteY54" fmla="*/ 1033652 h 1409700"/>
                      <a:gd name="connsiteX55" fmla="*/ 251401 w 3133725"/>
                      <a:gd name="connsiteY55" fmla="*/ 1030637 h 1409700"/>
                      <a:gd name="connsiteX56" fmla="*/ 254459 w 3133725"/>
                      <a:gd name="connsiteY56" fmla="*/ 1026710 h 1409700"/>
                      <a:gd name="connsiteX57" fmla="*/ 257192 w 3133725"/>
                      <a:gd name="connsiteY57" fmla="*/ 1022069 h 1409700"/>
                      <a:gd name="connsiteX58" fmla="*/ 258126 w 3133725"/>
                      <a:gd name="connsiteY58" fmla="*/ 1019943 h 1409700"/>
                      <a:gd name="connsiteX59" fmla="*/ 259448 w 3133725"/>
                      <a:gd name="connsiteY59" fmla="*/ 1015582 h 1409700"/>
                      <a:gd name="connsiteX60" fmla="*/ 260338 w 3133725"/>
                      <a:gd name="connsiteY60" fmla="*/ 1010246 h 1409700"/>
                      <a:gd name="connsiteX61" fmla="*/ 266650 w 3133725"/>
                      <a:gd name="connsiteY61" fmla="*/ 984041 h 1409700"/>
                      <a:gd name="connsiteX62" fmla="*/ 267669 w 3133725"/>
                      <a:gd name="connsiteY62" fmla="*/ 981850 h 1409700"/>
                      <a:gd name="connsiteX63" fmla="*/ 269232 w 3133725"/>
                      <a:gd name="connsiteY63" fmla="*/ 979660 h 1409700"/>
                      <a:gd name="connsiteX64" fmla="*/ 271401 w 3133725"/>
                      <a:gd name="connsiteY64" fmla="*/ 977555 h 1409700"/>
                      <a:gd name="connsiteX65" fmla="*/ 273028 w 3133725"/>
                      <a:gd name="connsiteY65" fmla="*/ 976536 h 1409700"/>
                      <a:gd name="connsiteX66" fmla="*/ 278755 w 3133725"/>
                      <a:gd name="connsiteY66" fmla="*/ 973174 h 1409700"/>
                      <a:gd name="connsiteX67" fmla="*/ 283397 w 3133725"/>
                      <a:gd name="connsiteY67" fmla="*/ 970961 h 1409700"/>
                      <a:gd name="connsiteX68" fmla="*/ 311641 w 3133725"/>
                      <a:gd name="connsiteY68" fmla="*/ 960397 h 1409700"/>
                      <a:gd name="connsiteX69" fmla="*/ 315046 w 3133725"/>
                      <a:gd name="connsiteY69" fmla="*/ 958965 h 1409700"/>
                      <a:gd name="connsiteX70" fmla="*/ 329146 w 3133725"/>
                      <a:gd name="connsiteY70" fmla="*/ 953065 h 1409700"/>
                      <a:gd name="connsiteX71" fmla="*/ 343094 w 3133725"/>
                      <a:gd name="connsiteY71" fmla="*/ 949463 h 1409700"/>
                      <a:gd name="connsiteX72" fmla="*/ 353073 w 3133725"/>
                      <a:gd name="connsiteY72" fmla="*/ 947295 h 1409700"/>
                      <a:gd name="connsiteX73" fmla="*/ 366610 w 3133725"/>
                      <a:gd name="connsiteY73" fmla="*/ 944041 h 1409700"/>
                      <a:gd name="connsiteX74" fmla="*/ 371295 w 3133725"/>
                      <a:gd name="connsiteY74" fmla="*/ 942847 h 1409700"/>
                      <a:gd name="connsiteX75" fmla="*/ 384527 w 3133725"/>
                      <a:gd name="connsiteY75" fmla="*/ 938097 h 1409700"/>
                      <a:gd name="connsiteX76" fmla="*/ 396871 w 3133725"/>
                      <a:gd name="connsiteY76" fmla="*/ 931589 h 1409700"/>
                      <a:gd name="connsiteX77" fmla="*/ 405721 w 3133725"/>
                      <a:gd name="connsiteY77" fmla="*/ 926318 h 1409700"/>
                      <a:gd name="connsiteX78" fmla="*/ 415352 w 3133725"/>
                      <a:gd name="connsiteY78" fmla="*/ 919810 h 1409700"/>
                      <a:gd name="connsiteX79" fmla="*/ 422511 w 3133725"/>
                      <a:gd name="connsiteY79" fmla="*/ 911958 h 1409700"/>
                      <a:gd name="connsiteX80" fmla="*/ 429127 w 3133725"/>
                      <a:gd name="connsiteY80" fmla="*/ 903259 h 1409700"/>
                      <a:gd name="connsiteX81" fmla="*/ 433183 w 3133725"/>
                      <a:gd name="connsiteY81" fmla="*/ 897619 h 1409700"/>
                      <a:gd name="connsiteX82" fmla="*/ 435374 w 3133725"/>
                      <a:gd name="connsiteY82" fmla="*/ 891957 h 1409700"/>
                      <a:gd name="connsiteX83" fmla="*/ 435808 w 3133725"/>
                      <a:gd name="connsiteY83" fmla="*/ 885775 h 1409700"/>
                      <a:gd name="connsiteX84" fmla="*/ 434853 w 3133725"/>
                      <a:gd name="connsiteY84" fmla="*/ 879658 h 1409700"/>
                      <a:gd name="connsiteX85" fmla="*/ 433097 w 3133725"/>
                      <a:gd name="connsiteY85" fmla="*/ 875102 h 1409700"/>
                      <a:gd name="connsiteX86" fmla="*/ 417347 w 3133725"/>
                      <a:gd name="connsiteY86" fmla="*/ 855731 h 1409700"/>
                      <a:gd name="connsiteX87" fmla="*/ 411252 w 3133725"/>
                      <a:gd name="connsiteY87" fmla="*/ 848269 h 1409700"/>
                      <a:gd name="connsiteX88" fmla="*/ 402271 w 3133725"/>
                      <a:gd name="connsiteY88" fmla="*/ 830372 h 1409700"/>
                      <a:gd name="connsiteX89" fmla="*/ 398866 w 3133725"/>
                      <a:gd name="connsiteY89" fmla="*/ 820698 h 1409700"/>
                      <a:gd name="connsiteX90" fmla="*/ 396827 w 3133725"/>
                      <a:gd name="connsiteY90" fmla="*/ 810740 h 1409700"/>
                      <a:gd name="connsiteX91" fmla="*/ 396176 w 3133725"/>
                      <a:gd name="connsiteY91" fmla="*/ 807465 h 1409700"/>
                      <a:gd name="connsiteX92" fmla="*/ 386327 w 3133725"/>
                      <a:gd name="connsiteY92" fmla="*/ 773169 h 1409700"/>
                      <a:gd name="connsiteX93" fmla="*/ 376024 w 3133725"/>
                      <a:gd name="connsiteY93" fmla="*/ 756293 h 1409700"/>
                      <a:gd name="connsiteX94" fmla="*/ 350686 w 3133725"/>
                      <a:gd name="connsiteY94" fmla="*/ 714773 h 1409700"/>
                      <a:gd name="connsiteX95" fmla="*/ 332986 w 3133725"/>
                      <a:gd name="connsiteY95" fmla="*/ 685771 h 1409700"/>
                      <a:gd name="connsiteX96" fmla="*/ 292073 w 3133725"/>
                      <a:gd name="connsiteY96" fmla="*/ 641887 h 1409700"/>
                      <a:gd name="connsiteX97" fmla="*/ 252789 w 3133725"/>
                      <a:gd name="connsiteY97" fmla="*/ 598610 h 1409700"/>
                      <a:gd name="connsiteX98" fmla="*/ 242007 w 3133725"/>
                      <a:gd name="connsiteY98" fmla="*/ 581603 h 1409700"/>
                      <a:gd name="connsiteX99" fmla="*/ 216757 w 3133725"/>
                      <a:gd name="connsiteY99" fmla="*/ 525571 h 1409700"/>
                      <a:gd name="connsiteX100" fmla="*/ 211161 w 3133725"/>
                      <a:gd name="connsiteY100" fmla="*/ 515571 h 1409700"/>
                      <a:gd name="connsiteX101" fmla="*/ 222658 w 3133725"/>
                      <a:gd name="connsiteY101" fmla="*/ 512621 h 1409700"/>
                      <a:gd name="connsiteX102" fmla="*/ 240272 w 3133725"/>
                      <a:gd name="connsiteY102" fmla="*/ 509367 h 1409700"/>
                      <a:gd name="connsiteX103" fmla="*/ 244524 w 3133725"/>
                      <a:gd name="connsiteY103" fmla="*/ 508239 h 1409700"/>
                      <a:gd name="connsiteX104" fmla="*/ 251770 w 3133725"/>
                      <a:gd name="connsiteY104" fmla="*/ 505766 h 1409700"/>
                      <a:gd name="connsiteX105" fmla="*/ 254741 w 3133725"/>
                      <a:gd name="connsiteY105" fmla="*/ 504465 h 1409700"/>
                      <a:gd name="connsiteX106" fmla="*/ 260815 w 3133725"/>
                      <a:gd name="connsiteY106" fmla="*/ 501167 h 1409700"/>
                      <a:gd name="connsiteX107" fmla="*/ 264741 w 3133725"/>
                      <a:gd name="connsiteY107" fmla="*/ 498391 h 1409700"/>
                      <a:gd name="connsiteX108" fmla="*/ 270728 w 3133725"/>
                      <a:gd name="connsiteY108" fmla="*/ 493727 h 1409700"/>
                      <a:gd name="connsiteX109" fmla="*/ 273548 w 3133725"/>
                      <a:gd name="connsiteY109" fmla="*/ 491970 h 1409700"/>
                      <a:gd name="connsiteX110" fmla="*/ 276498 w 3133725"/>
                      <a:gd name="connsiteY110" fmla="*/ 490452 h 1409700"/>
                      <a:gd name="connsiteX111" fmla="*/ 279514 w 3133725"/>
                      <a:gd name="connsiteY111" fmla="*/ 489128 h 1409700"/>
                      <a:gd name="connsiteX112" fmla="*/ 283635 w 3133725"/>
                      <a:gd name="connsiteY112" fmla="*/ 487653 h 1409700"/>
                      <a:gd name="connsiteX113" fmla="*/ 291163 w 3133725"/>
                      <a:gd name="connsiteY113" fmla="*/ 485701 h 1409700"/>
                      <a:gd name="connsiteX114" fmla="*/ 296087 w 3133725"/>
                      <a:gd name="connsiteY114" fmla="*/ 484616 h 1409700"/>
                      <a:gd name="connsiteX115" fmla="*/ 301836 w 3133725"/>
                      <a:gd name="connsiteY115" fmla="*/ 484161 h 1409700"/>
                      <a:gd name="connsiteX116" fmla="*/ 306716 w 3133725"/>
                      <a:gd name="connsiteY116" fmla="*/ 484356 h 1409700"/>
                      <a:gd name="connsiteX117" fmla="*/ 313854 w 3133725"/>
                      <a:gd name="connsiteY117" fmla="*/ 485527 h 1409700"/>
                      <a:gd name="connsiteX118" fmla="*/ 320274 w 3133725"/>
                      <a:gd name="connsiteY118" fmla="*/ 485961 h 1409700"/>
                      <a:gd name="connsiteX119" fmla="*/ 326739 w 3133725"/>
                      <a:gd name="connsiteY119" fmla="*/ 485765 h 1409700"/>
                      <a:gd name="connsiteX120" fmla="*/ 332899 w 3133725"/>
                      <a:gd name="connsiteY120" fmla="*/ 485006 h 1409700"/>
                      <a:gd name="connsiteX121" fmla="*/ 336174 w 3133725"/>
                      <a:gd name="connsiteY121" fmla="*/ 484356 h 1409700"/>
                      <a:gd name="connsiteX122" fmla="*/ 339862 w 3133725"/>
                      <a:gd name="connsiteY122" fmla="*/ 483380 h 1409700"/>
                      <a:gd name="connsiteX123" fmla="*/ 345763 w 3133725"/>
                      <a:gd name="connsiteY123" fmla="*/ 481233 h 1409700"/>
                      <a:gd name="connsiteX124" fmla="*/ 350513 w 3133725"/>
                      <a:gd name="connsiteY124" fmla="*/ 478825 h 1409700"/>
                      <a:gd name="connsiteX125" fmla="*/ 353355 w 3133725"/>
                      <a:gd name="connsiteY125" fmla="*/ 476959 h 1409700"/>
                      <a:gd name="connsiteX126" fmla="*/ 355937 w 3133725"/>
                      <a:gd name="connsiteY126" fmla="*/ 474897 h 1409700"/>
                      <a:gd name="connsiteX127" fmla="*/ 357498 w 3133725"/>
                      <a:gd name="connsiteY127" fmla="*/ 473965 h 1409700"/>
                      <a:gd name="connsiteX128" fmla="*/ 359928 w 3133725"/>
                      <a:gd name="connsiteY128" fmla="*/ 472880 h 1409700"/>
                      <a:gd name="connsiteX129" fmla="*/ 363139 w 3133725"/>
                      <a:gd name="connsiteY129" fmla="*/ 471926 h 1409700"/>
                      <a:gd name="connsiteX130" fmla="*/ 365871 w 3133725"/>
                      <a:gd name="connsiteY130" fmla="*/ 471448 h 1409700"/>
                      <a:gd name="connsiteX131" fmla="*/ 389170 w 3133725"/>
                      <a:gd name="connsiteY131" fmla="*/ 469041 h 1409700"/>
                      <a:gd name="connsiteX132" fmla="*/ 415135 w 3133725"/>
                      <a:gd name="connsiteY132" fmla="*/ 466048 h 1409700"/>
                      <a:gd name="connsiteX133" fmla="*/ 437782 w 3133725"/>
                      <a:gd name="connsiteY133" fmla="*/ 459735 h 1409700"/>
                      <a:gd name="connsiteX134" fmla="*/ 452750 w 3133725"/>
                      <a:gd name="connsiteY134" fmla="*/ 455591 h 1409700"/>
                      <a:gd name="connsiteX135" fmla="*/ 457306 w 3133725"/>
                      <a:gd name="connsiteY135" fmla="*/ 454572 h 1409700"/>
                      <a:gd name="connsiteX136" fmla="*/ 463379 w 3133725"/>
                      <a:gd name="connsiteY136" fmla="*/ 453553 h 1409700"/>
                      <a:gd name="connsiteX137" fmla="*/ 466850 w 3133725"/>
                      <a:gd name="connsiteY137" fmla="*/ 453162 h 1409700"/>
                      <a:gd name="connsiteX138" fmla="*/ 490061 w 3133725"/>
                      <a:gd name="connsiteY138" fmla="*/ 452273 h 1409700"/>
                      <a:gd name="connsiteX139" fmla="*/ 496048 w 3133725"/>
                      <a:gd name="connsiteY139" fmla="*/ 452056 h 1409700"/>
                      <a:gd name="connsiteX140" fmla="*/ 503271 w 3133725"/>
                      <a:gd name="connsiteY140" fmla="*/ 451079 h 1409700"/>
                      <a:gd name="connsiteX141" fmla="*/ 509909 w 3133725"/>
                      <a:gd name="connsiteY141" fmla="*/ 449452 h 1409700"/>
                      <a:gd name="connsiteX142" fmla="*/ 516048 w 3133725"/>
                      <a:gd name="connsiteY142" fmla="*/ 447197 h 1409700"/>
                      <a:gd name="connsiteX143" fmla="*/ 519671 w 3133725"/>
                      <a:gd name="connsiteY143" fmla="*/ 445418 h 1409700"/>
                      <a:gd name="connsiteX144" fmla="*/ 523532 w 3133725"/>
                      <a:gd name="connsiteY144" fmla="*/ 443032 h 1409700"/>
                      <a:gd name="connsiteX145" fmla="*/ 531190 w 3133725"/>
                      <a:gd name="connsiteY145" fmla="*/ 436372 h 1409700"/>
                      <a:gd name="connsiteX146" fmla="*/ 538587 w 3133725"/>
                      <a:gd name="connsiteY146" fmla="*/ 430341 h 1409700"/>
                      <a:gd name="connsiteX147" fmla="*/ 541884 w 3133725"/>
                      <a:gd name="connsiteY147" fmla="*/ 428584 h 1409700"/>
                      <a:gd name="connsiteX148" fmla="*/ 545962 w 3133725"/>
                      <a:gd name="connsiteY148" fmla="*/ 427001 h 1409700"/>
                      <a:gd name="connsiteX149" fmla="*/ 549347 w 3133725"/>
                      <a:gd name="connsiteY149" fmla="*/ 426047 h 1409700"/>
                      <a:gd name="connsiteX150" fmla="*/ 552860 w 3133725"/>
                      <a:gd name="connsiteY150" fmla="*/ 425352 h 1409700"/>
                      <a:gd name="connsiteX151" fmla="*/ 567763 w 3133725"/>
                      <a:gd name="connsiteY151" fmla="*/ 424116 h 1409700"/>
                      <a:gd name="connsiteX152" fmla="*/ 577894 w 3133725"/>
                      <a:gd name="connsiteY152" fmla="*/ 422880 h 1409700"/>
                      <a:gd name="connsiteX153" fmla="*/ 582731 w 3133725"/>
                      <a:gd name="connsiteY153" fmla="*/ 422120 h 1409700"/>
                      <a:gd name="connsiteX154" fmla="*/ 586679 w 3133725"/>
                      <a:gd name="connsiteY154" fmla="*/ 421057 h 1409700"/>
                      <a:gd name="connsiteX155" fmla="*/ 589455 w 3133725"/>
                      <a:gd name="connsiteY155" fmla="*/ 419994 h 1409700"/>
                      <a:gd name="connsiteX156" fmla="*/ 592103 w 3133725"/>
                      <a:gd name="connsiteY156" fmla="*/ 418671 h 1409700"/>
                      <a:gd name="connsiteX157" fmla="*/ 594684 w 3133725"/>
                      <a:gd name="connsiteY157" fmla="*/ 416936 h 1409700"/>
                      <a:gd name="connsiteX158" fmla="*/ 648177 w 3133725"/>
                      <a:gd name="connsiteY158" fmla="*/ 384636 h 1409700"/>
                      <a:gd name="connsiteX159" fmla="*/ 666030 w 3133725"/>
                      <a:gd name="connsiteY159" fmla="*/ 375590 h 1409700"/>
                      <a:gd name="connsiteX160" fmla="*/ 687462 w 3133725"/>
                      <a:gd name="connsiteY160" fmla="*/ 362618 h 1409700"/>
                      <a:gd name="connsiteX161" fmla="*/ 690065 w 3133725"/>
                      <a:gd name="connsiteY161" fmla="*/ 361273 h 1409700"/>
                      <a:gd name="connsiteX162" fmla="*/ 693341 w 3133725"/>
                      <a:gd name="connsiteY162" fmla="*/ 359950 h 1409700"/>
                      <a:gd name="connsiteX163" fmla="*/ 695879 w 3133725"/>
                      <a:gd name="connsiteY163" fmla="*/ 359169 h 1409700"/>
                      <a:gd name="connsiteX164" fmla="*/ 699306 w 3133725"/>
                      <a:gd name="connsiteY164" fmla="*/ 358345 h 1409700"/>
                      <a:gd name="connsiteX165" fmla="*/ 703667 w 3133725"/>
                      <a:gd name="connsiteY165" fmla="*/ 357715 h 1409700"/>
                      <a:gd name="connsiteX166" fmla="*/ 707636 w 3133725"/>
                      <a:gd name="connsiteY166" fmla="*/ 357455 h 1409700"/>
                      <a:gd name="connsiteX167" fmla="*/ 795838 w 3133725"/>
                      <a:gd name="connsiteY167" fmla="*/ 355980 h 1409700"/>
                      <a:gd name="connsiteX168" fmla="*/ 804579 w 3133725"/>
                      <a:gd name="connsiteY168" fmla="*/ 341532 h 1409700"/>
                      <a:gd name="connsiteX169" fmla="*/ 808940 w 3133725"/>
                      <a:gd name="connsiteY169" fmla="*/ 334287 h 1409700"/>
                      <a:gd name="connsiteX170" fmla="*/ 807595 w 3133725"/>
                      <a:gd name="connsiteY170" fmla="*/ 333593 h 1409700"/>
                      <a:gd name="connsiteX171" fmla="*/ 807227 w 3133725"/>
                      <a:gd name="connsiteY171" fmla="*/ 333094 h 1409700"/>
                      <a:gd name="connsiteX172" fmla="*/ 807313 w 3133725"/>
                      <a:gd name="connsiteY172" fmla="*/ 332248 h 1409700"/>
                      <a:gd name="connsiteX173" fmla="*/ 806836 w 3133725"/>
                      <a:gd name="connsiteY173" fmla="*/ 332162 h 1409700"/>
                      <a:gd name="connsiteX174" fmla="*/ 817465 w 3133725"/>
                      <a:gd name="connsiteY174" fmla="*/ 314396 h 1409700"/>
                      <a:gd name="connsiteX175" fmla="*/ 818876 w 3133725"/>
                      <a:gd name="connsiteY175" fmla="*/ 311684 h 1409700"/>
                      <a:gd name="connsiteX176" fmla="*/ 821175 w 3133725"/>
                      <a:gd name="connsiteY176" fmla="*/ 306304 h 1409700"/>
                      <a:gd name="connsiteX177" fmla="*/ 822867 w 3133725"/>
                      <a:gd name="connsiteY177" fmla="*/ 301206 h 1409700"/>
                      <a:gd name="connsiteX178" fmla="*/ 824363 w 3133725"/>
                      <a:gd name="connsiteY178" fmla="*/ 294004 h 1409700"/>
                      <a:gd name="connsiteX179" fmla="*/ 825426 w 3133725"/>
                      <a:gd name="connsiteY179" fmla="*/ 283635 h 1409700"/>
                      <a:gd name="connsiteX180" fmla="*/ 824753 w 3133725"/>
                      <a:gd name="connsiteY180" fmla="*/ 280512 h 1409700"/>
                      <a:gd name="connsiteX181" fmla="*/ 824407 w 3133725"/>
                      <a:gd name="connsiteY181" fmla="*/ 273635 h 1409700"/>
                      <a:gd name="connsiteX182" fmla="*/ 825925 w 3133725"/>
                      <a:gd name="connsiteY182" fmla="*/ 272725 h 1409700"/>
                      <a:gd name="connsiteX183" fmla="*/ 825253 w 3133725"/>
                      <a:gd name="connsiteY183" fmla="*/ 269709 h 1409700"/>
                      <a:gd name="connsiteX184" fmla="*/ 824645 w 3133725"/>
                      <a:gd name="connsiteY184" fmla="*/ 267106 h 1409700"/>
                      <a:gd name="connsiteX185" fmla="*/ 824342 w 3133725"/>
                      <a:gd name="connsiteY185" fmla="*/ 267128 h 1409700"/>
                      <a:gd name="connsiteX186" fmla="*/ 824233 w 3133725"/>
                      <a:gd name="connsiteY186" fmla="*/ 266737 h 1409700"/>
                      <a:gd name="connsiteX187" fmla="*/ 823257 w 3133725"/>
                      <a:gd name="connsiteY187" fmla="*/ 266759 h 1409700"/>
                      <a:gd name="connsiteX188" fmla="*/ 822541 w 3133725"/>
                      <a:gd name="connsiteY188" fmla="*/ 266542 h 1409700"/>
                      <a:gd name="connsiteX189" fmla="*/ 821804 w 3133725"/>
                      <a:gd name="connsiteY189" fmla="*/ 265956 h 1409700"/>
                      <a:gd name="connsiteX190" fmla="*/ 821478 w 3133725"/>
                      <a:gd name="connsiteY190" fmla="*/ 261986 h 1409700"/>
                      <a:gd name="connsiteX191" fmla="*/ 818441 w 3133725"/>
                      <a:gd name="connsiteY191" fmla="*/ 253830 h 1409700"/>
                      <a:gd name="connsiteX192" fmla="*/ 815795 w 3133725"/>
                      <a:gd name="connsiteY192" fmla="*/ 248927 h 1409700"/>
                      <a:gd name="connsiteX193" fmla="*/ 811868 w 3133725"/>
                      <a:gd name="connsiteY193" fmla="*/ 244719 h 1409700"/>
                      <a:gd name="connsiteX194" fmla="*/ 811760 w 3133725"/>
                      <a:gd name="connsiteY194" fmla="*/ 244004 h 1409700"/>
                      <a:gd name="connsiteX195" fmla="*/ 812021 w 3133725"/>
                      <a:gd name="connsiteY195" fmla="*/ 243613 h 1409700"/>
                      <a:gd name="connsiteX196" fmla="*/ 813408 w 3133725"/>
                      <a:gd name="connsiteY196" fmla="*/ 242854 h 1409700"/>
                      <a:gd name="connsiteX197" fmla="*/ 810415 w 3133725"/>
                      <a:gd name="connsiteY197" fmla="*/ 238993 h 1409700"/>
                      <a:gd name="connsiteX198" fmla="*/ 808723 w 3133725"/>
                      <a:gd name="connsiteY198" fmla="*/ 239101 h 1409700"/>
                      <a:gd name="connsiteX199" fmla="*/ 807378 w 3133725"/>
                      <a:gd name="connsiteY199" fmla="*/ 238667 h 1409700"/>
                      <a:gd name="connsiteX200" fmla="*/ 804255 w 3133725"/>
                      <a:gd name="connsiteY200" fmla="*/ 234784 h 1409700"/>
                      <a:gd name="connsiteX201" fmla="*/ 799374 w 3133725"/>
                      <a:gd name="connsiteY201" fmla="*/ 230597 h 1409700"/>
                      <a:gd name="connsiteX202" fmla="*/ 793430 w 3133725"/>
                      <a:gd name="connsiteY202" fmla="*/ 226107 h 1409700"/>
                      <a:gd name="connsiteX203" fmla="*/ 786987 w 3133725"/>
                      <a:gd name="connsiteY203" fmla="*/ 221899 h 1409700"/>
                      <a:gd name="connsiteX204" fmla="*/ 780501 w 3133725"/>
                      <a:gd name="connsiteY204" fmla="*/ 218211 h 1409700"/>
                      <a:gd name="connsiteX205" fmla="*/ 773364 w 3133725"/>
                      <a:gd name="connsiteY205" fmla="*/ 214827 h 1409700"/>
                      <a:gd name="connsiteX206" fmla="*/ 765577 w 3133725"/>
                      <a:gd name="connsiteY206" fmla="*/ 211595 h 1409700"/>
                      <a:gd name="connsiteX207" fmla="*/ 758288 w 3133725"/>
                      <a:gd name="connsiteY207" fmla="*/ 208992 h 1409700"/>
                      <a:gd name="connsiteX208" fmla="*/ 748461 w 3133725"/>
                      <a:gd name="connsiteY208" fmla="*/ 206193 h 1409700"/>
                      <a:gd name="connsiteX209" fmla="*/ 729980 w 3133725"/>
                      <a:gd name="connsiteY209" fmla="*/ 201725 h 1409700"/>
                      <a:gd name="connsiteX210" fmla="*/ 716031 w 3133725"/>
                      <a:gd name="connsiteY210" fmla="*/ 197972 h 1409700"/>
                      <a:gd name="connsiteX211" fmla="*/ 711475 w 3133725"/>
                      <a:gd name="connsiteY211" fmla="*/ 196648 h 1409700"/>
                      <a:gd name="connsiteX212" fmla="*/ 651497 w 3133725"/>
                      <a:gd name="connsiteY212" fmla="*/ 177364 h 1409700"/>
                      <a:gd name="connsiteX213" fmla="*/ 636854 w 3133725"/>
                      <a:gd name="connsiteY213" fmla="*/ 172657 h 1409700"/>
                      <a:gd name="connsiteX214" fmla="*/ 629370 w 3133725"/>
                      <a:gd name="connsiteY214" fmla="*/ 170597 h 1409700"/>
                      <a:gd name="connsiteX215" fmla="*/ 620779 w 3133725"/>
                      <a:gd name="connsiteY215" fmla="*/ 168535 h 1409700"/>
                      <a:gd name="connsiteX216" fmla="*/ 610389 w 3133725"/>
                      <a:gd name="connsiteY216" fmla="*/ 166540 h 1409700"/>
                      <a:gd name="connsiteX217" fmla="*/ 578002 w 3133725"/>
                      <a:gd name="connsiteY217" fmla="*/ 161594 h 1409700"/>
                      <a:gd name="connsiteX218" fmla="*/ 578458 w 3133725"/>
                      <a:gd name="connsiteY218" fmla="*/ 160444 h 1409700"/>
                      <a:gd name="connsiteX219" fmla="*/ 575117 w 3133725"/>
                      <a:gd name="connsiteY219" fmla="*/ 159967 h 1409700"/>
                      <a:gd name="connsiteX220" fmla="*/ 572535 w 3133725"/>
                      <a:gd name="connsiteY220" fmla="*/ 159598 h 1409700"/>
                      <a:gd name="connsiteX221" fmla="*/ 572275 w 3133725"/>
                      <a:gd name="connsiteY221" fmla="*/ 159924 h 1409700"/>
                      <a:gd name="connsiteX222" fmla="*/ 571863 w 3133725"/>
                      <a:gd name="connsiteY222" fmla="*/ 159880 h 1409700"/>
                      <a:gd name="connsiteX223" fmla="*/ 571581 w 3133725"/>
                      <a:gd name="connsiteY223" fmla="*/ 160617 h 1409700"/>
                      <a:gd name="connsiteX224" fmla="*/ 555377 w 3133725"/>
                      <a:gd name="connsiteY224" fmla="*/ 158209 h 1409700"/>
                      <a:gd name="connsiteX225" fmla="*/ 425439 w 3133725"/>
                      <a:gd name="connsiteY225" fmla="*/ 137103 h 1409700"/>
                      <a:gd name="connsiteX226" fmla="*/ 416892 w 3133725"/>
                      <a:gd name="connsiteY226" fmla="*/ 135888 h 1409700"/>
                      <a:gd name="connsiteX227" fmla="*/ 405915 w 3133725"/>
                      <a:gd name="connsiteY227" fmla="*/ 134782 h 1409700"/>
                      <a:gd name="connsiteX228" fmla="*/ 399213 w 3133725"/>
                      <a:gd name="connsiteY228" fmla="*/ 134348 h 1409700"/>
                      <a:gd name="connsiteX229" fmla="*/ 386783 w 3133725"/>
                      <a:gd name="connsiteY229" fmla="*/ 134109 h 1409700"/>
                      <a:gd name="connsiteX230" fmla="*/ 379733 w 3133725"/>
                      <a:gd name="connsiteY230" fmla="*/ 134283 h 1409700"/>
                      <a:gd name="connsiteX231" fmla="*/ 373768 w 3133725"/>
                      <a:gd name="connsiteY231" fmla="*/ 134608 h 1409700"/>
                      <a:gd name="connsiteX232" fmla="*/ 372944 w 3133725"/>
                      <a:gd name="connsiteY232" fmla="*/ 134370 h 1409700"/>
                      <a:gd name="connsiteX233" fmla="*/ 372748 w 3133725"/>
                      <a:gd name="connsiteY233" fmla="*/ 133936 h 1409700"/>
                      <a:gd name="connsiteX234" fmla="*/ 370536 w 3133725"/>
                      <a:gd name="connsiteY234" fmla="*/ 134109 h 1409700"/>
                      <a:gd name="connsiteX235" fmla="*/ 368909 w 3133725"/>
                      <a:gd name="connsiteY235" fmla="*/ 127580 h 1409700"/>
                      <a:gd name="connsiteX236" fmla="*/ 371772 w 3133725"/>
                      <a:gd name="connsiteY236" fmla="*/ 127298 h 1409700"/>
                      <a:gd name="connsiteX237" fmla="*/ 372835 w 3133725"/>
                      <a:gd name="connsiteY237" fmla="*/ 125715 h 1409700"/>
                      <a:gd name="connsiteX238" fmla="*/ 370622 w 3133725"/>
                      <a:gd name="connsiteY238" fmla="*/ 117124 h 1409700"/>
                      <a:gd name="connsiteX239" fmla="*/ 352704 w 3133725"/>
                      <a:gd name="connsiteY239" fmla="*/ 115910 h 1409700"/>
                      <a:gd name="connsiteX240" fmla="*/ 340448 w 3133725"/>
                      <a:gd name="connsiteY240" fmla="*/ 66516 h 1409700"/>
                      <a:gd name="connsiteX241" fmla="*/ 349364 w 3133725"/>
                      <a:gd name="connsiteY241" fmla="*/ 66234 h 1409700"/>
                      <a:gd name="connsiteX242" fmla="*/ 490321 w 3133725"/>
                      <a:gd name="connsiteY242" fmla="*/ 52763 h 1409700"/>
                      <a:gd name="connsiteX243" fmla="*/ 541429 w 3133725"/>
                      <a:gd name="connsiteY243" fmla="*/ 47036 h 1409700"/>
                      <a:gd name="connsiteX244" fmla="*/ 597786 w 3133725"/>
                      <a:gd name="connsiteY244" fmla="*/ 40680 h 1409700"/>
                      <a:gd name="connsiteX245" fmla="*/ 785013 w 3133725"/>
                      <a:gd name="connsiteY245" fmla="*/ 18185 h 1409700"/>
                      <a:gd name="connsiteX246" fmla="*/ 920982 w 3133725"/>
                      <a:gd name="connsiteY246" fmla="*/ 12393 h 1409700"/>
                      <a:gd name="connsiteX247" fmla="*/ 974692 w 3133725"/>
                      <a:gd name="connsiteY247" fmla="*/ 10116 h 1409700"/>
                      <a:gd name="connsiteX248" fmla="*/ 1047492 w 3133725"/>
                      <a:gd name="connsiteY248" fmla="*/ 10180 h 1409700"/>
                      <a:gd name="connsiteX249" fmla="*/ 1186281 w 3133725"/>
                      <a:gd name="connsiteY249" fmla="*/ 10354 h 1409700"/>
                      <a:gd name="connsiteX250" fmla="*/ 1247952 w 3133725"/>
                      <a:gd name="connsiteY250" fmla="*/ 8857 h 1409700"/>
                      <a:gd name="connsiteX251" fmla="*/ 1287519 w 3133725"/>
                      <a:gd name="connsiteY251" fmla="*/ 7925 h 1409700"/>
                      <a:gd name="connsiteX252" fmla="*/ 1340839 w 3133725"/>
                      <a:gd name="connsiteY252" fmla="*/ 7144 h 1409700"/>
                      <a:gd name="connsiteX253" fmla="*/ 1377738 w 3133725"/>
                      <a:gd name="connsiteY253" fmla="*/ 10983 h 1409700"/>
                      <a:gd name="connsiteX254" fmla="*/ 1404767 w 3133725"/>
                      <a:gd name="connsiteY254" fmla="*/ 19161 h 1409700"/>
                      <a:gd name="connsiteX255" fmla="*/ 1425440 w 3133725"/>
                      <a:gd name="connsiteY255" fmla="*/ 28576 h 1409700"/>
                      <a:gd name="connsiteX256" fmla="*/ 1446438 w 3133725"/>
                      <a:gd name="connsiteY256" fmla="*/ 38099 h 1409700"/>
                      <a:gd name="connsiteX257" fmla="*/ 1492903 w 3133725"/>
                      <a:gd name="connsiteY257" fmla="*/ 69683 h 1409700"/>
                      <a:gd name="connsiteX258" fmla="*/ 1555725 w 3133725"/>
                      <a:gd name="connsiteY258" fmla="*/ 103046 h 1409700"/>
                      <a:gd name="connsiteX259" fmla="*/ 1636225 w 3133725"/>
                      <a:gd name="connsiteY259" fmla="*/ 145758 h 1409700"/>
                      <a:gd name="connsiteX260" fmla="*/ 1717833 w 3133725"/>
                      <a:gd name="connsiteY260" fmla="*/ 189165 h 1409700"/>
                      <a:gd name="connsiteX261" fmla="*/ 1788983 w 3133725"/>
                      <a:gd name="connsiteY261" fmla="*/ 226975 h 1409700"/>
                      <a:gd name="connsiteX262" fmla="*/ 1840503 w 3133725"/>
                      <a:gd name="connsiteY262" fmla="*/ 252637 h 1409700"/>
                      <a:gd name="connsiteX263" fmla="*/ 1892066 w 3133725"/>
                      <a:gd name="connsiteY263" fmla="*/ 273180 h 1409700"/>
                      <a:gd name="connsiteX264" fmla="*/ 1937099 w 3133725"/>
                      <a:gd name="connsiteY264" fmla="*/ 287453 h 1409700"/>
                      <a:gd name="connsiteX265" fmla="*/ 1987925 w 3133725"/>
                      <a:gd name="connsiteY265" fmla="*/ 300534 h 1409700"/>
                      <a:gd name="connsiteX266" fmla="*/ 2042200 w 3133725"/>
                      <a:gd name="connsiteY266" fmla="*/ 310491 h 1409700"/>
                      <a:gd name="connsiteX267" fmla="*/ 2093480 w 3133725"/>
                      <a:gd name="connsiteY267" fmla="*/ 316717 h 1409700"/>
                      <a:gd name="connsiteX268" fmla="*/ 2146974 w 3133725"/>
                      <a:gd name="connsiteY268" fmla="*/ 319624 h 1409700"/>
                      <a:gd name="connsiteX269" fmla="*/ 2202962 w 3133725"/>
                      <a:gd name="connsiteY269" fmla="*/ 319949 h 1409700"/>
                      <a:gd name="connsiteX270" fmla="*/ 2252703 w 3133725"/>
                      <a:gd name="connsiteY270" fmla="*/ 317150 h 1409700"/>
                      <a:gd name="connsiteX271" fmla="*/ 2307303 w 3133725"/>
                      <a:gd name="connsiteY271" fmla="*/ 312074 h 1409700"/>
                      <a:gd name="connsiteX272" fmla="*/ 2593145 w 3133725"/>
                      <a:gd name="connsiteY272" fmla="*/ 285327 h 1409700"/>
                      <a:gd name="connsiteX273" fmla="*/ 3097342 w 3133725"/>
                      <a:gd name="connsiteY273" fmla="*/ 164392 h 1409700"/>
                      <a:gd name="connsiteX274" fmla="*/ 3103264 w 3133725"/>
                      <a:gd name="connsiteY274" fmla="*/ 253201 h 1409700"/>
                      <a:gd name="connsiteX275" fmla="*/ 3113243 w 3133725"/>
                      <a:gd name="connsiteY275" fmla="*/ 416567 h 1409700"/>
                      <a:gd name="connsiteX276" fmla="*/ 3115434 w 3133725"/>
                      <a:gd name="connsiteY276" fmla="*/ 452468 h 1409700"/>
                      <a:gd name="connsiteX277" fmla="*/ 3120814 w 3133725"/>
                      <a:gd name="connsiteY277" fmla="*/ 525940 h 1409700"/>
                      <a:gd name="connsiteX278" fmla="*/ 3121833 w 3133725"/>
                      <a:gd name="connsiteY278" fmla="*/ 539585 h 1409700"/>
                      <a:gd name="connsiteX279" fmla="*/ 3127191 w 3133725"/>
                      <a:gd name="connsiteY279" fmla="*/ 616138 h 1409700"/>
                      <a:gd name="connsiteX280" fmla="*/ 2727638 w 3133725"/>
                      <a:gd name="connsiteY280" fmla="*/ 724014 h 1409700"/>
                      <a:gd name="connsiteX281" fmla="*/ 2718506 w 3133725"/>
                      <a:gd name="connsiteY281" fmla="*/ 726465 h 1409700"/>
                      <a:gd name="connsiteX282" fmla="*/ 2624881 w 3133725"/>
                      <a:gd name="connsiteY282" fmla="*/ 751781 h 1409700"/>
                      <a:gd name="connsiteX283" fmla="*/ 2602993 w 3133725"/>
                      <a:gd name="connsiteY283" fmla="*/ 776705 h 1409700"/>
                      <a:gd name="connsiteX284" fmla="*/ 2558632 w 3133725"/>
                      <a:gd name="connsiteY284" fmla="*/ 827314 h 1409700"/>
                      <a:gd name="connsiteX285" fmla="*/ 2548567 w 3133725"/>
                      <a:gd name="connsiteY285" fmla="*/ 838789 h 1409700"/>
                      <a:gd name="connsiteX286" fmla="*/ 2548111 w 3133725"/>
                      <a:gd name="connsiteY286" fmla="*/ 845969 h 1409700"/>
                      <a:gd name="connsiteX287" fmla="*/ 2546832 w 3133725"/>
                      <a:gd name="connsiteY287" fmla="*/ 848962 h 1409700"/>
                      <a:gd name="connsiteX288" fmla="*/ 2546397 w 3133725"/>
                      <a:gd name="connsiteY288" fmla="*/ 848854 h 1409700"/>
                      <a:gd name="connsiteX289" fmla="*/ 2545009 w 3133725"/>
                      <a:gd name="connsiteY289" fmla="*/ 851587 h 1409700"/>
                      <a:gd name="connsiteX290" fmla="*/ 2545834 w 3133725"/>
                      <a:gd name="connsiteY290" fmla="*/ 851739 h 1409700"/>
                      <a:gd name="connsiteX291" fmla="*/ 2544901 w 3133725"/>
                      <a:gd name="connsiteY291" fmla="*/ 853540 h 1409700"/>
                      <a:gd name="connsiteX292" fmla="*/ 2542992 w 3133725"/>
                      <a:gd name="connsiteY292" fmla="*/ 856295 h 1409700"/>
                      <a:gd name="connsiteX293" fmla="*/ 2540736 w 3133725"/>
                      <a:gd name="connsiteY293" fmla="*/ 858833 h 1409700"/>
                      <a:gd name="connsiteX294" fmla="*/ 2536006 w 3133725"/>
                      <a:gd name="connsiteY294" fmla="*/ 863019 h 1409700"/>
                      <a:gd name="connsiteX295" fmla="*/ 2530410 w 3133725"/>
                      <a:gd name="connsiteY295" fmla="*/ 867249 h 1409700"/>
                      <a:gd name="connsiteX296" fmla="*/ 2523815 w 3133725"/>
                      <a:gd name="connsiteY296" fmla="*/ 871544 h 1409700"/>
                      <a:gd name="connsiteX297" fmla="*/ 2519867 w 3133725"/>
                      <a:gd name="connsiteY297" fmla="*/ 873823 h 1409700"/>
                      <a:gd name="connsiteX298" fmla="*/ 2511147 w 3133725"/>
                      <a:gd name="connsiteY298" fmla="*/ 878377 h 1409700"/>
                      <a:gd name="connsiteX299" fmla="*/ 2503121 w 3133725"/>
                      <a:gd name="connsiteY299" fmla="*/ 882152 h 1409700"/>
                      <a:gd name="connsiteX300" fmla="*/ 2491428 w 3133725"/>
                      <a:gd name="connsiteY300" fmla="*/ 887077 h 1409700"/>
                      <a:gd name="connsiteX301" fmla="*/ 2486093 w 3133725"/>
                      <a:gd name="connsiteY301" fmla="*/ 889028 h 1409700"/>
                      <a:gd name="connsiteX302" fmla="*/ 2481645 w 3133725"/>
                      <a:gd name="connsiteY302" fmla="*/ 890265 h 1409700"/>
                      <a:gd name="connsiteX303" fmla="*/ 2473034 w 3133725"/>
                      <a:gd name="connsiteY303" fmla="*/ 891892 h 1409700"/>
                      <a:gd name="connsiteX304" fmla="*/ 2468695 w 3133725"/>
                      <a:gd name="connsiteY304" fmla="*/ 892391 h 1409700"/>
                      <a:gd name="connsiteX305" fmla="*/ 2464312 w 3133725"/>
                      <a:gd name="connsiteY305" fmla="*/ 892521 h 1409700"/>
                      <a:gd name="connsiteX306" fmla="*/ 2458174 w 3133725"/>
                      <a:gd name="connsiteY306" fmla="*/ 892044 h 1409700"/>
                      <a:gd name="connsiteX307" fmla="*/ 2453923 w 3133725"/>
                      <a:gd name="connsiteY307" fmla="*/ 891285 h 1409700"/>
                      <a:gd name="connsiteX308" fmla="*/ 2442382 w 3133725"/>
                      <a:gd name="connsiteY308" fmla="*/ 888356 h 1409700"/>
                      <a:gd name="connsiteX309" fmla="*/ 2426937 w 3133725"/>
                      <a:gd name="connsiteY309" fmla="*/ 885319 h 1409700"/>
                      <a:gd name="connsiteX310" fmla="*/ 2418998 w 3133725"/>
                      <a:gd name="connsiteY310" fmla="*/ 883562 h 1409700"/>
                      <a:gd name="connsiteX311" fmla="*/ 2403857 w 3133725"/>
                      <a:gd name="connsiteY311" fmla="*/ 879896 h 1409700"/>
                      <a:gd name="connsiteX312" fmla="*/ 2398975 w 3133725"/>
                      <a:gd name="connsiteY312" fmla="*/ 878963 h 1409700"/>
                      <a:gd name="connsiteX313" fmla="*/ 2392186 w 3133725"/>
                      <a:gd name="connsiteY313" fmla="*/ 877900 h 1409700"/>
                      <a:gd name="connsiteX314" fmla="*/ 2382402 w 3133725"/>
                      <a:gd name="connsiteY314" fmla="*/ 876729 h 1409700"/>
                      <a:gd name="connsiteX315" fmla="*/ 2376285 w 3133725"/>
                      <a:gd name="connsiteY315" fmla="*/ 876360 h 1409700"/>
                      <a:gd name="connsiteX316" fmla="*/ 2370298 w 3133725"/>
                      <a:gd name="connsiteY316" fmla="*/ 876382 h 1409700"/>
                      <a:gd name="connsiteX317" fmla="*/ 2334267 w 3133725"/>
                      <a:gd name="connsiteY317" fmla="*/ 878920 h 1409700"/>
                      <a:gd name="connsiteX318" fmla="*/ 2325980 w 3133725"/>
                      <a:gd name="connsiteY318" fmla="*/ 879700 h 1409700"/>
                      <a:gd name="connsiteX319" fmla="*/ 2312857 w 3133725"/>
                      <a:gd name="connsiteY319" fmla="*/ 881436 h 1409700"/>
                      <a:gd name="connsiteX320" fmla="*/ 2296110 w 3133725"/>
                      <a:gd name="connsiteY320" fmla="*/ 884387 h 1409700"/>
                      <a:gd name="connsiteX321" fmla="*/ 2291446 w 3133725"/>
                      <a:gd name="connsiteY321" fmla="*/ 885514 h 1409700"/>
                      <a:gd name="connsiteX322" fmla="*/ 2287498 w 3133725"/>
                      <a:gd name="connsiteY322" fmla="*/ 886686 h 1409700"/>
                      <a:gd name="connsiteX323" fmla="*/ 2283724 w 3133725"/>
                      <a:gd name="connsiteY323" fmla="*/ 887987 h 1409700"/>
                      <a:gd name="connsiteX324" fmla="*/ 2277866 w 3133725"/>
                      <a:gd name="connsiteY324" fmla="*/ 890439 h 1409700"/>
                      <a:gd name="connsiteX325" fmla="*/ 2274786 w 3133725"/>
                      <a:gd name="connsiteY325" fmla="*/ 892022 h 1409700"/>
                      <a:gd name="connsiteX326" fmla="*/ 2271228 w 3133725"/>
                      <a:gd name="connsiteY326" fmla="*/ 894170 h 1409700"/>
                      <a:gd name="connsiteX327" fmla="*/ 2265241 w 3133725"/>
                      <a:gd name="connsiteY327" fmla="*/ 898986 h 1409700"/>
                      <a:gd name="connsiteX328" fmla="*/ 2259645 w 3133725"/>
                      <a:gd name="connsiteY328" fmla="*/ 895970 h 1409700"/>
                      <a:gd name="connsiteX329" fmla="*/ 2242335 w 3133725"/>
                      <a:gd name="connsiteY329" fmla="*/ 887900 h 1409700"/>
                      <a:gd name="connsiteX330" fmla="*/ 2237648 w 3133725"/>
                      <a:gd name="connsiteY330" fmla="*/ 885428 h 1409700"/>
                      <a:gd name="connsiteX331" fmla="*/ 2152571 w 3133725"/>
                      <a:gd name="connsiteY331" fmla="*/ 839874 h 1409700"/>
                      <a:gd name="connsiteX332" fmla="*/ 2150228 w 3133725"/>
                      <a:gd name="connsiteY332" fmla="*/ 838724 h 1409700"/>
                      <a:gd name="connsiteX333" fmla="*/ 2143937 w 3133725"/>
                      <a:gd name="connsiteY333" fmla="*/ 836381 h 1409700"/>
                      <a:gd name="connsiteX334" fmla="*/ 2098101 w 3133725"/>
                      <a:gd name="connsiteY334" fmla="*/ 811825 h 1409700"/>
                      <a:gd name="connsiteX335" fmla="*/ 1905406 w 3133725"/>
                      <a:gd name="connsiteY335" fmla="*/ 709329 h 1409700"/>
                      <a:gd name="connsiteX336" fmla="*/ 1749178 w 3133725"/>
                      <a:gd name="connsiteY336" fmla="*/ 625986 h 1409700"/>
                      <a:gd name="connsiteX337" fmla="*/ 1726617 w 3133725"/>
                      <a:gd name="connsiteY337" fmla="*/ 614163 h 1409700"/>
                      <a:gd name="connsiteX338" fmla="*/ 1713277 w 3133725"/>
                      <a:gd name="connsiteY338" fmla="*/ 608067 h 1409700"/>
                      <a:gd name="connsiteX339" fmla="*/ 1704275 w 3133725"/>
                      <a:gd name="connsiteY339" fmla="*/ 604445 h 1409700"/>
                      <a:gd name="connsiteX340" fmla="*/ 1698266 w 3133725"/>
                      <a:gd name="connsiteY340" fmla="*/ 602168 h 1409700"/>
                      <a:gd name="connsiteX341" fmla="*/ 1689827 w 3133725"/>
                      <a:gd name="connsiteY341" fmla="*/ 599282 h 1409700"/>
                      <a:gd name="connsiteX342" fmla="*/ 1683016 w 3133725"/>
                      <a:gd name="connsiteY342" fmla="*/ 597026 h 1409700"/>
                      <a:gd name="connsiteX343" fmla="*/ 1676487 w 3133725"/>
                      <a:gd name="connsiteY343" fmla="*/ 595095 h 1409700"/>
                      <a:gd name="connsiteX344" fmla="*/ 1661801 w 3133725"/>
                      <a:gd name="connsiteY344" fmla="*/ 591191 h 1409700"/>
                      <a:gd name="connsiteX345" fmla="*/ 1653124 w 3133725"/>
                      <a:gd name="connsiteY345" fmla="*/ 589217 h 1409700"/>
                      <a:gd name="connsiteX346" fmla="*/ 1637766 w 3133725"/>
                      <a:gd name="connsiteY346" fmla="*/ 586159 h 1409700"/>
                      <a:gd name="connsiteX347" fmla="*/ 1638438 w 3133725"/>
                      <a:gd name="connsiteY347" fmla="*/ 584987 h 1409700"/>
                      <a:gd name="connsiteX348" fmla="*/ 1633904 w 3133725"/>
                      <a:gd name="connsiteY348" fmla="*/ 584142 h 1409700"/>
                      <a:gd name="connsiteX349" fmla="*/ 1633275 w 3133725"/>
                      <a:gd name="connsiteY349" fmla="*/ 585378 h 1409700"/>
                      <a:gd name="connsiteX350" fmla="*/ 1620411 w 3133725"/>
                      <a:gd name="connsiteY350" fmla="*/ 583035 h 1409700"/>
                      <a:gd name="connsiteX351" fmla="*/ 1615488 w 3133725"/>
                      <a:gd name="connsiteY351" fmla="*/ 593166 h 1409700"/>
                      <a:gd name="connsiteX352" fmla="*/ 1614685 w 3133725"/>
                      <a:gd name="connsiteY352" fmla="*/ 593035 h 1409700"/>
                      <a:gd name="connsiteX353" fmla="*/ 1614338 w 3133725"/>
                      <a:gd name="connsiteY353" fmla="*/ 593686 h 1409700"/>
                      <a:gd name="connsiteX354" fmla="*/ 1618394 w 3133725"/>
                      <a:gd name="connsiteY354" fmla="*/ 594402 h 1409700"/>
                      <a:gd name="connsiteX355" fmla="*/ 1618850 w 3133725"/>
                      <a:gd name="connsiteY355" fmla="*/ 596116 h 1409700"/>
                      <a:gd name="connsiteX356" fmla="*/ 1612341 w 3133725"/>
                      <a:gd name="connsiteY356" fmla="*/ 599782 h 1409700"/>
                      <a:gd name="connsiteX357" fmla="*/ 1601799 w 3133725"/>
                      <a:gd name="connsiteY357" fmla="*/ 605009 h 1409700"/>
                      <a:gd name="connsiteX358" fmla="*/ 1592537 w 3133725"/>
                      <a:gd name="connsiteY358" fmla="*/ 608502 h 1409700"/>
                      <a:gd name="connsiteX359" fmla="*/ 1584098 w 3133725"/>
                      <a:gd name="connsiteY359" fmla="*/ 610996 h 1409700"/>
                      <a:gd name="connsiteX360" fmla="*/ 1560779 w 3133725"/>
                      <a:gd name="connsiteY360" fmla="*/ 620085 h 1409700"/>
                      <a:gd name="connsiteX361" fmla="*/ 1553794 w 3133725"/>
                      <a:gd name="connsiteY361" fmla="*/ 622559 h 1409700"/>
                      <a:gd name="connsiteX362" fmla="*/ 1550171 w 3133725"/>
                      <a:gd name="connsiteY362" fmla="*/ 623469 h 1409700"/>
                      <a:gd name="connsiteX363" fmla="*/ 1547937 w 3133725"/>
                      <a:gd name="connsiteY363" fmla="*/ 624490 h 1409700"/>
                      <a:gd name="connsiteX364" fmla="*/ 1547655 w 3133725"/>
                      <a:gd name="connsiteY364" fmla="*/ 625074 h 1409700"/>
                      <a:gd name="connsiteX365" fmla="*/ 1543685 w 3133725"/>
                      <a:gd name="connsiteY365" fmla="*/ 620259 h 1409700"/>
                      <a:gd name="connsiteX366" fmla="*/ 1538588 w 3133725"/>
                      <a:gd name="connsiteY366" fmla="*/ 613491 h 1409700"/>
                      <a:gd name="connsiteX367" fmla="*/ 1519802 w 3133725"/>
                      <a:gd name="connsiteY367" fmla="*/ 644338 h 1409700"/>
                      <a:gd name="connsiteX368" fmla="*/ 1467306 w 3133725"/>
                      <a:gd name="connsiteY368" fmla="*/ 707419 h 1409700"/>
                      <a:gd name="connsiteX369" fmla="*/ 1441926 w 3133725"/>
                      <a:gd name="connsiteY369" fmla="*/ 740283 h 1409700"/>
                      <a:gd name="connsiteX370" fmla="*/ 1421578 w 3133725"/>
                      <a:gd name="connsiteY370" fmla="*/ 760154 h 1409700"/>
                      <a:gd name="connsiteX371" fmla="*/ 1410776 w 3133725"/>
                      <a:gd name="connsiteY371" fmla="*/ 770739 h 1409700"/>
                      <a:gd name="connsiteX372" fmla="*/ 1409604 w 3133725"/>
                      <a:gd name="connsiteY372" fmla="*/ 775750 h 1409700"/>
                      <a:gd name="connsiteX373" fmla="*/ 1405721 w 3133725"/>
                      <a:gd name="connsiteY373" fmla="*/ 781998 h 1409700"/>
                      <a:gd name="connsiteX374" fmla="*/ 1370492 w 3133725"/>
                      <a:gd name="connsiteY374" fmla="*/ 816575 h 1409700"/>
                      <a:gd name="connsiteX375" fmla="*/ 1347260 w 3133725"/>
                      <a:gd name="connsiteY375" fmla="*/ 837943 h 1409700"/>
                      <a:gd name="connsiteX376" fmla="*/ 1337629 w 3133725"/>
                      <a:gd name="connsiteY376" fmla="*/ 848203 h 1409700"/>
                      <a:gd name="connsiteX377" fmla="*/ 1331316 w 3133725"/>
                      <a:gd name="connsiteY377" fmla="*/ 854494 h 1409700"/>
                      <a:gd name="connsiteX378" fmla="*/ 1304244 w 3133725"/>
                      <a:gd name="connsiteY378" fmla="*/ 881697 h 1409700"/>
                      <a:gd name="connsiteX379" fmla="*/ 1278603 w 3133725"/>
                      <a:gd name="connsiteY379" fmla="*/ 909289 h 1409700"/>
                      <a:gd name="connsiteX380" fmla="*/ 1261597 w 3133725"/>
                      <a:gd name="connsiteY380" fmla="*/ 924278 h 1409700"/>
                      <a:gd name="connsiteX381" fmla="*/ 1254590 w 3133725"/>
                      <a:gd name="connsiteY381" fmla="*/ 928856 h 1409700"/>
                      <a:gd name="connsiteX382" fmla="*/ 1246976 w 3133725"/>
                      <a:gd name="connsiteY382" fmla="*/ 933867 h 1409700"/>
                      <a:gd name="connsiteX383" fmla="*/ 1236347 w 3133725"/>
                      <a:gd name="connsiteY383" fmla="*/ 939485 h 1409700"/>
                      <a:gd name="connsiteX384" fmla="*/ 1207778 w 3133725"/>
                      <a:gd name="connsiteY384" fmla="*/ 952479 h 1409700"/>
                      <a:gd name="connsiteX385" fmla="*/ 1188991 w 3133725"/>
                      <a:gd name="connsiteY385" fmla="*/ 959898 h 1409700"/>
                      <a:gd name="connsiteX386" fmla="*/ 1192441 w 3133725"/>
                      <a:gd name="connsiteY386" fmla="*/ 964193 h 1409700"/>
                      <a:gd name="connsiteX387" fmla="*/ 1186237 w 3133725"/>
                      <a:gd name="connsiteY387" fmla="*/ 966168 h 1409700"/>
                      <a:gd name="connsiteX388" fmla="*/ 1185131 w 3133725"/>
                      <a:gd name="connsiteY388" fmla="*/ 966840 h 1409700"/>
                      <a:gd name="connsiteX389" fmla="*/ 1185564 w 3133725"/>
                      <a:gd name="connsiteY389" fmla="*/ 967490 h 1409700"/>
                      <a:gd name="connsiteX390" fmla="*/ 1166475 w 3133725"/>
                      <a:gd name="connsiteY390" fmla="*/ 972848 h 1409700"/>
                      <a:gd name="connsiteX391" fmla="*/ 1165932 w 3133725"/>
                      <a:gd name="connsiteY391" fmla="*/ 972848 h 1409700"/>
                      <a:gd name="connsiteX392" fmla="*/ 1159403 w 3133725"/>
                      <a:gd name="connsiteY392" fmla="*/ 975083 h 1409700"/>
                      <a:gd name="connsiteX393" fmla="*/ 1150076 w 3133725"/>
                      <a:gd name="connsiteY393" fmla="*/ 977512 h 1409700"/>
                      <a:gd name="connsiteX394" fmla="*/ 1130835 w 3133725"/>
                      <a:gd name="connsiteY394" fmla="*/ 982132 h 1409700"/>
                      <a:gd name="connsiteX395" fmla="*/ 1127689 w 3133725"/>
                      <a:gd name="connsiteY395" fmla="*/ 982458 h 1409700"/>
                      <a:gd name="connsiteX396" fmla="*/ 1125238 w 3133725"/>
                      <a:gd name="connsiteY396" fmla="*/ 983087 h 1409700"/>
                      <a:gd name="connsiteX397" fmla="*/ 1087862 w 3133725"/>
                      <a:gd name="connsiteY397" fmla="*/ 994150 h 1409700"/>
                      <a:gd name="connsiteX398" fmla="*/ 1069727 w 3133725"/>
                      <a:gd name="connsiteY398" fmla="*/ 999769 h 1409700"/>
                      <a:gd name="connsiteX399" fmla="*/ 1064976 w 3133725"/>
                      <a:gd name="connsiteY399" fmla="*/ 1001331 h 1409700"/>
                      <a:gd name="connsiteX400" fmla="*/ 1063804 w 3133725"/>
                      <a:gd name="connsiteY400" fmla="*/ 1001851 h 1409700"/>
                      <a:gd name="connsiteX401" fmla="*/ 1059769 w 3133725"/>
                      <a:gd name="connsiteY401" fmla="*/ 1003001 h 1409700"/>
                      <a:gd name="connsiteX402" fmla="*/ 1060832 w 3133725"/>
                      <a:gd name="connsiteY402" fmla="*/ 1003630 h 1409700"/>
                      <a:gd name="connsiteX403" fmla="*/ 1054152 w 3133725"/>
                      <a:gd name="connsiteY403" fmla="*/ 1004541 h 1409700"/>
                      <a:gd name="connsiteX404" fmla="*/ 1046211 w 3133725"/>
                      <a:gd name="connsiteY404" fmla="*/ 1006276 h 1409700"/>
                      <a:gd name="connsiteX405" fmla="*/ 1043630 w 3133725"/>
                      <a:gd name="connsiteY405" fmla="*/ 1006623 h 1409700"/>
                      <a:gd name="connsiteX406" fmla="*/ 1034737 w 3133725"/>
                      <a:gd name="connsiteY406" fmla="*/ 1007752 h 1409700"/>
                      <a:gd name="connsiteX407" fmla="*/ 1015886 w 3133725"/>
                      <a:gd name="connsiteY407" fmla="*/ 1010202 h 1409700"/>
                      <a:gd name="connsiteX408" fmla="*/ 1015539 w 3133725"/>
                      <a:gd name="connsiteY408" fmla="*/ 1029184 h 1409700"/>
                      <a:gd name="connsiteX409" fmla="*/ 986471 w 3133725"/>
                      <a:gd name="connsiteY409" fmla="*/ 1027644 h 1409700"/>
                      <a:gd name="connsiteX410" fmla="*/ 977642 w 3133725"/>
                      <a:gd name="connsiteY410" fmla="*/ 1027362 h 1409700"/>
                      <a:gd name="connsiteX411" fmla="*/ 971481 w 3133725"/>
                      <a:gd name="connsiteY411" fmla="*/ 1027557 h 1409700"/>
                      <a:gd name="connsiteX412" fmla="*/ 968292 w 3133725"/>
                      <a:gd name="connsiteY412" fmla="*/ 1027882 h 1409700"/>
                      <a:gd name="connsiteX413" fmla="*/ 965429 w 3133725"/>
                      <a:gd name="connsiteY413" fmla="*/ 1028425 h 1409700"/>
                      <a:gd name="connsiteX414" fmla="*/ 957381 w 3133725"/>
                      <a:gd name="connsiteY414" fmla="*/ 1030507 h 1409700"/>
                      <a:gd name="connsiteX415" fmla="*/ 952934 w 3133725"/>
                      <a:gd name="connsiteY415" fmla="*/ 1032134 h 1409700"/>
                      <a:gd name="connsiteX416" fmla="*/ 945993 w 3133725"/>
                      <a:gd name="connsiteY416" fmla="*/ 1034065 h 1409700"/>
                      <a:gd name="connsiteX417" fmla="*/ 942261 w 3133725"/>
                      <a:gd name="connsiteY417" fmla="*/ 1034477 h 1409700"/>
                      <a:gd name="connsiteX418" fmla="*/ 938357 w 3133725"/>
                      <a:gd name="connsiteY418" fmla="*/ 1035561 h 1409700"/>
                      <a:gd name="connsiteX419" fmla="*/ 933238 w 3133725"/>
                      <a:gd name="connsiteY419" fmla="*/ 1038728 h 1409700"/>
                      <a:gd name="connsiteX420" fmla="*/ 928747 w 3133725"/>
                      <a:gd name="connsiteY420" fmla="*/ 1040659 h 1409700"/>
                      <a:gd name="connsiteX421" fmla="*/ 920786 w 3133725"/>
                      <a:gd name="connsiteY421" fmla="*/ 1043544 h 1409700"/>
                      <a:gd name="connsiteX422" fmla="*/ 902890 w 3133725"/>
                      <a:gd name="connsiteY422" fmla="*/ 1049596 h 1409700"/>
                      <a:gd name="connsiteX423" fmla="*/ 883627 w 3133725"/>
                      <a:gd name="connsiteY423" fmla="*/ 1029574 h 1409700"/>
                      <a:gd name="connsiteX424" fmla="*/ 853171 w 3133725"/>
                      <a:gd name="connsiteY424" fmla="*/ 1029965 h 1409700"/>
                      <a:gd name="connsiteX425" fmla="*/ 728939 w 3133725"/>
                      <a:gd name="connsiteY425" fmla="*/ 1006992 h 1409700"/>
                      <a:gd name="connsiteX426" fmla="*/ 691541 w 3133725"/>
                      <a:gd name="connsiteY426" fmla="*/ 1019812 h 1409700"/>
                      <a:gd name="connsiteX427" fmla="*/ 695315 w 3133725"/>
                      <a:gd name="connsiteY427" fmla="*/ 1023891 h 1409700"/>
                      <a:gd name="connsiteX428" fmla="*/ 669935 w 3133725"/>
                      <a:gd name="connsiteY428" fmla="*/ 1032655 h 1409700"/>
                      <a:gd name="connsiteX429" fmla="*/ 663861 w 3133725"/>
                      <a:gd name="connsiteY429" fmla="*/ 1032416 h 1409700"/>
                      <a:gd name="connsiteX430" fmla="*/ 651865 w 3133725"/>
                      <a:gd name="connsiteY430" fmla="*/ 1032416 h 1409700"/>
                      <a:gd name="connsiteX431" fmla="*/ 648828 w 3133725"/>
                      <a:gd name="connsiteY431" fmla="*/ 1032394 h 1409700"/>
                      <a:gd name="connsiteX432" fmla="*/ 643730 w 3133725"/>
                      <a:gd name="connsiteY432" fmla="*/ 1031982 h 1409700"/>
                      <a:gd name="connsiteX433" fmla="*/ 626376 w 3133725"/>
                      <a:gd name="connsiteY433" fmla="*/ 1031135 h 1409700"/>
                      <a:gd name="connsiteX434" fmla="*/ 626441 w 3133725"/>
                      <a:gd name="connsiteY434" fmla="*/ 1034932 h 1409700"/>
                      <a:gd name="connsiteX435" fmla="*/ 626073 w 3133725"/>
                      <a:gd name="connsiteY435" fmla="*/ 1041700 h 1409700"/>
                      <a:gd name="connsiteX436" fmla="*/ 625530 w 3133725"/>
                      <a:gd name="connsiteY436" fmla="*/ 1044824 h 1409700"/>
                      <a:gd name="connsiteX437" fmla="*/ 624467 w 3133725"/>
                      <a:gd name="connsiteY437" fmla="*/ 1048750 h 1409700"/>
                      <a:gd name="connsiteX438" fmla="*/ 623447 w 3133725"/>
                      <a:gd name="connsiteY438" fmla="*/ 1051418 h 1409700"/>
                      <a:gd name="connsiteX439" fmla="*/ 620888 w 3133725"/>
                      <a:gd name="connsiteY439" fmla="*/ 1056864 h 1409700"/>
                      <a:gd name="connsiteX440" fmla="*/ 618611 w 3133725"/>
                      <a:gd name="connsiteY440" fmla="*/ 1060486 h 1409700"/>
                      <a:gd name="connsiteX441" fmla="*/ 616094 w 3133725"/>
                      <a:gd name="connsiteY441" fmla="*/ 1063740 h 1409700"/>
                      <a:gd name="connsiteX442" fmla="*/ 611582 w 3133725"/>
                      <a:gd name="connsiteY442" fmla="*/ 1068664 h 1409700"/>
                      <a:gd name="connsiteX443" fmla="*/ 605291 w 3133725"/>
                      <a:gd name="connsiteY443" fmla="*/ 1074152 h 1409700"/>
                      <a:gd name="connsiteX444" fmla="*/ 601364 w 3133725"/>
                      <a:gd name="connsiteY444" fmla="*/ 1076994 h 1409700"/>
                      <a:gd name="connsiteX445" fmla="*/ 597612 w 3133725"/>
                      <a:gd name="connsiteY445" fmla="*/ 1079424 h 1409700"/>
                      <a:gd name="connsiteX446" fmla="*/ 600020 w 3133725"/>
                      <a:gd name="connsiteY446" fmla="*/ 1082287 h 1409700"/>
                      <a:gd name="connsiteX447" fmla="*/ 581039 w 3133725"/>
                      <a:gd name="connsiteY447" fmla="*/ 1089293 h 1409700"/>
                      <a:gd name="connsiteX448" fmla="*/ 552665 w 3133725"/>
                      <a:gd name="connsiteY448" fmla="*/ 1098035 h 1409700"/>
                      <a:gd name="connsiteX449" fmla="*/ 535789 w 3133725"/>
                      <a:gd name="connsiteY449" fmla="*/ 1102201 h 1409700"/>
                      <a:gd name="connsiteX450" fmla="*/ 489995 w 3133725"/>
                      <a:gd name="connsiteY450" fmla="*/ 1115910 h 1409700"/>
                      <a:gd name="connsiteX451" fmla="*/ 477480 w 3133725"/>
                      <a:gd name="connsiteY451" fmla="*/ 1119598 h 1409700"/>
                      <a:gd name="connsiteX452" fmla="*/ 426892 w 3133725"/>
                      <a:gd name="connsiteY452" fmla="*/ 1132635 h 1409700"/>
                      <a:gd name="connsiteX453" fmla="*/ 418345 w 3133725"/>
                      <a:gd name="connsiteY453" fmla="*/ 1134501 h 1409700"/>
                      <a:gd name="connsiteX454" fmla="*/ 410493 w 3133725"/>
                      <a:gd name="connsiteY454" fmla="*/ 1135846 h 1409700"/>
                      <a:gd name="connsiteX455" fmla="*/ 401165 w 3133725"/>
                      <a:gd name="connsiteY455" fmla="*/ 1137082 h 1409700"/>
                      <a:gd name="connsiteX456" fmla="*/ 391360 w 3133725"/>
                      <a:gd name="connsiteY456" fmla="*/ 1138101 h 1409700"/>
                      <a:gd name="connsiteX457" fmla="*/ 398627 w 3133725"/>
                      <a:gd name="connsiteY457" fmla="*/ 1183916 h 1409700"/>
                      <a:gd name="connsiteX458" fmla="*/ 411968 w 3133725"/>
                      <a:gd name="connsiteY458" fmla="*/ 1267367 h 1409700"/>
                      <a:gd name="connsiteX459" fmla="*/ 373789 w 3133725"/>
                      <a:gd name="connsiteY459" fmla="*/ 1273766 h 1409700"/>
                      <a:gd name="connsiteX460" fmla="*/ 362205 w 3133725"/>
                      <a:gd name="connsiteY460" fmla="*/ 1274851 h 1409700"/>
                      <a:gd name="connsiteX461" fmla="*/ 355741 w 3133725"/>
                      <a:gd name="connsiteY461" fmla="*/ 1275827 h 1409700"/>
                      <a:gd name="connsiteX462" fmla="*/ 351641 w 3133725"/>
                      <a:gd name="connsiteY462" fmla="*/ 1277215 h 1409700"/>
                      <a:gd name="connsiteX463" fmla="*/ 348387 w 3133725"/>
                      <a:gd name="connsiteY463" fmla="*/ 1279037 h 1409700"/>
                      <a:gd name="connsiteX464" fmla="*/ 335025 w 3133725"/>
                      <a:gd name="connsiteY464" fmla="*/ 1288755 h 1409700"/>
                      <a:gd name="connsiteX465" fmla="*/ 344678 w 3133725"/>
                      <a:gd name="connsiteY465" fmla="*/ 1294352 h 1409700"/>
                      <a:gd name="connsiteX466" fmla="*/ 354375 w 3133725"/>
                      <a:gd name="connsiteY466" fmla="*/ 1300773 h 1409700"/>
                      <a:gd name="connsiteX467" fmla="*/ 357086 w 3133725"/>
                      <a:gd name="connsiteY467" fmla="*/ 1303225 h 1409700"/>
                      <a:gd name="connsiteX468" fmla="*/ 356479 w 3133725"/>
                      <a:gd name="connsiteY468" fmla="*/ 1304830 h 1409700"/>
                      <a:gd name="connsiteX469" fmla="*/ 348539 w 3133725"/>
                      <a:gd name="connsiteY469" fmla="*/ 1317065 h 1409700"/>
                      <a:gd name="connsiteX470" fmla="*/ 344266 w 3133725"/>
                      <a:gd name="connsiteY470" fmla="*/ 1323073 h 1409700"/>
                      <a:gd name="connsiteX471" fmla="*/ 343615 w 3133725"/>
                      <a:gd name="connsiteY471" fmla="*/ 1324591 h 1409700"/>
                      <a:gd name="connsiteX472" fmla="*/ 344548 w 3133725"/>
                      <a:gd name="connsiteY472" fmla="*/ 1325155 h 1409700"/>
                      <a:gd name="connsiteX473" fmla="*/ 354483 w 3133725"/>
                      <a:gd name="connsiteY473" fmla="*/ 1328518 h 1409700"/>
                      <a:gd name="connsiteX474" fmla="*/ 381728 w 3133725"/>
                      <a:gd name="connsiteY474" fmla="*/ 1338908 h 1409700"/>
                      <a:gd name="connsiteX475" fmla="*/ 382987 w 3133725"/>
                      <a:gd name="connsiteY475" fmla="*/ 1339667 h 1409700"/>
                      <a:gd name="connsiteX476" fmla="*/ 382835 w 3133725"/>
                      <a:gd name="connsiteY476" fmla="*/ 1340622 h 1409700"/>
                      <a:gd name="connsiteX477" fmla="*/ 383291 w 3133725"/>
                      <a:gd name="connsiteY477" fmla="*/ 1341490 h 1409700"/>
                      <a:gd name="connsiteX478" fmla="*/ 386240 w 3133725"/>
                      <a:gd name="connsiteY478" fmla="*/ 1343074 h 1409700"/>
                      <a:gd name="connsiteX479" fmla="*/ 420645 w 3133725"/>
                      <a:gd name="connsiteY479" fmla="*/ 1357260 h 1409700"/>
                      <a:gd name="connsiteX480" fmla="*/ 404484 w 3133725"/>
                      <a:gd name="connsiteY480" fmla="*/ 1375807 h 1409700"/>
                      <a:gd name="connsiteX481" fmla="*/ 400080 w 3133725"/>
                      <a:gd name="connsiteY481" fmla="*/ 1381578 h 1409700"/>
                      <a:gd name="connsiteX482" fmla="*/ 379321 w 3133725"/>
                      <a:gd name="connsiteY482" fmla="*/ 1404117 h 1409700"/>
                      <a:gd name="connsiteX483" fmla="*/ 351989 w 3133725"/>
                      <a:gd name="connsiteY483" fmla="*/ 1403704 h 1409700"/>
                      <a:gd name="connsiteX484" fmla="*/ 344048 w 3133725"/>
                      <a:gd name="connsiteY484" fmla="*/ 1403443 h 1409700"/>
                      <a:gd name="connsiteX485" fmla="*/ 339862 w 3133725"/>
                      <a:gd name="connsiteY485" fmla="*/ 1403617 h 1409700"/>
                      <a:gd name="connsiteX486" fmla="*/ 308994 w 3133725"/>
                      <a:gd name="connsiteY486" fmla="*/ 1404008 h 1409700"/>
                      <a:gd name="connsiteX487" fmla="*/ 307172 w 3133725"/>
                      <a:gd name="connsiteY487" fmla="*/ 1391643 h 1409700"/>
                      <a:gd name="connsiteX488" fmla="*/ 280924 w 3133725"/>
                      <a:gd name="connsiteY488" fmla="*/ 1376848 h 1409700"/>
                      <a:gd name="connsiteX489" fmla="*/ 230575 w 3133725"/>
                      <a:gd name="connsiteY489" fmla="*/ 1362966 h 1409700"/>
                      <a:gd name="connsiteX490" fmla="*/ 212853 w 3133725"/>
                      <a:gd name="connsiteY490" fmla="*/ 1357564 h 1409700"/>
                      <a:gd name="connsiteX491" fmla="*/ 199621 w 3133725"/>
                      <a:gd name="connsiteY491" fmla="*/ 1352140 h 1409700"/>
                      <a:gd name="connsiteX492" fmla="*/ 175304 w 3133725"/>
                      <a:gd name="connsiteY492" fmla="*/ 1341251 h 1409700"/>
                      <a:gd name="connsiteX493" fmla="*/ 165781 w 3133725"/>
                      <a:gd name="connsiteY493" fmla="*/ 1337390 h 1409700"/>
                      <a:gd name="connsiteX494" fmla="*/ 156258 w 3133725"/>
                      <a:gd name="connsiteY494" fmla="*/ 1334656 h 1409700"/>
                      <a:gd name="connsiteX495" fmla="*/ 145585 w 3133725"/>
                      <a:gd name="connsiteY495" fmla="*/ 1332965 h 1409700"/>
                      <a:gd name="connsiteX496" fmla="*/ 130877 w 3133725"/>
                      <a:gd name="connsiteY496" fmla="*/ 1332141 h 1409700"/>
                      <a:gd name="connsiteX497" fmla="*/ 115128 w 3133725"/>
                      <a:gd name="connsiteY497" fmla="*/ 1332466 h 1409700"/>
                      <a:gd name="connsiteX498" fmla="*/ 96690 w 3133725"/>
                      <a:gd name="connsiteY498" fmla="*/ 1332487 h 1409700"/>
                      <a:gd name="connsiteX499" fmla="*/ 73565 w 3133725"/>
                      <a:gd name="connsiteY499" fmla="*/ 1330448 h 1409700"/>
                      <a:gd name="connsiteX500" fmla="*/ 48945 w 3133725"/>
                      <a:gd name="connsiteY500" fmla="*/ 1324982 h 1409700"/>
                      <a:gd name="connsiteX501" fmla="*/ 32935 w 3133725"/>
                      <a:gd name="connsiteY501" fmla="*/ 1315763 h 1409700"/>
                      <a:gd name="connsiteX502" fmla="*/ 30420 w 3133725"/>
                      <a:gd name="connsiteY502" fmla="*/ 1313615 h 140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Lst>
                    <a:rect l="l" t="t" r="r" b="b"/>
                    <a:pathLst>
                      <a:path w="3133725" h="1409700">
                        <a:moveTo>
                          <a:pt x="30420" y="1313615"/>
                        </a:moveTo>
                        <a:lnTo>
                          <a:pt x="25777" y="1310730"/>
                        </a:lnTo>
                        <a:lnTo>
                          <a:pt x="21981" y="1307628"/>
                        </a:lnTo>
                        <a:lnTo>
                          <a:pt x="18662" y="1303940"/>
                        </a:lnTo>
                        <a:lnTo>
                          <a:pt x="12393" y="1294092"/>
                        </a:lnTo>
                        <a:lnTo>
                          <a:pt x="10376" y="1290318"/>
                        </a:lnTo>
                        <a:lnTo>
                          <a:pt x="7946" y="1283007"/>
                        </a:lnTo>
                        <a:lnTo>
                          <a:pt x="7144" y="1277714"/>
                        </a:lnTo>
                        <a:lnTo>
                          <a:pt x="7729" y="1275024"/>
                        </a:lnTo>
                        <a:lnTo>
                          <a:pt x="8922" y="1272030"/>
                        </a:lnTo>
                        <a:lnTo>
                          <a:pt x="20441" y="1253332"/>
                        </a:lnTo>
                        <a:lnTo>
                          <a:pt x="33543" y="1229514"/>
                        </a:lnTo>
                        <a:lnTo>
                          <a:pt x="35994" y="1224676"/>
                        </a:lnTo>
                        <a:lnTo>
                          <a:pt x="38619" y="1217583"/>
                        </a:lnTo>
                        <a:lnTo>
                          <a:pt x="42567" y="1208428"/>
                        </a:lnTo>
                        <a:lnTo>
                          <a:pt x="45648" y="1202203"/>
                        </a:lnTo>
                        <a:lnTo>
                          <a:pt x="48706" y="1197409"/>
                        </a:lnTo>
                        <a:lnTo>
                          <a:pt x="52632" y="1192116"/>
                        </a:lnTo>
                        <a:lnTo>
                          <a:pt x="63782" y="1180228"/>
                        </a:lnTo>
                        <a:lnTo>
                          <a:pt x="72763" y="1171573"/>
                        </a:lnTo>
                        <a:lnTo>
                          <a:pt x="83978" y="1158861"/>
                        </a:lnTo>
                        <a:lnTo>
                          <a:pt x="87080" y="1154154"/>
                        </a:lnTo>
                        <a:lnTo>
                          <a:pt x="89553" y="1149360"/>
                        </a:lnTo>
                        <a:lnTo>
                          <a:pt x="90616" y="1144978"/>
                        </a:lnTo>
                        <a:lnTo>
                          <a:pt x="90594" y="1139772"/>
                        </a:lnTo>
                        <a:lnTo>
                          <a:pt x="89227" y="1133915"/>
                        </a:lnTo>
                        <a:lnTo>
                          <a:pt x="86255" y="1125260"/>
                        </a:lnTo>
                        <a:lnTo>
                          <a:pt x="78012" y="1106777"/>
                        </a:lnTo>
                        <a:lnTo>
                          <a:pt x="77622" y="1104196"/>
                        </a:lnTo>
                        <a:lnTo>
                          <a:pt x="77730" y="1099879"/>
                        </a:lnTo>
                        <a:lnTo>
                          <a:pt x="78707" y="1095585"/>
                        </a:lnTo>
                        <a:lnTo>
                          <a:pt x="80746" y="1092157"/>
                        </a:lnTo>
                        <a:lnTo>
                          <a:pt x="83652" y="1088665"/>
                        </a:lnTo>
                        <a:lnTo>
                          <a:pt x="85496" y="1086777"/>
                        </a:lnTo>
                        <a:lnTo>
                          <a:pt x="88512" y="1084543"/>
                        </a:lnTo>
                        <a:lnTo>
                          <a:pt x="91614" y="1082655"/>
                        </a:lnTo>
                        <a:lnTo>
                          <a:pt x="95388" y="1080920"/>
                        </a:lnTo>
                        <a:lnTo>
                          <a:pt x="99163" y="1079510"/>
                        </a:lnTo>
                        <a:lnTo>
                          <a:pt x="102807" y="1078512"/>
                        </a:lnTo>
                        <a:lnTo>
                          <a:pt x="106928" y="1077493"/>
                        </a:lnTo>
                        <a:lnTo>
                          <a:pt x="115020" y="1075995"/>
                        </a:lnTo>
                        <a:lnTo>
                          <a:pt x="123675" y="1075041"/>
                        </a:lnTo>
                        <a:lnTo>
                          <a:pt x="135802" y="1074630"/>
                        </a:lnTo>
                        <a:lnTo>
                          <a:pt x="158318" y="1076170"/>
                        </a:lnTo>
                        <a:lnTo>
                          <a:pt x="164457" y="1076213"/>
                        </a:lnTo>
                        <a:lnTo>
                          <a:pt x="172483" y="1075888"/>
                        </a:lnTo>
                        <a:lnTo>
                          <a:pt x="187711" y="1074825"/>
                        </a:lnTo>
                        <a:lnTo>
                          <a:pt x="196171" y="1073696"/>
                        </a:lnTo>
                        <a:lnTo>
                          <a:pt x="203048" y="1071765"/>
                        </a:lnTo>
                        <a:lnTo>
                          <a:pt x="209317" y="1069055"/>
                        </a:lnTo>
                        <a:lnTo>
                          <a:pt x="214307" y="1065779"/>
                        </a:lnTo>
                        <a:lnTo>
                          <a:pt x="224654" y="1057406"/>
                        </a:lnTo>
                        <a:lnTo>
                          <a:pt x="231032" y="1051874"/>
                        </a:lnTo>
                        <a:lnTo>
                          <a:pt x="240923" y="1041917"/>
                        </a:lnTo>
                        <a:lnTo>
                          <a:pt x="248407" y="1033652"/>
                        </a:lnTo>
                        <a:lnTo>
                          <a:pt x="251401" y="1030637"/>
                        </a:lnTo>
                        <a:lnTo>
                          <a:pt x="254459" y="1026710"/>
                        </a:lnTo>
                        <a:lnTo>
                          <a:pt x="257192" y="1022069"/>
                        </a:lnTo>
                        <a:lnTo>
                          <a:pt x="258126" y="1019943"/>
                        </a:lnTo>
                        <a:lnTo>
                          <a:pt x="259448" y="1015582"/>
                        </a:lnTo>
                        <a:lnTo>
                          <a:pt x="260338" y="1010246"/>
                        </a:lnTo>
                        <a:lnTo>
                          <a:pt x="266650" y="984041"/>
                        </a:lnTo>
                        <a:lnTo>
                          <a:pt x="267669" y="981850"/>
                        </a:lnTo>
                        <a:lnTo>
                          <a:pt x="269232" y="979660"/>
                        </a:lnTo>
                        <a:lnTo>
                          <a:pt x="271401" y="977555"/>
                        </a:lnTo>
                        <a:lnTo>
                          <a:pt x="273028" y="976536"/>
                        </a:lnTo>
                        <a:lnTo>
                          <a:pt x="278755" y="973174"/>
                        </a:lnTo>
                        <a:lnTo>
                          <a:pt x="283397" y="970961"/>
                        </a:lnTo>
                        <a:lnTo>
                          <a:pt x="311641" y="960397"/>
                        </a:lnTo>
                        <a:lnTo>
                          <a:pt x="315046" y="958965"/>
                        </a:lnTo>
                        <a:lnTo>
                          <a:pt x="329146" y="953065"/>
                        </a:lnTo>
                        <a:lnTo>
                          <a:pt x="343094" y="949463"/>
                        </a:lnTo>
                        <a:lnTo>
                          <a:pt x="353073" y="947295"/>
                        </a:lnTo>
                        <a:lnTo>
                          <a:pt x="366610" y="944041"/>
                        </a:lnTo>
                        <a:lnTo>
                          <a:pt x="371295" y="942847"/>
                        </a:lnTo>
                        <a:lnTo>
                          <a:pt x="384527" y="938097"/>
                        </a:lnTo>
                        <a:lnTo>
                          <a:pt x="396871" y="931589"/>
                        </a:lnTo>
                        <a:lnTo>
                          <a:pt x="405721" y="926318"/>
                        </a:lnTo>
                        <a:lnTo>
                          <a:pt x="415352" y="919810"/>
                        </a:lnTo>
                        <a:lnTo>
                          <a:pt x="422511" y="911958"/>
                        </a:lnTo>
                        <a:lnTo>
                          <a:pt x="429127" y="903259"/>
                        </a:lnTo>
                        <a:lnTo>
                          <a:pt x="433183" y="897619"/>
                        </a:lnTo>
                        <a:lnTo>
                          <a:pt x="435374" y="891957"/>
                        </a:lnTo>
                        <a:lnTo>
                          <a:pt x="435808" y="885775"/>
                        </a:lnTo>
                        <a:lnTo>
                          <a:pt x="434853" y="879658"/>
                        </a:lnTo>
                        <a:lnTo>
                          <a:pt x="433097" y="875102"/>
                        </a:lnTo>
                        <a:lnTo>
                          <a:pt x="417347" y="855731"/>
                        </a:lnTo>
                        <a:lnTo>
                          <a:pt x="411252" y="848269"/>
                        </a:lnTo>
                        <a:lnTo>
                          <a:pt x="402271" y="830372"/>
                        </a:lnTo>
                        <a:lnTo>
                          <a:pt x="398866" y="820698"/>
                        </a:lnTo>
                        <a:lnTo>
                          <a:pt x="396827" y="810740"/>
                        </a:lnTo>
                        <a:lnTo>
                          <a:pt x="396176" y="807465"/>
                        </a:lnTo>
                        <a:lnTo>
                          <a:pt x="386327" y="773169"/>
                        </a:lnTo>
                        <a:lnTo>
                          <a:pt x="376024" y="756293"/>
                        </a:lnTo>
                        <a:lnTo>
                          <a:pt x="350686" y="714773"/>
                        </a:lnTo>
                        <a:lnTo>
                          <a:pt x="332986" y="685771"/>
                        </a:lnTo>
                        <a:lnTo>
                          <a:pt x="292073" y="641887"/>
                        </a:lnTo>
                        <a:lnTo>
                          <a:pt x="252789" y="598610"/>
                        </a:lnTo>
                        <a:lnTo>
                          <a:pt x="242007" y="581603"/>
                        </a:lnTo>
                        <a:lnTo>
                          <a:pt x="216757" y="525571"/>
                        </a:lnTo>
                        <a:lnTo>
                          <a:pt x="211161" y="515571"/>
                        </a:lnTo>
                        <a:lnTo>
                          <a:pt x="222658" y="512621"/>
                        </a:lnTo>
                        <a:lnTo>
                          <a:pt x="240272" y="509367"/>
                        </a:lnTo>
                        <a:lnTo>
                          <a:pt x="244524" y="508239"/>
                        </a:lnTo>
                        <a:lnTo>
                          <a:pt x="251770" y="505766"/>
                        </a:lnTo>
                        <a:lnTo>
                          <a:pt x="254741" y="504465"/>
                        </a:lnTo>
                        <a:lnTo>
                          <a:pt x="260815" y="501167"/>
                        </a:lnTo>
                        <a:lnTo>
                          <a:pt x="264741" y="498391"/>
                        </a:lnTo>
                        <a:lnTo>
                          <a:pt x="270728" y="493727"/>
                        </a:lnTo>
                        <a:lnTo>
                          <a:pt x="273548" y="491970"/>
                        </a:lnTo>
                        <a:lnTo>
                          <a:pt x="276498" y="490452"/>
                        </a:lnTo>
                        <a:lnTo>
                          <a:pt x="279514" y="489128"/>
                        </a:lnTo>
                        <a:lnTo>
                          <a:pt x="283635" y="487653"/>
                        </a:lnTo>
                        <a:lnTo>
                          <a:pt x="291163" y="485701"/>
                        </a:lnTo>
                        <a:lnTo>
                          <a:pt x="296087" y="484616"/>
                        </a:lnTo>
                        <a:lnTo>
                          <a:pt x="301836" y="484161"/>
                        </a:lnTo>
                        <a:lnTo>
                          <a:pt x="306716" y="484356"/>
                        </a:lnTo>
                        <a:lnTo>
                          <a:pt x="313854" y="485527"/>
                        </a:lnTo>
                        <a:lnTo>
                          <a:pt x="320274" y="485961"/>
                        </a:lnTo>
                        <a:lnTo>
                          <a:pt x="326739" y="485765"/>
                        </a:lnTo>
                        <a:lnTo>
                          <a:pt x="332899" y="485006"/>
                        </a:lnTo>
                        <a:lnTo>
                          <a:pt x="336174" y="484356"/>
                        </a:lnTo>
                        <a:lnTo>
                          <a:pt x="339862" y="483380"/>
                        </a:lnTo>
                        <a:lnTo>
                          <a:pt x="345763" y="481233"/>
                        </a:lnTo>
                        <a:lnTo>
                          <a:pt x="350513" y="478825"/>
                        </a:lnTo>
                        <a:lnTo>
                          <a:pt x="353355" y="476959"/>
                        </a:lnTo>
                        <a:lnTo>
                          <a:pt x="355937" y="474897"/>
                        </a:lnTo>
                        <a:lnTo>
                          <a:pt x="357498" y="473965"/>
                        </a:lnTo>
                        <a:lnTo>
                          <a:pt x="359928" y="472880"/>
                        </a:lnTo>
                        <a:lnTo>
                          <a:pt x="363139" y="471926"/>
                        </a:lnTo>
                        <a:lnTo>
                          <a:pt x="365871" y="471448"/>
                        </a:lnTo>
                        <a:lnTo>
                          <a:pt x="389170" y="469041"/>
                        </a:lnTo>
                        <a:lnTo>
                          <a:pt x="415135" y="466048"/>
                        </a:lnTo>
                        <a:lnTo>
                          <a:pt x="437782" y="459735"/>
                        </a:lnTo>
                        <a:lnTo>
                          <a:pt x="452750" y="455591"/>
                        </a:lnTo>
                        <a:lnTo>
                          <a:pt x="457306" y="454572"/>
                        </a:lnTo>
                        <a:lnTo>
                          <a:pt x="463379" y="453553"/>
                        </a:lnTo>
                        <a:lnTo>
                          <a:pt x="466850" y="453162"/>
                        </a:lnTo>
                        <a:lnTo>
                          <a:pt x="490061" y="452273"/>
                        </a:lnTo>
                        <a:lnTo>
                          <a:pt x="496048" y="452056"/>
                        </a:lnTo>
                        <a:lnTo>
                          <a:pt x="503271" y="451079"/>
                        </a:lnTo>
                        <a:lnTo>
                          <a:pt x="509909" y="449452"/>
                        </a:lnTo>
                        <a:lnTo>
                          <a:pt x="516048" y="447197"/>
                        </a:lnTo>
                        <a:lnTo>
                          <a:pt x="519671" y="445418"/>
                        </a:lnTo>
                        <a:lnTo>
                          <a:pt x="523532" y="443032"/>
                        </a:lnTo>
                        <a:lnTo>
                          <a:pt x="531190" y="436372"/>
                        </a:lnTo>
                        <a:lnTo>
                          <a:pt x="538587" y="430341"/>
                        </a:lnTo>
                        <a:lnTo>
                          <a:pt x="541884" y="428584"/>
                        </a:lnTo>
                        <a:lnTo>
                          <a:pt x="545962" y="427001"/>
                        </a:lnTo>
                        <a:lnTo>
                          <a:pt x="549347" y="426047"/>
                        </a:lnTo>
                        <a:lnTo>
                          <a:pt x="552860" y="425352"/>
                        </a:lnTo>
                        <a:lnTo>
                          <a:pt x="567763" y="424116"/>
                        </a:lnTo>
                        <a:lnTo>
                          <a:pt x="577894" y="422880"/>
                        </a:lnTo>
                        <a:lnTo>
                          <a:pt x="582731" y="422120"/>
                        </a:lnTo>
                        <a:lnTo>
                          <a:pt x="586679" y="421057"/>
                        </a:lnTo>
                        <a:lnTo>
                          <a:pt x="589455" y="419994"/>
                        </a:lnTo>
                        <a:lnTo>
                          <a:pt x="592103" y="418671"/>
                        </a:lnTo>
                        <a:lnTo>
                          <a:pt x="594684" y="416936"/>
                        </a:lnTo>
                        <a:lnTo>
                          <a:pt x="648177" y="384636"/>
                        </a:lnTo>
                        <a:lnTo>
                          <a:pt x="666030" y="375590"/>
                        </a:lnTo>
                        <a:lnTo>
                          <a:pt x="687462" y="362618"/>
                        </a:lnTo>
                        <a:lnTo>
                          <a:pt x="690065" y="361273"/>
                        </a:lnTo>
                        <a:lnTo>
                          <a:pt x="693341" y="359950"/>
                        </a:lnTo>
                        <a:lnTo>
                          <a:pt x="695879" y="359169"/>
                        </a:lnTo>
                        <a:lnTo>
                          <a:pt x="699306" y="358345"/>
                        </a:lnTo>
                        <a:lnTo>
                          <a:pt x="703667" y="357715"/>
                        </a:lnTo>
                        <a:lnTo>
                          <a:pt x="707636" y="357455"/>
                        </a:lnTo>
                        <a:lnTo>
                          <a:pt x="795838" y="355980"/>
                        </a:lnTo>
                        <a:lnTo>
                          <a:pt x="804579" y="341532"/>
                        </a:lnTo>
                        <a:lnTo>
                          <a:pt x="808940" y="334287"/>
                        </a:lnTo>
                        <a:lnTo>
                          <a:pt x="807595" y="333593"/>
                        </a:lnTo>
                        <a:lnTo>
                          <a:pt x="807227" y="333094"/>
                        </a:lnTo>
                        <a:lnTo>
                          <a:pt x="807313" y="332248"/>
                        </a:lnTo>
                        <a:lnTo>
                          <a:pt x="806836" y="332162"/>
                        </a:lnTo>
                        <a:lnTo>
                          <a:pt x="817465" y="314396"/>
                        </a:lnTo>
                        <a:lnTo>
                          <a:pt x="818876" y="311684"/>
                        </a:lnTo>
                        <a:lnTo>
                          <a:pt x="821175" y="306304"/>
                        </a:lnTo>
                        <a:lnTo>
                          <a:pt x="822867" y="301206"/>
                        </a:lnTo>
                        <a:lnTo>
                          <a:pt x="824363" y="294004"/>
                        </a:lnTo>
                        <a:lnTo>
                          <a:pt x="825426" y="283635"/>
                        </a:lnTo>
                        <a:lnTo>
                          <a:pt x="824753" y="280512"/>
                        </a:lnTo>
                        <a:lnTo>
                          <a:pt x="824407" y="273635"/>
                        </a:lnTo>
                        <a:lnTo>
                          <a:pt x="825925" y="272725"/>
                        </a:lnTo>
                        <a:lnTo>
                          <a:pt x="825253" y="269709"/>
                        </a:lnTo>
                        <a:lnTo>
                          <a:pt x="824645" y="267106"/>
                        </a:lnTo>
                        <a:lnTo>
                          <a:pt x="824342" y="267128"/>
                        </a:lnTo>
                        <a:lnTo>
                          <a:pt x="824233" y="266737"/>
                        </a:lnTo>
                        <a:lnTo>
                          <a:pt x="823257" y="266759"/>
                        </a:lnTo>
                        <a:lnTo>
                          <a:pt x="822541" y="266542"/>
                        </a:lnTo>
                        <a:lnTo>
                          <a:pt x="821804" y="265956"/>
                        </a:lnTo>
                        <a:lnTo>
                          <a:pt x="821478" y="261986"/>
                        </a:lnTo>
                        <a:lnTo>
                          <a:pt x="818441" y="253830"/>
                        </a:lnTo>
                        <a:lnTo>
                          <a:pt x="815795" y="248927"/>
                        </a:lnTo>
                        <a:lnTo>
                          <a:pt x="811868" y="244719"/>
                        </a:lnTo>
                        <a:lnTo>
                          <a:pt x="811760" y="244004"/>
                        </a:lnTo>
                        <a:lnTo>
                          <a:pt x="812021" y="243613"/>
                        </a:lnTo>
                        <a:lnTo>
                          <a:pt x="813408" y="242854"/>
                        </a:lnTo>
                        <a:lnTo>
                          <a:pt x="810415" y="238993"/>
                        </a:lnTo>
                        <a:lnTo>
                          <a:pt x="808723" y="239101"/>
                        </a:lnTo>
                        <a:lnTo>
                          <a:pt x="807378" y="238667"/>
                        </a:lnTo>
                        <a:lnTo>
                          <a:pt x="804255" y="234784"/>
                        </a:lnTo>
                        <a:lnTo>
                          <a:pt x="799374" y="230597"/>
                        </a:lnTo>
                        <a:lnTo>
                          <a:pt x="793430" y="226107"/>
                        </a:lnTo>
                        <a:lnTo>
                          <a:pt x="786987" y="221899"/>
                        </a:lnTo>
                        <a:lnTo>
                          <a:pt x="780501" y="218211"/>
                        </a:lnTo>
                        <a:lnTo>
                          <a:pt x="773364" y="214827"/>
                        </a:lnTo>
                        <a:lnTo>
                          <a:pt x="765577" y="211595"/>
                        </a:lnTo>
                        <a:lnTo>
                          <a:pt x="758288" y="208992"/>
                        </a:lnTo>
                        <a:lnTo>
                          <a:pt x="748461" y="206193"/>
                        </a:lnTo>
                        <a:lnTo>
                          <a:pt x="729980" y="201725"/>
                        </a:lnTo>
                        <a:lnTo>
                          <a:pt x="716031" y="197972"/>
                        </a:lnTo>
                        <a:lnTo>
                          <a:pt x="711475" y="196648"/>
                        </a:lnTo>
                        <a:lnTo>
                          <a:pt x="651497" y="177364"/>
                        </a:lnTo>
                        <a:lnTo>
                          <a:pt x="636854" y="172657"/>
                        </a:lnTo>
                        <a:lnTo>
                          <a:pt x="629370" y="170597"/>
                        </a:lnTo>
                        <a:lnTo>
                          <a:pt x="620779" y="168535"/>
                        </a:lnTo>
                        <a:lnTo>
                          <a:pt x="610389" y="166540"/>
                        </a:lnTo>
                        <a:lnTo>
                          <a:pt x="578002" y="161594"/>
                        </a:lnTo>
                        <a:lnTo>
                          <a:pt x="578458" y="160444"/>
                        </a:lnTo>
                        <a:lnTo>
                          <a:pt x="575117" y="159967"/>
                        </a:lnTo>
                        <a:lnTo>
                          <a:pt x="572535" y="159598"/>
                        </a:lnTo>
                        <a:lnTo>
                          <a:pt x="572275" y="159924"/>
                        </a:lnTo>
                        <a:lnTo>
                          <a:pt x="571863" y="159880"/>
                        </a:lnTo>
                        <a:lnTo>
                          <a:pt x="571581" y="160617"/>
                        </a:lnTo>
                        <a:lnTo>
                          <a:pt x="555377" y="158209"/>
                        </a:lnTo>
                        <a:lnTo>
                          <a:pt x="425439" y="137103"/>
                        </a:lnTo>
                        <a:lnTo>
                          <a:pt x="416892" y="135888"/>
                        </a:lnTo>
                        <a:lnTo>
                          <a:pt x="405915" y="134782"/>
                        </a:lnTo>
                        <a:lnTo>
                          <a:pt x="399213" y="134348"/>
                        </a:lnTo>
                        <a:lnTo>
                          <a:pt x="386783" y="134109"/>
                        </a:lnTo>
                        <a:lnTo>
                          <a:pt x="379733" y="134283"/>
                        </a:lnTo>
                        <a:lnTo>
                          <a:pt x="373768" y="134608"/>
                        </a:lnTo>
                        <a:lnTo>
                          <a:pt x="372944" y="134370"/>
                        </a:lnTo>
                        <a:lnTo>
                          <a:pt x="372748" y="133936"/>
                        </a:lnTo>
                        <a:lnTo>
                          <a:pt x="370536" y="134109"/>
                        </a:lnTo>
                        <a:lnTo>
                          <a:pt x="368909" y="127580"/>
                        </a:lnTo>
                        <a:lnTo>
                          <a:pt x="371772" y="127298"/>
                        </a:lnTo>
                        <a:lnTo>
                          <a:pt x="372835" y="125715"/>
                        </a:lnTo>
                        <a:lnTo>
                          <a:pt x="370622" y="117124"/>
                        </a:lnTo>
                        <a:lnTo>
                          <a:pt x="352704" y="115910"/>
                        </a:lnTo>
                        <a:lnTo>
                          <a:pt x="340448" y="66516"/>
                        </a:lnTo>
                        <a:lnTo>
                          <a:pt x="349364" y="66234"/>
                        </a:lnTo>
                        <a:lnTo>
                          <a:pt x="490321" y="52763"/>
                        </a:lnTo>
                        <a:lnTo>
                          <a:pt x="541429" y="47036"/>
                        </a:lnTo>
                        <a:lnTo>
                          <a:pt x="597786" y="40680"/>
                        </a:lnTo>
                        <a:lnTo>
                          <a:pt x="785013" y="18185"/>
                        </a:lnTo>
                        <a:lnTo>
                          <a:pt x="920982" y="12393"/>
                        </a:lnTo>
                        <a:lnTo>
                          <a:pt x="974692" y="10116"/>
                        </a:lnTo>
                        <a:lnTo>
                          <a:pt x="1047492" y="10180"/>
                        </a:lnTo>
                        <a:lnTo>
                          <a:pt x="1186281" y="10354"/>
                        </a:lnTo>
                        <a:lnTo>
                          <a:pt x="1247952" y="8857"/>
                        </a:lnTo>
                        <a:lnTo>
                          <a:pt x="1287519" y="7925"/>
                        </a:lnTo>
                        <a:lnTo>
                          <a:pt x="1340839" y="7144"/>
                        </a:lnTo>
                        <a:lnTo>
                          <a:pt x="1377738" y="10983"/>
                        </a:lnTo>
                        <a:lnTo>
                          <a:pt x="1404767" y="19161"/>
                        </a:lnTo>
                        <a:lnTo>
                          <a:pt x="1425440" y="28576"/>
                        </a:lnTo>
                        <a:lnTo>
                          <a:pt x="1446438" y="38099"/>
                        </a:lnTo>
                        <a:lnTo>
                          <a:pt x="1492903" y="69683"/>
                        </a:lnTo>
                        <a:lnTo>
                          <a:pt x="1555725" y="103046"/>
                        </a:lnTo>
                        <a:lnTo>
                          <a:pt x="1636225" y="145758"/>
                        </a:lnTo>
                        <a:lnTo>
                          <a:pt x="1717833" y="189165"/>
                        </a:lnTo>
                        <a:lnTo>
                          <a:pt x="1788983" y="226975"/>
                        </a:lnTo>
                        <a:lnTo>
                          <a:pt x="1840503" y="252637"/>
                        </a:lnTo>
                        <a:lnTo>
                          <a:pt x="1892066" y="273180"/>
                        </a:lnTo>
                        <a:lnTo>
                          <a:pt x="1937099" y="287453"/>
                        </a:lnTo>
                        <a:lnTo>
                          <a:pt x="1987925" y="300534"/>
                        </a:lnTo>
                        <a:lnTo>
                          <a:pt x="2042200" y="310491"/>
                        </a:lnTo>
                        <a:lnTo>
                          <a:pt x="2093480" y="316717"/>
                        </a:lnTo>
                        <a:lnTo>
                          <a:pt x="2146974" y="319624"/>
                        </a:lnTo>
                        <a:lnTo>
                          <a:pt x="2202962" y="319949"/>
                        </a:lnTo>
                        <a:lnTo>
                          <a:pt x="2252703" y="317150"/>
                        </a:lnTo>
                        <a:lnTo>
                          <a:pt x="2307303" y="312074"/>
                        </a:lnTo>
                        <a:lnTo>
                          <a:pt x="2593145" y="285327"/>
                        </a:lnTo>
                        <a:lnTo>
                          <a:pt x="3097342" y="164392"/>
                        </a:lnTo>
                        <a:lnTo>
                          <a:pt x="3103264" y="253201"/>
                        </a:lnTo>
                        <a:lnTo>
                          <a:pt x="3113243" y="416567"/>
                        </a:lnTo>
                        <a:lnTo>
                          <a:pt x="3115434" y="452468"/>
                        </a:lnTo>
                        <a:lnTo>
                          <a:pt x="3120814" y="525940"/>
                        </a:lnTo>
                        <a:lnTo>
                          <a:pt x="3121833" y="539585"/>
                        </a:lnTo>
                        <a:lnTo>
                          <a:pt x="3127191" y="616138"/>
                        </a:lnTo>
                        <a:lnTo>
                          <a:pt x="2727638" y="724014"/>
                        </a:lnTo>
                        <a:lnTo>
                          <a:pt x="2718506" y="726465"/>
                        </a:lnTo>
                        <a:lnTo>
                          <a:pt x="2624881" y="751781"/>
                        </a:lnTo>
                        <a:lnTo>
                          <a:pt x="2602993" y="776705"/>
                        </a:lnTo>
                        <a:lnTo>
                          <a:pt x="2558632" y="827314"/>
                        </a:lnTo>
                        <a:lnTo>
                          <a:pt x="2548567" y="838789"/>
                        </a:lnTo>
                        <a:lnTo>
                          <a:pt x="2548111" y="845969"/>
                        </a:lnTo>
                        <a:lnTo>
                          <a:pt x="2546832" y="848962"/>
                        </a:lnTo>
                        <a:lnTo>
                          <a:pt x="2546397" y="848854"/>
                        </a:lnTo>
                        <a:lnTo>
                          <a:pt x="2545009" y="851587"/>
                        </a:lnTo>
                        <a:lnTo>
                          <a:pt x="2545834" y="851739"/>
                        </a:lnTo>
                        <a:lnTo>
                          <a:pt x="2544901" y="853540"/>
                        </a:lnTo>
                        <a:lnTo>
                          <a:pt x="2542992" y="856295"/>
                        </a:lnTo>
                        <a:lnTo>
                          <a:pt x="2540736" y="858833"/>
                        </a:lnTo>
                        <a:lnTo>
                          <a:pt x="2536006" y="863019"/>
                        </a:lnTo>
                        <a:lnTo>
                          <a:pt x="2530410" y="867249"/>
                        </a:lnTo>
                        <a:lnTo>
                          <a:pt x="2523815" y="871544"/>
                        </a:lnTo>
                        <a:lnTo>
                          <a:pt x="2519867" y="873823"/>
                        </a:lnTo>
                        <a:lnTo>
                          <a:pt x="2511147" y="878377"/>
                        </a:lnTo>
                        <a:lnTo>
                          <a:pt x="2503121" y="882152"/>
                        </a:lnTo>
                        <a:lnTo>
                          <a:pt x="2491428" y="887077"/>
                        </a:lnTo>
                        <a:lnTo>
                          <a:pt x="2486093" y="889028"/>
                        </a:lnTo>
                        <a:lnTo>
                          <a:pt x="2481645" y="890265"/>
                        </a:lnTo>
                        <a:lnTo>
                          <a:pt x="2473034" y="891892"/>
                        </a:lnTo>
                        <a:lnTo>
                          <a:pt x="2468695" y="892391"/>
                        </a:lnTo>
                        <a:lnTo>
                          <a:pt x="2464312" y="892521"/>
                        </a:lnTo>
                        <a:lnTo>
                          <a:pt x="2458174" y="892044"/>
                        </a:lnTo>
                        <a:lnTo>
                          <a:pt x="2453923" y="891285"/>
                        </a:lnTo>
                        <a:lnTo>
                          <a:pt x="2442382" y="888356"/>
                        </a:lnTo>
                        <a:lnTo>
                          <a:pt x="2426937" y="885319"/>
                        </a:lnTo>
                        <a:lnTo>
                          <a:pt x="2418998" y="883562"/>
                        </a:lnTo>
                        <a:lnTo>
                          <a:pt x="2403857" y="879896"/>
                        </a:lnTo>
                        <a:lnTo>
                          <a:pt x="2398975" y="878963"/>
                        </a:lnTo>
                        <a:lnTo>
                          <a:pt x="2392186" y="877900"/>
                        </a:lnTo>
                        <a:lnTo>
                          <a:pt x="2382402" y="876729"/>
                        </a:lnTo>
                        <a:lnTo>
                          <a:pt x="2376285" y="876360"/>
                        </a:lnTo>
                        <a:lnTo>
                          <a:pt x="2370298" y="876382"/>
                        </a:lnTo>
                        <a:lnTo>
                          <a:pt x="2334267" y="878920"/>
                        </a:lnTo>
                        <a:lnTo>
                          <a:pt x="2325980" y="879700"/>
                        </a:lnTo>
                        <a:lnTo>
                          <a:pt x="2312857" y="881436"/>
                        </a:lnTo>
                        <a:lnTo>
                          <a:pt x="2296110" y="884387"/>
                        </a:lnTo>
                        <a:lnTo>
                          <a:pt x="2291446" y="885514"/>
                        </a:lnTo>
                        <a:lnTo>
                          <a:pt x="2287498" y="886686"/>
                        </a:lnTo>
                        <a:lnTo>
                          <a:pt x="2283724" y="887987"/>
                        </a:lnTo>
                        <a:lnTo>
                          <a:pt x="2277866" y="890439"/>
                        </a:lnTo>
                        <a:lnTo>
                          <a:pt x="2274786" y="892022"/>
                        </a:lnTo>
                        <a:lnTo>
                          <a:pt x="2271228" y="894170"/>
                        </a:lnTo>
                        <a:lnTo>
                          <a:pt x="2265241" y="898986"/>
                        </a:lnTo>
                        <a:lnTo>
                          <a:pt x="2259645" y="895970"/>
                        </a:lnTo>
                        <a:lnTo>
                          <a:pt x="2242335" y="887900"/>
                        </a:lnTo>
                        <a:lnTo>
                          <a:pt x="2237648" y="885428"/>
                        </a:lnTo>
                        <a:lnTo>
                          <a:pt x="2152571" y="839874"/>
                        </a:lnTo>
                        <a:lnTo>
                          <a:pt x="2150228" y="838724"/>
                        </a:lnTo>
                        <a:lnTo>
                          <a:pt x="2143937" y="836381"/>
                        </a:lnTo>
                        <a:lnTo>
                          <a:pt x="2098101" y="811825"/>
                        </a:lnTo>
                        <a:lnTo>
                          <a:pt x="1905406" y="709329"/>
                        </a:lnTo>
                        <a:lnTo>
                          <a:pt x="1749178" y="625986"/>
                        </a:lnTo>
                        <a:lnTo>
                          <a:pt x="1726617" y="614163"/>
                        </a:lnTo>
                        <a:lnTo>
                          <a:pt x="1713277" y="608067"/>
                        </a:lnTo>
                        <a:lnTo>
                          <a:pt x="1704275" y="604445"/>
                        </a:lnTo>
                        <a:lnTo>
                          <a:pt x="1698266" y="602168"/>
                        </a:lnTo>
                        <a:lnTo>
                          <a:pt x="1689827" y="599282"/>
                        </a:lnTo>
                        <a:lnTo>
                          <a:pt x="1683016" y="597026"/>
                        </a:lnTo>
                        <a:lnTo>
                          <a:pt x="1676487" y="595095"/>
                        </a:lnTo>
                        <a:lnTo>
                          <a:pt x="1661801" y="591191"/>
                        </a:lnTo>
                        <a:lnTo>
                          <a:pt x="1653124" y="589217"/>
                        </a:lnTo>
                        <a:lnTo>
                          <a:pt x="1637766" y="586159"/>
                        </a:lnTo>
                        <a:lnTo>
                          <a:pt x="1638438" y="584987"/>
                        </a:lnTo>
                        <a:lnTo>
                          <a:pt x="1633904" y="584142"/>
                        </a:lnTo>
                        <a:lnTo>
                          <a:pt x="1633275" y="585378"/>
                        </a:lnTo>
                        <a:lnTo>
                          <a:pt x="1620411" y="583035"/>
                        </a:lnTo>
                        <a:lnTo>
                          <a:pt x="1615488" y="593166"/>
                        </a:lnTo>
                        <a:lnTo>
                          <a:pt x="1614685" y="593035"/>
                        </a:lnTo>
                        <a:lnTo>
                          <a:pt x="1614338" y="593686"/>
                        </a:lnTo>
                        <a:lnTo>
                          <a:pt x="1618394" y="594402"/>
                        </a:lnTo>
                        <a:lnTo>
                          <a:pt x="1618850" y="596116"/>
                        </a:lnTo>
                        <a:lnTo>
                          <a:pt x="1612341" y="599782"/>
                        </a:lnTo>
                        <a:lnTo>
                          <a:pt x="1601799" y="605009"/>
                        </a:lnTo>
                        <a:lnTo>
                          <a:pt x="1592537" y="608502"/>
                        </a:lnTo>
                        <a:lnTo>
                          <a:pt x="1584098" y="610996"/>
                        </a:lnTo>
                        <a:lnTo>
                          <a:pt x="1560779" y="620085"/>
                        </a:lnTo>
                        <a:lnTo>
                          <a:pt x="1553794" y="622559"/>
                        </a:lnTo>
                        <a:lnTo>
                          <a:pt x="1550171" y="623469"/>
                        </a:lnTo>
                        <a:lnTo>
                          <a:pt x="1547937" y="624490"/>
                        </a:lnTo>
                        <a:lnTo>
                          <a:pt x="1547655" y="625074"/>
                        </a:lnTo>
                        <a:lnTo>
                          <a:pt x="1543685" y="620259"/>
                        </a:lnTo>
                        <a:lnTo>
                          <a:pt x="1538588" y="613491"/>
                        </a:lnTo>
                        <a:lnTo>
                          <a:pt x="1519802" y="644338"/>
                        </a:lnTo>
                        <a:lnTo>
                          <a:pt x="1467306" y="707419"/>
                        </a:lnTo>
                        <a:lnTo>
                          <a:pt x="1441926" y="740283"/>
                        </a:lnTo>
                        <a:lnTo>
                          <a:pt x="1421578" y="760154"/>
                        </a:lnTo>
                        <a:lnTo>
                          <a:pt x="1410776" y="770739"/>
                        </a:lnTo>
                        <a:lnTo>
                          <a:pt x="1409604" y="775750"/>
                        </a:lnTo>
                        <a:lnTo>
                          <a:pt x="1405721" y="781998"/>
                        </a:lnTo>
                        <a:lnTo>
                          <a:pt x="1370492" y="816575"/>
                        </a:lnTo>
                        <a:lnTo>
                          <a:pt x="1347260" y="837943"/>
                        </a:lnTo>
                        <a:lnTo>
                          <a:pt x="1337629" y="848203"/>
                        </a:lnTo>
                        <a:lnTo>
                          <a:pt x="1331316" y="854494"/>
                        </a:lnTo>
                        <a:lnTo>
                          <a:pt x="1304244" y="881697"/>
                        </a:lnTo>
                        <a:lnTo>
                          <a:pt x="1278603" y="909289"/>
                        </a:lnTo>
                        <a:lnTo>
                          <a:pt x="1261597" y="924278"/>
                        </a:lnTo>
                        <a:lnTo>
                          <a:pt x="1254590" y="928856"/>
                        </a:lnTo>
                        <a:lnTo>
                          <a:pt x="1246976" y="933867"/>
                        </a:lnTo>
                        <a:lnTo>
                          <a:pt x="1236347" y="939485"/>
                        </a:lnTo>
                        <a:lnTo>
                          <a:pt x="1207778" y="952479"/>
                        </a:lnTo>
                        <a:lnTo>
                          <a:pt x="1188991" y="959898"/>
                        </a:lnTo>
                        <a:lnTo>
                          <a:pt x="1192441" y="964193"/>
                        </a:lnTo>
                        <a:lnTo>
                          <a:pt x="1186237" y="966168"/>
                        </a:lnTo>
                        <a:lnTo>
                          <a:pt x="1185131" y="966840"/>
                        </a:lnTo>
                        <a:lnTo>
                          <a:pt x="1185564" y="967490"/>
                        </a:lnTo>
                        <a:lnTo>
                          <a:pt x="1166475" y="972848"/>
                        </a:lnTo>
                        <a:lnTo>
                          <a:pt x="1165932" y="972848"/>
                        </a:lnTo>
                        <a:lnTo>
                          <a:pt x="1159403" y="975083"/>
                        </a:lnTo>
                        <a:lnTo>
                          <a:pt x="1150076" y="977512"/>
                        </a:lnTo>
                        <a:lnTo>
                          <a:pt x="1130835" y="982132"/>
                        </a:lnTo>
                        <a:lnTo>
                          <a:pt x="1127689" y="982458"/>
                        </a:lnTo>
                        <a:lnTo>
                          <a:pt x="1125238" y="983087"/>
                        </a:lnTo>
                        <a:lnTo>
                          <a:pt x="1087862" y="994150"/>
                        </a:lnTo>
                        <a:lnTo>
                          <a:pt x="1069727" y="999769"/>
                        </a:lnTo>
                        <a:lnTo>
                          <a:pt x="1064976" y="1001331"/>
                        </a:lnTo>
                        <a:lnTo>
                          <a:pt x="1063804" y="1001851"/>
                        </a:lnTo>
                        <a:lnTo>
                          <a:pt x="1059769" y="1003001"/>
                        </a:lnTo>
                        <a:lnTo>
                          <a:pt x="1060832" y="1003630"/>
                        </a:lnTo>
                        <a:lnTo>
                          <a:pt x="1054152" y="1004541"/>
                        </a:lnTo>
                        <a:lnTo>
                          <a:pt x="1046211" y="1006276"/>
                        </a:lnTo>
                        <a:lnTo>
                          <a:pt x="1043630" y="1006623"/>
                        </a:lnTo>
                        <a:lnTo>
                          <a:pt x="1034737" y="1007752"/>
                        </a:lnTo>
                        <a:lnTo>
                          <a:pt x="1015886" y="1010202"/>
                        </a:lnTo>
                        <a:lnTo>
                          <a:pt x="1015539" y="1029184"/>
                        </a:lnTo>
                        <a:lnTo>
                          <a:pt x="986471" y="1027644"/>
                        </a:lnTo>
                        <a:lnTo>
                          <a:pt x="977642" y="1027362"/>
                        </a:lnTo>
                        <a:lnTo>
                          <a:pt x="971481" y="1027557"/>
                        </a:lnTo>
                        <a:lnTo>
                          <a:pt x="968292" y="1027882"/>
                        </a:lnTo>
                        <a:lnTo>
                          <a:pt x="965429" y="1028425"/>
                        </a:lnTo>
                        <a:lnTo>
                          <a:pt x="957381" y="1030507"/>
                        </a:lnTo>
                        <a:lnTo>
                          <a:pt x="952934" y="1032134"/>
                        </a:lnTo>
                        <a:lnTo>
                          <a:pt x="945993" y="1034065"/>
                        </a:lnTo>
                        <a:lnTo>
                          <a:pt x="942261" y="1034477"/>
                        </a:lnTo>
                        <a:lnTo>
                          <a:pt x="938357" y="1035561"/>
                        </a:lnTo>
                        <a:lnTo>
                          <a:pt x="933238" y="1038728"/>
                        </a:lnTo>
                        <a:lnTo>
                          <a:pt x="928747" y="1040659"/>
                        </a:lnTo>
                        <a:lnTo>
                          <a:pt x="920786" y="1043544"/>
                        </a:lnTo>
                        <a:lnTo>
                          <a:pt x="902890" y="1049596"/>
                        </a:lnTo>
                        <a:lnTo>
                          <a:pt x="883627" y="1029574"/>
                        </a:lnTo>
                        <a:lnTo>
                          <a:pt x="853171" y="1029965"/>
                        </a:lnTo>
                        <a:lnTo>
                          <a:pt x="728939" y="1006992"/>
                        </a:lnTo>
                        <a:lnTo>
                          <a:pt x="691541" y="1019812"/>
                        </a:lnTo>
                        <a:lnTo>
                          <a:pt x="695315" y="1023891"/>
                        </a:lnTo>
                        <a:lnTo>
                          <a:pt x="669935" y="1032655"/>
                        </a:lnTo>
                        <a:lnTo>
                          <a:pt x="663861" y="1032416"/>
                        </a:lnTo>
                        <a:lnTo>
                          <a:pt x="651865" y="1032416"/>
                        </a:lnTo>
                        <a:lnTo>
                          <a:pt x="648828" y="1032394"/>
                        </a:lnTo>
                        <a:lnTo>
                          <a:pt x="643730" y="1031982"/>
                        </a:lnTo>
                        <a:lnTo>
                          <a:pt x="626376" y="1031135"/>
                        </a:lnTo>
                        <a:lnTo>
                          <a:pt x="626441" y="1034932"/>
                        </a:lnTo>
                        <a:lnTo>
                          <a:pt x="626073" y="1041700"/>
                        </a:lnTo>
                        <a:lnTo>
                          <a:pt x="625530" y="1044824"/>
                        </a:lnTo>
                        <a:lnTo>
                          <a:pt x="624467" y="1048750"/>
                        </a:lnTo>
                        <a:lnTo>
                          <a:pt x="623447" y="1051418"/>
                        </a:lnTo>
                        <a:lnTo>
                          <a:pt x="620888" y="1056864"/>
                        </a:lnTo>
                        <a:lnTo>
                          <a:pt x="618611" y="1060486"/>
                        </a:lnTo>
                        <a:lnTo>
                          <a:pt x="616094" y="1063740"/>
                        </a:lnTo>
                        <a:lnTo>
                          <a:pt x="611582" y="1068664"/>
                        </a:lnTo>
                        <a:lnTo>
                          <a:pt x="605291" y="1074152"/>
                        </a:lnTo>
                        <a:lnTo>
                          <a:pt x="601364" y="1076994"/>
                        </a:lnTo>
                        <a:lnTo>
                          <a:pt x="597612" y="1079424"/>
                        </a:lnTo>
                        <a:lnTo>
                          <a:pt x="600020" y="1082287"/>
                        </a:lnTo>
                        <a:lnTo>
                          <a:pt x="581039" y="1089293"/>
                        </a:lnTo>
                        <a:lnTo>
                          <a:pt x="552665" y="1098035"/>
                        </a:lnTo>
                        <a:lnTo>
                          <a:pt x="535789" y="1102201"/>
                        </a:lnTo>
                        <a:lnTo>
                          <a:pt x="489995" y="1115910"/>
                        </a:lnTo>
                        <a:lnTo>
                          <a:pt x="477480" y="1119598"/>
                        </a:lnTo>
                        <a:lnTo>
                          <a:pt x="426892" y="1132635"/>
                        </a:lnTo>
                        <a:lnTo>
                          <a:pt x="418345" y="1134501"/>
                        </a:lnTo>
                        <a:lnTo>
                          <a:pt x="410493" y="1135846"/>
                        </a:lnTo>
                        <a:lnTo>
                          <a:pt x="401165" y="1137082"/>
                        </a:lnTo>
                        <a:lnTo>
                          <a:pt x="391360" y="1138101"/>
                        </a:lnTo>
                        <a:lnTo>
                          <a:pt x="398627" y="1183916"/>
                        </a:lnTo>
                        <a:lnTo>
                          <a:pt x="411968" y="1267367"/>
                        </a:lnTo>
                        <a:lnTo>
                          <a:pt x="373789" y="1273766"/>
                        </a:lnTo>
                        <a:lnTo>
                          <a:pt x="362205" y="1274851"/>
                        </a:lnTo>
                        <a:lnTo>
                          <a:pt x="355741" y="1275827"/>
                        </a:lnTo>
                        <a:lnTo>
                          <a:pt x="351641" y="1277215"/>
                        </a:lnTo>
                        <a:lnTo>
                          <a:pt x="348387" y="1279037"/>
                        </a:lnTo>
                        <a:lnTo>
                          <a:pt x="335025" y="1288755"/>
                        </a:lnTo>
                        <a:lnTo>
                          <a:pt x="344678" y="1294352"/>
                        </a:lnTo>
                        <a:lnTo>
                          <a:pt x="354375" y="1300773"/>
                        </a:lnTo>
                        <a:lnTo>
                          <a:pt x="357086" y="1303225"/>
                        </a:lnTo>
                        <a:lnTo>
                          <a:pt x="356479" y="1304830"/>
                        </a:lnTo>
                        <a:lnTo>
                          <a:pt x="348539" y="1317065"/>
                        </a:lnTo>
                        <a:lnTo>
                          <a:pt x="344266" y="1323073"/>
                        </a:lnTo>
                        <a:lnTo>
                          <a:pt x="343615" y="1324591"/>
                        </a:lnTo>
                        <a:lnTo>
                          <a:pt x="344548" y="1325155"/>
                        </a:lnTo>
                        <a:lnTo>
                          <a:pt x="354483" y="1328518"/>
                        </a:lnTo>
                        <a:lnTo>
                          <a:pt x="381728" y="1338908"/>
                        </a:lnTo>
                        <a:lnTo>
                          <a:pt x="382987" y="1339667"/>
                        </a:lnTo>
                        <a:lnTo>
                          <a:pt x="382835" y="1340622"/>
                        </a:lnTo>
                        <a:lnTo>
                          <a:pt x="383291" y="1341490"/>
                        </a:lnTo>
                        <a:lnTo>
                          <a:pt x="386240" y="1343074"/>
                        </a:lnTo>
                        <a:lnTo>
                          <a:pt x="420645" y="1357260"/>
                        </a:lnTo>
                        <a:lnTo>
                          <a:pt x="404484" y="1375807"/>
                        </a:lnTo>
                        <a:lnTo>
                          <a:pt x="400080" y="1381578"/>
                        </a:lnTo>
                        <a:lnTo>
                          <a:pt x="379321" y="1404117"/>
                        </a:lnTo>
                        <a:lnTo>
                          <a:pt x="351989" y="1403704"/>
                        </a:lnTo>
                        <a:lnTo>
                          <a:pt x="344048" y="1403443"/>
                        </a:lnTo>
                        <a:lnTo>
                          <a:pt x="339862" y="1403617"/>
                        </a:lnTo>
                        <a:lnTo>
                          <a:pt x="308994" y="1404008"/>
                        </a:lnTo>
                        <a:lnTo>
                          <a:pt x="307172" y="1391643"/>
                        </a:lnTo>
                        <a:lnTo>
                          <a:pt x="280924" y="1376848"/>
                        </a:lnTo>
                        <a:lnTo>
                          <a:pt x="230575" y="1362966"/>
                        </a:lnTo>
                        <a:lnTo>
                          <a:pt x="212853" y="1357564"/>
                        </a:lnTo>
                        <a:lnTo>
                          <a:pt x="199621" y="1352140"/>
                        </a:lnTo>
                        <a:lnTo>
                          <a:pt x="175304" y="1341251"/>
                        </a:lnTo>
                        <a:lnTo>
                          <a:pt x="165781" y="1337390"/>
                        </a:lnTo>
                        <a:lnTo>
                          <a:pt x="156258" y="1334656"/>
                        </a:lnTo>
                        <a:lnTo>
                          <a:pt x="145585" y="1332965"/>
                        </a:lnTo>
                        <a:lnTo>
                          <a:pt x="130877" y="1332141"/>
                        </a:lnTo>
                        <a:lnTo>
                          <a:pt x="115128" y="1332466"/>
                        </a:lnTo>
                        <a:lnTo>
                          <a:pt x="96690" y="1332487"/>
                        </a:lnTo>
                        <a:lnTo>
                          <a:pt x="73565" y="1330448"/>
                        </a:lnTo>
                        <a:lnTo>
                          <a:pt x="48945" y="1324982"/>
                        </a:lnTo>
                        <a:lnTo>
                          <a:pt x="32935" y="1315763"/>
                        </a:lnTo>
                        <a:lnTo>
                          <a:pt x="30420" y="1313615"/>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sp>
                <p:nvSpPr>
                  <p:cNvPr id="58" name="Freeform: Shape 57">
                    <a:extLst>
                      <a:ext uri="{FF2B5EF4-FFF2-40B4-BE49-F238E27FC236}">
                        <a16:creationId xmlns:a16="http://schemas.microsoft.com/office/drawing/2014/main" id="{7D5EC13C-5846-42D7-A930-E7F392ECB8D5}"/>
                      </a:ext>
                    </a:extLst>
                  </p:cNvPr>
                  <p:cNvSpPr/>
                  <p:nvPr/>
                </p:nvSpPr>
                <p:spPr>
                  <a:xfrm>
                    <a:off x="5612072" y="3731847"/>
                    <a:ext cx="1379742" cy="580610"/>
                  </a:xfrm>
                  <a:custGeom>
                    <a:avLst/>
                    <a:gdLst>
                      <a:gd name="connsiteX0" fmla="*/ 3954412 w 4857750"/>
                      <a:gd name="connsiteY0" fmla="*/ 1206238 h 1362075"/>
                      <a:gd name="connsiteX1" fmla="*/ 3450215 w 4857750"/>
                      <a:gd name="connsiteY1" fmla="*/ 1327173 h 1362075"/>
                      <a:gd name="connsiteX2" fmla="*/ 3164373 w 4857750"/>
                      <a:gd name="connsiteY2" fmla="*/ 1353920 h 1362075"/>
                      <a:gd name="connsiteX3" fmla="*/ 3109773 w 4857750"/>
                      <a:gd name="connsiteY3" fmla="*/ 1358996 h 1362075"/>
                      <a:gd name="connsiteX4" fmla="*/ 3060031 w 4857750"/>
                      <a:gd name="connsiteY4" fmla="*/ 1361794 h 1362075"/>
                      <a:gd name="connsiteX5" fmla="*/ 3004044 w 4857750"/>
                      <a:gd name="connsiteY5" fmla="*/ 1361469 h 1362075"/>
                      <a:gd name="connsiteX6" fmla="*/ 2950550 w 4857750"/>
                      <a:gd name="connsiteY6" fmla="*/ 1358562 h 1362075"/>
                      <a:gd name="connsiteX7" fmla="*/ 2899269 w 4857750"/>
                      <a:gd name="connsiteY7" fmla="*/ 1352337 h 1362075"/>
                      <a:gd name="connsiteX8" fmla="*/ 2844994 w 4857750"/>
                      <a:gd name="connsiteY8" fmla="*/ 1342379 h 1362075"/>
                      <a:gd name="connsiteX9" fmla="*/ 2794169 w 4857750"/>
                      <a:gd name="connsiteY9" fmla="*/ 1329299 h 1362075"/>
                      <a:gd name="connsiteX10" fmla="*/ 2749135 w 4857750"/>
                      <a:gd name="connsiteY10" fmla="*/ 1315025 h 1362075"/>
                      <a:gd name="connsiteX11" fmla="*/ 2697573 w 4857750"/>
                      <a:gd name="connsiteY11" fmla="*/ 1294483 h 1362075"/>
                      <a:gd name="connsiteX12" fmla="*/ 2646053 w 4857750"/>
                      <a:gd name="connsiteY12" fmla="*/ 1268820 h 1362075"/>
                      <a:gd name="connsiteX13" fmla="*/ 2574902 w 4857750"/>
                      <a:gd name="connsiteY13" fmla="*/ 1231010 h 1362075"/>
                      <a:gd name="connsiteX14" fmla="*/ 2493294 w 4857750"/>
                      <a:gd name="connsiteY14" fmla="*/ 1187604 h 1362075"/>
                      <a:gd name="connsiteX15" fmla="*/ 2412794 w 4857750"/>
                      <a:gd name="connsiteY15" fmla="*/ 1144892 h 1362075"/>
                      <a:gd name="connsiteX16" fmla="*/ 2349972 w 4857750"/>
                      <a:gd name="connsiteY16" fmla="*/ 1111528 h 1362075"/>
                      <a:gd name="connsiteX17" fmla="*/ 2303507 w 4857750"/>
                      <a:gd name="connsiteY17" fmla="*/ 1079945 h 1362075"/>
                      <a:gd name="connsiteX18" fmla="*/ 2282509 w 4857750"/>
                      <a:gd name="connsiteY18" fmla="*/ 1070421 h 1362075"/>
                      <a:gd name="connsiteX19" fmla="*/ 2261836 w 4857750"/>
                      <a:gd name="connsiteY19" fmla="*/ 1061007 h 1362075"/>
                      <a:gd name="connsiteX20" fmla="*/ 2234807 w 4857750"/>
                      <a:gd name="connsiteY20" fmla="*/ 1052829 h 1362075"/>
                      <a:gd name="connsiteX21" fmla="*/ 2197908 w 4857750"/>
                      <a:gd name="connsiteY21" fmla="*/ 1048989 h 1362075"/>
                      <a:gd name="connsiteX22" fmla="*/ 2144588 w 4857750"/>
                      <a:gd name="connsiteY22" fmla="*/ 1049770 h 1362075"/>
                      <a:gd name="connsiteX23" fmla="*/ 2105021 w 4857750"/>
                      <a:gd name="connsiteY23" fmla="*/ 1050703 h 1362075"/>
                      <a:gd name="connsiteX24" fmla="*/ 2043350 w 4857750"/>
                      <a:gd name="connsiteY24" fmla="*/ 1052199 h 1362075"/>
                      <a:gd name="connsiteX25" fmla="*/ 1904561 w 4857750"/>
                      <a:gd name="connsiteY25" fmla="*/ 1052026 h 1362075"/>
                      <a:gd name="connsiteX26" fmla="*/ 1831762 w 4857750"/>
                      <a:gd name="connsiteY26" fmla="*/ 1051961 h 1362075"/>
                      <a:gd name="connsiteX27" fmla="*/ 1778051 w 4857750"/>
                      <a:gd name="connsiteY27" fmla="*/ 1054239 h 1362075"/>
                      <a:gd name="connsiteX28" fmla="*/ 1642082 w 4857750"/>
                      <a:gd name="connsiteY28" fmla="*/ 1060031 h 1362075"/>
                      <a:gd name="connsiteX29" fmla="*/ 1454855 w 4857750"/>
                      <a:gd name="connsiteY29" fmla="*/ 1082526 h 1362075"/>
                      <a:gd name="connsiteX30" fmla="*/ 1398498 w 4857750"/>
                      <a:gd name="connsiteY30" fmla="*/ 1088882 h 1362075"/>
                      <a:gd name="connsiteX31" fmla="*/ 1347390 w 4857750"/>
                      <a:gd name="connsiteY31" fmla="*/ 1094608 h 1362075"/>
                      <a:gd name="connsiteX32" fmla="*/ 1206433 w 4857750"/>
                      <a:gd name="connsiteY32" fmla="*/ 1108079 h 1362075"/>
                      <a:gd name="connsiteX33" fmla="*/ 1197517 w 4857750"/>
                      <a:gd name="connsiteY33" fmla="*/ 1108361 h 1362075"/>
                      <a:gd name="connsiteX34" fmla="*/ 1156107 w 4857750"/>
                      <a:gd name="connsiteY34" fmla="*/ 1109598 h 1362075"/>
                      <a:gd name="connsiteX35" fmla="*/ 1133069 w 4857750"/>
                      <a:gd name="connsiteY35" fmla="*/ 1108990 h 1362075"/>
                      <a:gd name="connsiteX36" fmla="*/ 1109403 w 4857750"/>
                      <a:gd name="connsiteY36" fmla="*/ 1106062 h 1362075"/>
                      <a:gd name="connsiteX37" fmla="*/ 1106755 w 4857750"/>
                      <a:gd name="connsiteY37" fmla="*/ 1105606 h 1362075"/>
                      <a:gd name="connsiteX38" fmla="*/ 1098014 w 4857750"/>
                      <a:gd name="connsiteY38" fmla="*/ 1104174 h 1362075"/>
                      <a:gd name="connsiteX39" fmla="*/ 1086495 w 4857750"/>
                      <a:gd name="connsiteY39" fmla="*/ 1102048 h 1362075"/>
                      <a:gd name="connsiteX40" fmla="*/ 1061289 w 4857750"/>
                      <a:gd name="connsiteY40" fmla="*/ 1096430 h 1362075"/>
                      <a:gd name="connsiteX41" fmla="*/ 1038533 w 4857750"/>
                      <a:gd name="connsiteY41" fmla="*/ 1089684 h 1362075"/>
                      <a:gd name="connsiteX42" fmla="*/ 1016818 w 4857750"/>
                      <a:gd name="connsiteY42" fmla="*/ 1082005 h 1362075"/>
                      <a:gd name="connsiteX43" fmla="*/ 1013196 w 4857750"/>
                      <a:gd name="connsiteY43" fmla="*/ 1080529 h 1362075"/>
                      <a:gd name="connsiteX44" fmla="*/ 993413 w 4857750"/>
                      <a:gd name="connsiteY44" fmla="*/ 1072590 h 1362075"/>
                      <a:gd name="connsiteX45" fmla="*/ 975711 w 4857750"/>
                      <a:gd name="connsiteY45" fmla="*/ 1063544 h 1362075"/>
                      <a:gd name="connsiteX46" fmla="*/ 969031 w 4857750"/>
                      <a:gd name="connsiteY46" fmla="*/ 1059749 h 1362075"/>
                      <a:gd name="connsiteX47" fmla="*/ 956427 w 4857750"/>
                      <a:gd name="connsiteY47" fmla="*/ 1052568 h 1362075"/>
                      <a:gd name="connsiteX48" fmla="*/ 941091 w 4857750"/>
                      <a:gd name="connsiteY48" fmla="*/ 1042047 h 1362075"/>
                      <a:gd name="connsiteX49" fmla="*/ 938748 w 4857750"/>
                      <a:gd name="connsiteY49" fmla="*/ 1040442 h 1362075"/>
                      <a:gd name="connsiteX50" fmla="*/ 922500 w 4857750"/>
                      <a:gd name="connsiteY50" fmla="*/ 1026754 h 1362075"/>
                      <a:gd name="connsiteX51" fmla="*/ 909397 w 4857750"/>
                      <a:gd name="connsiteY51" fmla="*/ 1013847 h 1362075"/>
                      <a:gd name="connsiteX52" fmla="*/ 897532 w 4857750"/>
                      <a:gd name="connsiteY52" fmla="*/ 1000485 h 1362075"/>
                      <a:gd name="connsiteX53" fmla="*/ 886317 w 4857750"/>
                      <a:gd name="connsiteY53" fmla="*/ 983955 h 1362075"/>
                      <a:gd name="connsiteX54" fmla="*/ 878313 w 4857750"/>
                      <a:gd name="connsiteY54" fmla="*/ 968489 h 1362075"/>
                      <a:gd name="connsiteX55" fmla="*/ 873605 w 4857750"/>
                      <a:gd name="connsiteY55" fmla="*/ 956319 h 1362075"/>
                      <a:gd name="connsiteX56" fmla="*/ 861089 w 4857750"/>
                      <a:gd name="connsiteY56" fmla="*/ 917945 h 1362075"/>
                      <a:gd name="connsiteX57" fmla="*/ 852217 w 4857750"/>
                      <a:gd name="connsiteY57" fmla="*/ 890851 h 1362075"/>
                      <a:gd name="connsiteX58" fmla="*/ 837270 w 4857750"/>
                      <a:gd name="connsiteY58" fmla="*/ 845036 h 1362075"/>
                      <a:gd name="connsiteX59" fmla="*/ 830199 w 4857750"/>
                      <a:gd name="connsiteY59" fmla="*/ 828290 h 1362075"/>
                      <a:gd name="connsiteX60" fmla="*/ 820546 w 4857750"/>
                      <a:gd name="connsiteY60" fmla="*/ 812238 h 1362075"/>
                      <a:gd name="connsiteX61" fmla="*/ 808485 w 4857750"/>
                      <a:gd name="connsiteY61" fmla="*/ 798311 h 1362075"/>
                      <a:gd name="connsiteX62" fmla="*/ 794341 w 4857750"/>
                      <a:gd name="connsiteY62" fmla="*/ 785730 h 1362075"/>
                      <a:gd name="connsiteX63" fmla="*/ 784645 w 4857750"/>
                      <a:gd name="connsiteY63" fmla="*/ 778657 h 1362075"/>
                      <a:gd name="connsiteX64" fmla="*/ 745924 w 4857750"/>
                      <a:gd name="connsiteY64" fmla="*/ 750458 h 1362075"/>
                      <a:gd name="connsiteX65" fmla="*/ 661020 w 4857750"/>
                      <a:gd name="connsiteY65" fmla="*/ 686139 h 1362075"/>
                      <a:gd name="connsiteX66" fmla="*/ 592493 w 4857750"/>
                      <a:gd name="connsiteY66" fmla="*/ 635704 h 1362075"/>
                      <a:gd name="connsiteX67" fmla="*/ 393963 w 4857750"/>
                      <a:gd name="connsiteY67" fmla="*/ 492599 h 1362075"/>
                      <a:gd name="connsiteX68" fmla="*/ 338474 w 4857750"/>
                      <a:gd name="connsiteY68" fmla="*/ 452859 h 1362075"/>
                      <a:gd name="connsiteX69" fmla="*/ 254112 w 4857750"/>
                      <a:gd name="connsiteY69" fmla="*/ 403964 h 1362075"/>
                      <a:gd name="connsiteX70" fmla="*/ 184175 w 4857750"/>
                      <a:gd name="connsiteY70" fmla="*/ 372966 h 1362075"/>
                      <a:gd name="connsiteX71" fmla="*/ 178796 w 4857750"/>
                      <a:gd name="connsiteY71" fmla="*/ 371013 h 1362075"/>
                      <a:gd name="connsiteX72" fmla="*/ 119142 w 4857750"/>
                      <a:gd name="connsiteY72" fmla="*/ 349386 h 1362075"/>
                      <a:gd name="connsiteX73" fmla="*/ 7144 w 4857750"/>
                      <a:gd name="connsiteY73" fmla="*/ 318539 h 1362075"/>
                      <a:gd name="connsiteX74" fmla="*/ 15105 w 4857750"/>
                      <a:gd name="connsiteY74" fmla="*/ 311164 h 1362075"/>
                      <a:gd name="connsiteX75" fmla="*/ 88685 w 4857750"/>
                      <a:gd name="connsiteY75" fmla="*/ 243830 h 1362075"/>
                      <a:gd name="connsiteX76" fmla="*/ 92178 w 4857750"/>
                      <a:gd name="connsiteY76" fmla="*/ 239752 h 1362075"/>
                      <a:gd name="connsiteX77" fmla="*/ 94803 w 4857750"/>
                      <a:gd name="connsiteY77" fmla="*/ 234958 h 1362075"/>
                      <a:gd name="connsiteX78" fmla="*/ 96495 w 4857750"/>
                      <a:gd name="connsiteY78" fmla="*/ 230489 h 1362075"/>
                      <a:gd name="connsiteX79" fmla="*/ 97298 w 4857750"/>
                      <a:gd name="connsiteY79" fmla="*/ 227604 h 1362075"/>
                      <a:gd name="connsiteX80" fmla="*/ 97666 w 4857750"/>
                      <a:gd name="connsiteY80" fmla="*/ 224698 h 1362075"/>
                      <a:gd name="connsiteX81" fmla="*/ 97601 w 4857750"/>
                      <a:gd name="connsiteY81" fmla="*/ 221769 h 1362075"/>
                      <a:gd name="connsiteX82" fmla="*/ 97015 w 4857750"/>
                      <a:gd name="connsiteY82" fmla="*/ 217279 h 1362075"/>
                      <a:gd name="connsiteX83" fmla="*/ 95996 w 4857750"/>
                      <a:gd name="connsiteY83" fmla="*/ 214329 h 1362075"/>
                      <a:gd name="connsiteX84" fmla="*/ 94196 w 4857750"/>
                      <a:gd name="connsiteY84" fmla="*/ 211009 h 1362075"/>
                      <a:gd name="connsiteX85" fmla="*/ 88945 w 4857750"/>
                      <a:gd name="connsiteY85" fmla="*/ 203829 h 1362075"/>
                      <a:gd name="connsiteX86" fmla="*/ 61158 w 4857750"/>
                      <a:gd name="connsiteY86" fmla="*/ 167646 h 1362075"/>
                      <a:gd name="connsiteX87" fmla="*/ 56407 w 4857750"/>
                      <a:gd name="connsiteY87" fmla="*/ 160900 h 1362075"/>
                      <a:gd name="connsiteX88" fmla="*/ 54758 w 4857750"/>
                      <a:gd name="connsiteY88" fmla="*/ 157863 h 1362075"/>
                      <a:gd name="connsiteX89" fmla="*/ 53457 w 4857750"/>
                      <a:gd name="connsiteY89" fmla="*/ 154240 h 1362075"/>
                      <a:gd name="connsiteX90" fmla="*/ 52698 w 4857750"/>
                      <a:gd name="connsiteY90" fmla="*/ 148101 h 1362075"/>
                      <a:gd name="connsiteX91" fmla="*/ 52828 w 4857750"/>
                      <a:gd name="connsiteY91" fmla="*/ 146040 h 1362075"/>
                      <a:gd name="connsiteX92" fmla="*/ 53782 w 4857750"/>
                      <a:gd name="connsiteY92" fmla="*/ 141594 h 1362075"/>
                      <a:gd name="connsiteX93" fmla="*/ 55648 w 4857750"/>
                      <a:gd name="connsiteY93" fmla="*/ 136430 h 1362075"/>
                      <a:gd name="connsiteX94" fmla="*/ 57210 w 4857750"/>
                      <a:gd name="connsiteY94" fmla="*/ 133676 h 1362075"/>
                      <a:gd name="connsiteX95" fmla="*/ 59184 w 4857750"/>
                      <a:gd name="connsiteY95" fmla="*/ 130791 h 1362075"/>
                      <a:gd name="connsiteX96" fmla="*/ 62047 w 4857750"/>
                      <a:gd name="connsiteY96" fmla="*/ 127666 h 1362075"/>
                      <a:gd name="connsiteX97" fmla="*/ 65193 w 4857750"/>
                      <a:gd name="connsiteY97" fmla="*/ 124803 h 1362075"/>
                      <a:gd name="connsiteX98" fmla="*/ 119359 w 4857750"/>
                      <a:gd name="connsiteY98" fmla="*/ 77579 h 1362075"/>
                      <a:gd name="connsiteX99" fmla="*/ 153394 w 4857750"/>
                      <a:gd name="connsiteY99" fmla="*/ 48402 h 1362075"/>
                      <a:gd name="connsiteX100" fmla="*/ 155759 w 4857750"/>
                      <a:gd name="connsiteY100" fmla="*/ 45279 h 1362075"/>
                      <a:gd name="connsiteX101" fmla="*/ 158080 w 4857750"/>
                      <a:gd name="connsiteY101" fmla="*/ 41266 h 1362075"/>
                      <a:gd name="connsiteX102" fmla="*/ 158883 w 4857750"/>
                      <a:gd name="connsiteY102" fmla="*/ 39270 h 1362075"/>
                      <a:gd name="connsiteX103" fmla="*/ 159729 w 4857750"/>
                      <a:gd name="connsiteY103" fmla="*/ 35343 h 1362075"/>
                      <a:gd name="connsiteX104" fmla="*/ 159468 w 4857750"/>
                      <a:gd name="connsiteY104" fmla="*/ 32524 h 1362075"/>
                      <a:gd name="connsiteX105" fmla="*/ 158795 w 4857750"/>
                      <a:gd name="connsiteY105" fmla="*/ 30550 h 1362075"/>
                      <a:gd name="connsiteX106" fmla="*/ 161030 w 4857750"/>
                      <a:gd name="connsiteY106" fmla="*/ 30029 h 1362075"/>
                      <a:gd name="connsiteX107" fmla="*/ 158275 w 4857750"/>
                      <a:gd name="connsiteY107" fmla="*/ 23131 h 1362075"/>
                      <a:gd name="connsiteX108" fmla="*/ 162050 w 4857750"/>
                      <a:gd name="connsiteY108" fmla="*/ 22524 h 1362075"/>
                      <a:gd name="connsiteX109" fmla="*/ 191009 w 4857750"/>
                      <a:gd name="connsiteY109" fmla="*/ 16124 h 1362075"/>
                      <a:gd name="connsiteX110" fmla="*/ 191421 w 4857750"/>
                      <a:gd name="connsiteY110" fmla="*/ 13738 h 1362075"/>
                      <a:gd name="connsiteX111" fmla="*/ 205998 w 4857750"/>
                      <a:gd name="connsiteY111" fmla="*/ 10723 h 1362075"/>
                      <a:gd name="connsiteX112" fmla="*/ 208927 w 4857750"/>
                      <a:gd name="connsiteY112" fmla="*/ 9942 h 1362075"/>
                      <a:gd name="connsiteX113" fmla="*/ 211595 w 4857750"/>
                      <a:gd name="connsiteY113" fmla="*/ 10116 h 1362075"/>
                      <a:gd name="connsiteX114" fmla="*/ 214220 w 4857750"/>
                      <a:gd name="connsiteY114" fmla="*/ 10072 h 1362075"/>
                      <a:gd name="connsiteX115" fmla="*/ 217019 w 4857750"/>
                      <a:gd name="connsiteY115" fmla="*/ 9616 h 1362075"/>
                      <a:gd name="connsiteX116" fmla="*/ 221053 w 4857750"/>
                      <a:gd name="connsiteY116" fmla="*/ 8445 h 1362075"/>
                      <a:gd name="connsiteX117" fmla="*/ 229556 w 4857750"/>
                      <a:gd name="connsiteY117" fmla="*/ 7144 h 1362075"/>
                      <a:gd name="connsiteX118" fmla="*/ 234308 w 4857750"/>
                      <a:gd name="connsiteY118" fmla="*/ 7599 h 1362075"/>
                      <a:gd name="connsiteX119" fmla="*/ 245305 w 4857750"/>
                      <a:gd name="connsiteY119" fmla="*/ 7273 h 1362075"/>
                      <a:gd name="connsiteX120" fmla="*/ 251834 w 4857750"/>
                      <a:gd name="connsiteY120" fmla="*/ 7881 h 1362075"/>
                      <a:gd name="connsiteX121" fmla="*/ 272139 w 4857750"/>
                      <a:gd name="connsiteY121" fmla="*/ 10506 h 1362075"/>
                      <a:gd name="connsiteX122" fmla="*/ 281618 w 4857750"/>
                      <a:gd name="connsiteY122" fmla="*/ 12719 h 1362075"/>
                      <a:gd name="connsiteX123" fmla="*/ 289840 w 4857750"/>
                      <a:gd name="connsiteY123" fmla="*/ 14996 h 1362075"/>
                      <a:gd name="connsiteX124" fmla="*/ 293527 w 4857750"/>
                      <a:gd name="connsiteY124" fmla="*/ 16233 h 1362075"/>
                      <a:gd name="connsiteX125" fmla="*/ 294568 w 4857750"/>
                      <a:gd name="connsiteY125" fmla="*/ 16754 h 1362075"/>
                      <a:gd name="connsiteX126" fmla="*/ 310512 w 4857750"/>
                      <a:gd name="connsiteY126" fmla="*/ 27361 h 1362075"/>
                      <a:gd name="connsiteX127" fmla="*/ 313376 w 4857750"/>
                      <a:gd name="connsiteY127" fmla="*/ 25647 h 1362075"/>
                      <a:gd name="connsiteX128" fmla="*/ 314027 w 4857750"/>
                      <a:gd name="connsiteY128" fmla="*/ 24932 h 1362075"/>
                      <a:gd name="connsiteX129" fmla="*/ 314808 w 4857750"/>
                      <a:gd name="connsiteY129" fmla="*/ 23348 h 1362075"/>
                      <a:gd name="connsiteX130" fmla="*/ 315654 w 4857750"/>
                      <a:gd name="connsiteY130" fmla="*/ 22546 h 1362075"/>
                      <a:gd name="connsiteX131" fmla="*/ 316521 w 4857750"/>
                      <a:gd name="connsiteY131" fmla="*/ 22068 h 1362075"/>
                      <a:gd name="connsiteX132" fmla="*/ 319167 w 4857750"/>
                      <a:gd name="connsiteY132" fmla="*/ 21439 h 1362075"/>
                      <a:gd name="connsiteX133" fmla="*/ 321380 w 4857750"/>
                      <a:gd name="connsiteY133" fmla="*/ 20376 h 1362075"/>
                      <a:gd name="connsiteX134" fmla="*/ 322986 w 4857750"/>
                      <a:gd name="connsiteY134" fmla="*/ 18880 h 1362075"/>
                      <a:gd name="connsiteX135" fmla="*/ 330036 w 4857750"/>
                      <a:gd name="connsiteY135" fmla="*/ 14064 h 1362075"/>
                      <a:gd name="connsiteX136" fmla="*/ 333160 w 4857750"/>
                      <a:gd name="connsiteY136" fmla="*/ 13283 h 1362075"/>
                      <a:gd name="connsiteX137" fmla="*/ 337867 w 4857750"/>
                      <a:gd name="connsiteY137" fmla="*/ 17773 h 1362075"/>
                      <a:gd name="connsiteX138" fmla="*/ 347932 w 4857750"/>
                      <a:gd name="connsiteY138" fmla="*/ 19486 h 1362075"/>
                      <a:gd name="connsiteX139" fmla="*/ 354418 w 4857750"/>
                      <a:gd name="connsiteY139" fmla="*/ 20918 h 1362075"/>
                      <a:gd name="connsiteX140" fmla="*/ 362662 w 4857750"/>
                      <a:gd name="connsiteY140" fmla="*/ 23652 h 1362075"/>
                      <a:gd name="connsiteX141" fmla="*/ 365352 w 4857750"/>
                      <a:gd name="connsiteY141" fmla="*/ 24801 h 1362075"/>
                      <a:gd name="connsiteX142" fmla="*/ 370167 w 4857750"/>
                      <a:gd name="connsiteY142" fmla="*/ 27382 h 1362075"/>
                      <a:gd name="connsiteX143" fmla="*/ 374440 w 4857750"/>
                      <a:gd name="connsiteY143" fmla="*/ 30354 h 1362075"/>
                      <a:gd name="connsiteX144" fmla="*/ 375048 w 4857750"/>
                      <a:gd name="connsiteY144" fmla="*/ 30376 h 1362075"/>
                      <a:gd name="connsiteX145" fmla="*/ 376458 w 4857750"/>
                      <a:gd name="connsiteY145" fmla="*/ 31786 h 1362075"/>
                      <a:gd name="connsiteX146" fmla="*/ 383182 w 4857750"/>
                      <a:gd name="connsiteY146" fmla="*/ 31483 h 1362075"/>
                      <a:gd name="connsiteX147" fmla="*/ 387543 w 4857750"/>
                      <a:gd name="connsiteY147" fmla="*/ 31765 h 1362075"/>
                      <a:gd name="connsiteX148" fmla="*/ 389452 w 4857750"/>
                      <a:gd name="connsiteY148" fmla="*/ 33001 h 1362075"/>
                      <a:gd name="connsiteX149" fmla="*/ 390753 w 4857750"/>
                      <a:gd name="connsiteY149" fmla="*/ 35170 h 1362075"/>
                      <a:gd name="connsiteX150" fmla="*/ 393963 w 4857750"/>
                      <a:gd name="connsiteY150" fmla="*/ 42307 h 1362075"/>
                      <a:gd name="connsiteX151" fmla="*/ 406306 w 4857750"/>
                      <a:gd name="connsiteY151" fmla="*/ 66017 h 1362075"/>
                      <a:gd name="connsiteX152" fmla="*/ 408649 w 4857750"/>
                      <a:gd name="connsiteY152" fmla="*/ 65865 h 1362075"/>
                      <a:gd name="connsiteX153" fmla="*/ 430841 w 4857750"/>
                      <a:gd name="connsiteY153" fmla="*/ 85649 h 1362075"/>
                      <a:gd name="connsiteX154" fmla="*/ 435916 w 4857750"/>
                      <a:gd name="connsiteY154" fmla="*/ 89618 h 1362075"/>
                      <a:gd name="connsiteX155" fmla="*/ 441058 w 4857750"/>
                      <a:gd name="connsiteY155" fmla="*/ 93306 h 1362075"/>
                      <a:gd name="connsiteX156" fmla="*/ 446525 w 4857750"/>
                      <a:gd name="connsiteY156" fmla="*/ 96777 h 1362075"/>
                      <a:gd name="connsiteX157" fmla="*/ 452295 w 4857750"/>
                      <a:gd name="connsiteY157" fmla="*/ 99988 h 1362075"/>
                      <a:gd name="connsiteX158" fmla="*/ 460538 w 4857750"/>
                      <a:gd name="connsiteY158" fmla="*/ 103523 h 1362075"/>
                      <a:gd name="connsiteX159" fmla="*/ 459670 w 4857750"/>
                      <a:gd name="connsiteY159" fmla="*/ 103675 h 1362075"/>
                      <a:gd name="connsiteX160" fmla="*/ 468195 w 4857750"/>
                      <a:gd name="connsiteY160" fmla="*/ 106777 h 1362075"/>
                      <a:gd name="connsiteX161" fmla="*/ 472209 w 4857750"/>
                      <a:gd name="connsiteY161" fmla="*/ 108057 h 1362075"/>
                      <a:gd name="connsiteX162" fmla="*/ 479020 w 4857750"/>
                      <a:gd name="connsiteY162" fmla="*/ 110075 h 1362075"/>
                      <a:gd name="connsiteX163" fmla="*/ 483401 w 4857750"/>
                      <a:gd name="connsiteY163" fmla="*/ 111181 h 1362075"/>
                      <a:gd name="connsiteX164" fmla="*/ 490712 w 4857750"/>
                      <a:gd name="connsiteY164" fmla="*/ 112612 h 1362075"/>
                      <a:gd name="connsiteX165" fmla="*/ 498630 w 4857750"/>
                      <a:gd name="connsiteY165" fmla="*/ 113849 h 1362075"/>
                      <a:gd name="connsiteX166" fmla="*/ 504898 w 4857750"/>
                      <a:gd name="connsiteY166" fmla="*/ 114673 h 1362075"/>
                      <a:gd name="connsiteX167" fmla="*/ 509215 w 4857750"/>
                      <a:gd name="connsiteY167" fmla="*/ 115042 h 1362075"/>
                      <a:gd name="connsiteX168" fmla="*/ 517893 w 4857750"/>
                      <a:gd name="connsiteY168" fmla="*/ 115389 h 1362075"/>
                      <a:gd name="connsiteX169" fmla="*/ 523598 w 4857750"/>
                      <a:gd name="connsiteY169" fmla="*/ 115346 h 1362075"/>
                      <a:gd name="connsiteX170" fmla="*/ 530236 w 4857750"/>
                      <a:gd name="connsiteY170" fmla="*/ 114977 h 1362075"/>
                      <a:gd name="connsiteX171" fmla="*/ 540952 w 4857750"/>
                      <a:gd name="connsiteY171" fmla="*/ 113957 h 1362075"/>
                      <a:gd name="connsiteX172" fmla="*/ 548219 w 4857750"/>
                      <a:gd name="connsiteY172" fmla="*/ 112981 h 1362075"/>
                      <a:gd name="connsiteX173" fmla="*/ 569499 w 4857750"/>
                      <a:gd name="connsiteY173" fmla="*/ 108360 h 1362075"/>
                      <a:gd name="connsiteX174" fmla="*/ 573620 w 4857750"/>
                      <a:gd name="connsiteY174" fmla="*/ 108165 h 1362075"/>
                      <a:gd name="connsiteX175" fmla="*/ 575877 w 4857750"/>
                      <a:gd name="connsiteY175" fmla="*/ 108339 h 1362075"/>
                      <a:gd name="connsiteX176" fmla="*/ 581994 w 4857750"/>
                      <a:gd name="connsiteY176" fmla="*/ 109358 h 1362075"/>
                      <a:gd name="connsiteX177" fmla="*/ 585226 w 4857750"/>
                      <a:gd name="connsiteY177" fmla="*/ 110226 h 1362075"/>
                      <a:gd name="connsiteX178" fmla="*/ 587309 w 4857750"/>
                      <a:gd name="connsiteY178" fmla="*/ 111050 h 1362075"/>
                      <a:gd name="connsiteX179" fmla="*/ 589824 w 4857750"/>
                      <a:gd name="connsiteY179" fmla="*/ 112439 h 1362075"/>
                      <a:gd name="connsiteX180" fmla="*/ 593013 w 4857750"/>
                      <a:gd name="connsiteY180" fmla="*/ 114478 h 1362075"/>
                      <a:gd name="connsiteX181" fmla="*/ 598372 w 4857750"/>
                      <a:gd name="connsiteY181" fmla="*/ 119163 h 1362075"/>
                      <a:gd name="connsiteX182" fmla="*/ 598719 w 4857750"/>
                      <a:gd name="connsiteY182" fmla="*/ 119272 h 1362075"/>
                      <a:gd name="connsiteX183" fmla="*/ 604988 w 4857750"/>
                      <a:gd name="connsiteY183" fmla="*/ 119077 h 1362075"/>
                      <a:gd name="connsiteX184" fmla="*/ 617417 w 4857750"/>
                      <a:gd name="connsiteY184" fmla="*/ 118144 h 1362075"/>
                      <a:gd name="connsiteX185" fmla="*/ 629956 w 4857750"/>
                      <a:gd name="connsiteY185" fmla="*/ 117450 h 1362075"/>
                      <a:gd name="connsiteX186" fmla="*/ 648763 w 4857750"/>
                      <a:gd name="connsiteY186" fmla="*/ 117037 h 1362075"/>
                      <a:gd name="connsiteX187" fmla="*/ 660629 w 4857750"/>
                      <a:gd name="connsiteY187" fmla="*/ 117016 h 1362075"/>
                      <a:gd name="connsiteX188" fmla="*/ 675901 w 4857750"/>
                      <a:gd name="connsiteY188" fmla="*/ 117537 h 1362075"/>
                      <a:gd name="connsiteX189" fmla="*/ 683059 w 4857750"/>
                      <a:gd name="connsiteY189" fmla="*/ 118079 h 1362075"/>
                      <a:gd name="connsiteX190" fmla="*/ 698352 w 4857750"/>
                      <a:gd name="connsiteY190" fmla="*/ 117970 h 1362075"/>
                      <a:gd name="connsiteX191" fmla="*/ 698201 w 4857750"/>
                      <a:gd name="connsiteY191" fmla="*/ 117775 h 1362075"/>
                      <a:gd name="connsiteX192" fmla="*/ 700716 w 4857750"/>
                      <a:gd name="connsiteY192" fmla="*/ 117623 h 1362075"/>
                      <a:gd name="connsiteX193" fmla="*/ 710890 w 4857750"/>
                      <a:gd name="connsiteY193" fmla="*/ 116907 h 1362075"/>
                      <a:gd name="connsiteX194" fmla="*/ 727528 w 4857750"/>
                      <a:gd name="connsiteY194" fmla="*/ 116538 h 1362075"/>
                      <a:gd name="connsiteX195" fmla="*/ 744210 w 4857750"/>
                      <a:gd name="connsiteY195" fmla="*/ 116582 h 1362075"/>
                      <a:gd name="connsiteX196" fmla="*/ 769829 w 4857750"/>
                      <a:gd name="connsiteY196" fmla="*/ 117927 h 1362075"/>
                      <a:gd name="connsiteX197" fmla="*/ 780262 w 4857750"/>
                      <a:gd name="connsiteY197" fmla="*/ 118621 h 1362075"/>
                      <a:gd name="connsiteX198" fmla="*/ 796510 w 4857750"/>
                      <a:gd name="connsiteY198" fmla="*/ 120183 h 1362075"/>
                      <a:gd name="connsiteX199" fmla="*/ 804277 w 4857750"/>
                      <a:gd name="connsiteY199" fmla="*/ 120573 h 1362075"/>
                      <a:gd name="connsiteX200" fmla="*/ 846165 w 4857750"/>
                      <a:gd name="connsiteY200" fmla="*/ 125194 h 1362075"/>
                      <a:gd name="connsiteX201" fmla="*/ 878898 w 4857750"/>
                      <a:gd name="connsiteY201" fmla="*/ 129576 h 1362075"/>
                      <a:gd name="connsiteX202" fmla="*/ 886144 w 4857750"/>
                      <a:gd name="connsiteY202" fmla="*/ 131008 h 1362075"/>
                      <a:gd name="connsiteX203" fmla="*/ 892565 w 4857750"/>
                      <a:gd name="connsiteY203" fmla="*/ 131767 h 1362075"/>
                      <a:gd name="connsiteX204" fmla="*/ 896751 w 4857750"/>
                      <a:gd name="connsiteY204" fmla="*/ 132548 h 1362075"/>
                      <a:gd name="connsiteX205" fmla="*/ 899767 w 4857750"/>
                      <a:gd name="connsiteY205" fmla="*/ 132939 h 1362075"/>
                      <a:gd name="connsiteX206" fmla="*/ 905797 w 4857750"/>
                      <a:gd name="connsiteY206" fmla="*/ 134370 h 1362075"/>
                      <a:gd name="connsiteX207" fmla="*/ 910895 w 4857750"/>
                      <a:gd name="connsiteY207" fmla="*/ 135194 h 1362075"/>
                      <a:gd name="connsiteX208" fmla="*/ 931959 w 4857750"/>
                      <a:gd name="connsiteY208" fmla="*/ 139511 h 1362075"/>
                      <a:gd name="connsiteX209" fmla="*/ 933281 w 4857750"/>
                      <a:gd name="connsiteY209" fmla="*/ 139337 h 1362075"/>
                      <a:gd name="connsiteX210" fmla="*/ 932761 w 4857750"/>
                      <a:gd name="connsiteY210" fmla="*/ 140704 h 1362075"/>
                      <a:gd name="connsiteX211" fmla="*/ 940527 w 4857750"/>
                      <a:gd name="connsiteY211" fmla="*/ 142005 h 1362075"/>
                      <a:gd name="connsiteX212" fmla="*/ 940548 w 4857750"/>
                      <a:gd name="connsiteY212" fmla="*/ 141377 h 1362075"/>
                      <a:gd name="connsiteX213" fmla="*/ 953846 w 4857750"/>
                      <a:gd name="connsiteY213" fmla="*/ 144240 h 1362075"/>
                      <a:gd name="connsiteX214" fmla="*/ 969096 w 4857750"/>
                      <a:gd name="connsiteY214" fmla="*/ 148210 h 1362075"/>
                      <a:gd name="connsiteX215" fmla="*/ 979182 w 4857750"/>
                      <a:gd name="connsiteY215" fmla="*/ 151095 h 1362075"/>
                      <a:gd name="connsiteX216" fmla="*/ 984258 w 4857750"/>
                      <a:gd name="connsiteY216" fmla="*/ 152787 h 1362075"/>
                      <a:gd name="connsiteX217" fmla="*/ 1008771 w 4857750"/>
                      <a:gd name="connsiteY217" fmla="*/ 160184 h 1362075"/>
                      <a:gd name="connsiteX218" fmla="*/ 1027990 w 4857750"/>
                      <a:gd name="connsiteY218" fmla="*/ 166691 h 1362075"/>
                      <a:gd name="connsiteX219" fmla="*/ 1047102 w 4857750"/>
                      <a:gd name="connsiteY219" fmla="*/ 173786 h 1362075"/>
                      <a:gd name="connsiteX220" fmla="*/ 1057384 w 4857750"/>
                      <a:gd name="connsiteY220" fmla="*/ 177994 h 1362075"/>
                      <a:gd name="connsiteX221" fmla="*/ 1074976 w 4857750"/>
                      <a:gd name="connsiteY221" fmla="*/ 185434 h 1362075"/>
                      <a:gd name="connsiteX222" fmla="*/ 1084608 w 4857750"/>
                      <a:gd name="connsiteY222" fmla="*/ 189794 h 1362075"/>
                      <a:gd name="connsiteX223" fmla="*/ 1090856 w 4857750"/>
                      <a:gd name="connsiteY223" fmla="*/ 192289 h 1362075"/>
                      <a:gd name="connsiteX224" fmla="*/ 1105064 w 4857750"/>
                      <a:gd name="connsiteY224" fmla="*/ 199513 h 1362075"/>
                      <a:gd name="connsiteX225" fmla="*/ 1131225 w 4857750"/>
                      <a:gd name="connsiteY225" fmla="*/ 211726 h 1362075"/>
                      <a:gd name="connsiteX226" fmla="*/ 1143177 w 4857750"/>
                      <a:gd name="connsiteY226" fmla="*/ 214393 h 1362075"/>
                      <a:gd name="connsiteX227" fmla="*/ 1140574 w 4857750"/>
                      <a:gd name="connsiteY227" fmla="*/ 219838 h 1362075"/>
                      <a:gd name="connsiteX228" fmla="*/ 1153373 w 4857750"/>
                      <a:gd name="connsiteY228" fmla="*/ 222528 h 1362075"/>
                      <a:gd name="connsiteX229" fmla="*/ 1156063 w 4857750"/>
                      <a:gd name="connsiteY229" fmla="*/ 223266 h 1362075"/>
                      <a:gd name="connsiteX230" fmla="*/ 1176476 w 4857750"/>
                      <a:gd name="connsiteY230" fmla="*/ 232962 h 1362075"/>
                      <a:gd name="connsiteX231" fmla="*/ 1205522 w 4857750"/>
                      <a:gd name="connsiteY231" fmla="*/ 245739 h 1362075"/>
                      <a:gd name="connsiteX232" fmla="*/ 1246867 w 4857750"/>
                      <a:gd name="connsiteY232" fmla="*/ 261965 h 1362075"/>
                      <a:gd name="connsiteX233" fmla="*/ 1255545 w 4857750"/>
                      <a:gd name="connsiteY233" fmla="*/ 265132 h 1362075"/>
                      <a:gd name="connsiteX234" fmla="*/ 1262724 w 4857750"/>
                      <a:gd name="connsiteY234" fmla="*/ 267995 h 1362075"/>
                      <a:gd name="connsiteX235" fmla="*/ 1272508 w 4857750"/>
                      <a:gd name="connsiteY235" fmla="*/ 271423 h 1362075"/>
                      <a:gd name="connsiteX236" fmla="*/ 1282964 w 4857750"/>
                      <a:gd name="connsiteY236" fmla="*/ 271358 h 1362075"/>
                      <a:gd name="connsiteX237" fmla="*/ 1284157 w 4857750"/>
                      <a:gd name="connsiteY237" fmla="*/ 271531 h 1362075"/>
                      <a:gd name="connsiteX238" fmla="*/ 1284894 w 4857750"/>
                      <a:gd name="connsiteY238" fmla="*/ 271293 h 1362075"/>
                      <a:gd name="connsiteX239" fmla="*/ 1285545 w 4857750"/>
                      <a:gd name="connsiteY239" fmla="*/ 271314 h 1362075"/>
                      <a:gd name="connsiteX240" fmla="*/ 1286782 w 4857750"/>
                      <a:gd name="connsiteY240" fmla="*/ 267518 h 1362075"/>
                      <a:gd name="connsiteX241" fmla="*/ 1293463 w 4857750"/>
                      <a:gd name="connsiteY241" fmla="*/ 268299 h 1362075"/>
                      <a:gd name="connsiteX242" fmla="*/ 1304027 w 4857750"/>
                      <a:gd name="connsiteY242" fmla="*/ 269145 h 1362075"/>
                      <a:gd name="connsiteX243" fmla="*/ 1308214 w 4857750"/>
                      <a:gd name="connsiteY243" fmla="*/ 269926 h 1362075"/>
                      <a:gd name="connsiteX244" fmla="*/ 1317693 w 4857750"/>
                      <a:gd name="connsiteY244" fmla="*/ 274026 h 1362075"/>
                      <a:gd name="connsiteX245" fmla="*/ 1321511 w 4857750"/>
                      <a:gd name="connsiteY245" fmla="*/ 275414 h 1362075"/>
                      <a:gd name="connsiteX246" fmla="*/ 1331078 w 4857750"/>
                      <a:gd name="connsiteY246" fmla="*/ 279753 h 1362075"/>
                      <a:gd name="connsiteX247" fmla="*/ 1345134 w 4857750"/>
                      <a:gd name="connsiteY247" fmla="*/ 285610 h 1362075"/>
                      <a:gd name="connsiteX248" fmla="*/ 1360427 w 4857750"/>
                      <a:gd name="connsiteY248" fmla="*/ 292356 h 1362075"/>
                      <a:gd name="connsiteX249" fmla="*/ 1362575 w 4857750"/>
                      <a:gd name="connsiteY249" fmla="*/ 293137 h 1362075"/>
                      <a:gd name="connsiteX250" fmla="*/ 1368649 w 4857750"/>
                      <a:gd name="connsiteY250" fmla="*/ 296044 h 1362075"/>
                      <a:gd name="connsiteX251" fmla="*/ 1379322 w 4857750"/>
                      <a:gd name="connsiteY251" fmla="*/ 300513 h 1362075"/>
                      <a:gd name="connsiteX252" fmla="*/ 1394507 w 4857750"/>
                      <a:gd name="connsiteY252" fmla="*/ 307258 h 1362075"/>
                      <a:gd name="connsiteX253" fmla="*/ 1399105 w 4857750"/>
                      <a:gd name="connsiteY253" fmla="*/ 308734 h 1362075"/>
                      <a:gd name="connsiteX254" fmla="*/ 1404333 w 4857750"/>
                      <a:gd name="connsiteY254" fmla="*/ 310795 h 1362075"/>
                      <a:gd name="connsiteX255" fmla="*/ 1407435 w 4857750"/>
                      <a:gd name="connsiteY255" fmla="*/ 312227 h 1362075"/>
                      <a:gd name="connsiteX256" fmla="*/ 1410906 w 4857750"/>
                      <a:gd name="connsiteY256" fmla="*/ 312205 h 1362075"/>
                      <a:gd name="connsiteX257" fmla="*/ 1411470 w 4857750"/>
                      <a:gd name="connsiteY257" fmla="*/ 312378 h 1362075"/>
                      <a:gd name="connsiteX258" fmla="*/ 1412880 w 4857750"/>
                      <a:gd name="connsiteY258" fmla="*/ 313290 h 1362075"/>
                      <a:gd name="connsiteX259" fmla="*/ 1413596 w 4857750"/>
                      <a:gd name="connsiteY259" fmla="*/ 314331 h 1362075"/>
                      <a:gd name="connsiteX260" fmla="*/ 1416459 w 4857750"/>
                      <a:gd name="connsiteY260" fmla="*/ 314742 h 1362075"/>
                      <a:gd name="connsiteX261" fmla="*/ 1418997 w 4857750"/>
                      <a:gd name="connsiteY261" fmla="*/ 317150 h 1362075"/>
                      <a:gd name="connsiteX262" fmla="*/ 1421037 w 4857750"/>
                      <a:gd name="connsiteY262" fmla="*/ 318430 h 1362075"/>
                      <a:gd name="connsiteX263" fmla="*/ 1425570 w 4857750"/>
                      <a:gd name="connsiteY263" fmla="*/ 320274 h 1362075"/>
                      <a:gd name="connsiteX264" fmla="*/ 1429063 w 4857750"/>
                      <a:gd name="connsiteY264" fmla="*/ 321966 h 1362075"/>
                      <a:gd name="connsiteX265" fmla="*/ 1433206 w 4857750"/>
                      <a:gd name="connsiteY265" fmla="*/ 323506 h 1362075"/>
                      <a:gd name="connsiteX266" fmla="*/ 1443619 w 4857750"/>
                      <a:gd name="connsiteY266" fmla="*/ 328322 h 1362075"/>
                      <a:gd name="connsiteX267" fmla="*/ 1446265 w 4857750"/>
                      <a:gd name="connsiteY267" fmla="*/ 329732 h 1362075"/>
                      <a:gd name="connsiteX268" fmla="*/ 1461254 w 4857750"/>
                      <a:gd name="connsiteY268" fmla="*/ 335741 h 1362075"/>
                      <a:gd name="connsiteX269" fmla="*/ 1476677 w 4857750"/>
                      <a:gd name="connsiteY269" fmla="*/ 341967 h 1362075"/>
                      <a:gd name="connsiteX270" fmla="*/ 1511840 w 4857750"/>
                      <a:gd name="connsiteY270" fmla="*/ 358756 h 1362075"/>
                      <a:gd name="connsiteX271" fmla="*/ 1514053 w 4857750"/>
                      <a:gd name="connsiteY271" fmla="*/ 360188 h 1362075"/>
                      <a:gd name="connsiteX272" fmla="*/ 1520366 w 4857750"/>
                      <a:gd name="connsiteY272" fmla="*/ 363117 h 1362075"/>
                      <a:gd name="connsiteX273" fmla="*/ 1520908 w 4857750"/>
                      <a:gd name="connsiteY273" fmla="*/ 363833 h 1362075"/>
                      <a:gd name="connsiteX274" fmla="*/ 1521841 w 4857750"/>
                      <a:gd name="connsiteY274" fmla="*/ 364331 h 1362075"/>
                      <a:gd name="connsiteX275" fmla="*/ 1526960 w 4857750"/>
                      <a:gd name="connsiteY275" fmla="*/ 366240 h 1362075"/>
                      <a:gd name="connsiteX276" fmla="*/ 1550844 w 4857750"/>
                      <a:gd name="connsiteY276" fmla="*/ 377239 h 1362075"/>
                      <a:gd name="connsiteX277" fmla="*/ 1560193 w 4857750"/>
                      <a:gd name="connsiteY277" fmla="*/ 381122 h 1362075"/>
                      <a:gd name="connsiteX278" fmla="*/ 1566527 w 4857750"/>
                      <a:gd name="connsiteY278" fmla="*/ 384310 h 1362075"/>
                      <a:gd name="connsiteX279" fmla="*/ 1572428 w 4857750"/>
                      <a:gd name="connsiteY279" fmla="*/ 386523 h 1362075"/>
                      <a:gd name="connsiteX280" fmla="*/ 1577482 w 4857750"/>
                      <a:gd name="connsiteY280" fmla="*/ 389017 h 1362075"/>
                      <a:gd name="connsiteX281" fmla="*/ 1583491 w 4857750"/>
                      <a:gd name="connsiteY281" fmla="*/ 391404 h 1362075"/>
                      <a:gd name="connsiteX282" fmla="*/ 1591994 w 4857750"/>
                      <a:gd name="connsiteY282" fmla="*/ 395460 h 1362075"/>
                      <a:gd name="connsiteX283" fmla="*/ 1595075 w 4857750"/>
                      <a:gd name="connsiteY283" fmla="*/ 397153 h 1362075"/>
                      <a:gd name="connsiteX284" fmla="*/ 1601214 w 4857750"/>
                      <a:gd name="connsiteY284" fmla="*/ 399734 h 1362075"/>
                      <a:gd name="connsiteX285" fmla="*/ 1607114 w 4857750"/>
                      <a:gd name="connsiteY285" fmla="*/ 402554 h 1362075"/>
                      <a:gd name="connsiteX286" fmla="*/ 1609565 w 4857750"/>
                      <a:gd name="connsiteY286" fmla="*/ 403356 h 1362075"/>
                      <a:gd name="connsiteX287" fmla="*/ 1611062 w 4857750"/>
                      <a:gd name="connsiteY287" fmla="*/ 404181 h 1362075"/>
                      <a:gd name="connsiteX288" fmla="*/ 1615617 w 4857750"/>
                      <a:gd name="connsiteY288" fmla="*/ 405873 h 1362075"/>
                      <a:gd name="connsiteX289" fmla="*/ 1617093 w 4857750"/>
                      <a:gd name="connsiteY289" fmla="*/ 406718 h 1362075"/>
                      <a:gd name="connsiteX290" fmla="*/ 1620585 w 4857750"/>
                      <a:gd name="connsiteY290" fmla="*/ 408063 h 1362075"/>
                      <a:gd name="connsiteX291" fmla="*/ 1624186 w 4857750"/>
                      <a:gd name="connsiteY291" fmla="*/ 409777 h 1362075"/>
                      <a:gd name="connsiteX292" fmla="*/ 1625943 w 4857750"/>
                      <a:gd name="connsiteY292" fmla="*/ 410385 h 1362075"/>
                      <a:gd name="connsiteX293" fmla="*/ 1626962 w 4857750"/>
                      <a:gd name="connsiteY293" fmla="*/ 410558 h 1362075"/>
                      <a:gd name="connsiteX294" fmla="*/ 1627419 w 4857750"/>
                      <a:gd name="connsiteY294" fmla="*/ 413552 h 1362075"/>
                      <a:gd name="connsiteX295" fmla="*/ 1634143 w 4857750"/>
                      <a:gd name="connsiteY295" fmla="*/ 420818 h 1362075"/>
                      <a:gd name="connsiteX296" fmla="*/ 1635900 w 4857750"/>
                      <a:gd name="connsiteY296" fmla="*/ 420298 h 1362075"/>
                      <a:gd name="connsiteX297" fmla="*/ 1642928 w 4857750"/>
                      <a:gd name="connsiteY297" fmla="*/ 418975 h 1362075"/>
                      <a:gd name="connsiteX298" fmla="*/ 1653384 w 4857750"/>
                      <a:gd name="connsiteY298" fmla="*/ 418042 h 1362075"/>
                      <a:gd name="connsiteX299" fmla="*/ 1681909 w 4857750"/>
                      <a:gd name="connsiteY299" fmla="*/ 416068 h 1362075"/>
                      <a:gd name="connsiteX300" fmla="*/ 1711216 w 4857750"/>
                      <a:gd name="connsiteY300" fmla="*/ 413596 h 1362075"/>
                      <a:gd name="connsiteX301" fmla="*/ 1716575 w 4857750"/>
                      <a:gd name="connsiteY301" fmla="*/ 413139 h 1362075"/>
                      <a:gd name="connsiteX302" fmla="*/ 1730175 w 4857750"/>
                      <a:gd name="connsiteY302" fmla="*/ 411448 h 1362075"/>
                      <a:gd name="connsiteX303" fmla="*/ 1744254 w 4857750"/>
                      <a:gd name="connsiteY303" fmla="*/ 408281 h 1362075"/>
                      <a:gd name="connsiteX304" fmla="*/ 1758571 w 4857750"/>
                      <a:gd name="connsiteY304" fmla="*/ 404592 h 1362075"/>
                      <a:gd name="connsiteX305" fmla="*/ 1824451 w 4857750"/>
                      <a:gd name="connsiteY305" fmla="*/ 386631 h 1362075"/>
                      <a:gd name="connsiteX306" fmla="*/ 1872847 w 4857750"/>
                      <a:gd name="connsiteY306" fmla="*/ 376415 h 1362075"/>
                      <a:gd name="connsiteX307" fmla="*/ 1892956 w 4857750"/>
                      <a:gd name="connsiteY307" fmla="*/ 371967 h 1362075"/>
                      <a:gd name="connsiteX308" fmla="*/ 1903564 w 4857750"/>
                      <a:gd name="connsiteY308" fmla="*/ 368843 h 1362075"/>
                      <a:gd name="connsiteX309" fmla="*/ 1912978 w 4857750"/>
                      <a:gd name="connsiteY309" fmla="*/ 365698 h 1362075"/>
                      <a:gd name="connsiteX310" fmla="*/ 1921763 w 4857750"/>
                      <a:gd name="connsiteY310" fmla="*/ 362509 h 1362075"/>
                      <a:gd name="connsiteX311" fmla="*/ 1923802 w 4857750"/>
                      <a:gd name="connsiteY311" fmla="*/ 361512 h 1362075"/>
                      <a:gd name="connsiteX312" fmla="*/ 1924908 w 4857750"/>
                      <a:gd name="connsiteY312" fmla="*/ 360817 h 1362075"/>
                      <a:gd name="connsiteX313" fmla="*/ 1931764 w 4857750"/>
                      <a:gd name="connsiteY313" fmla="*/ 355221 h 1362075"/>
                      <a:gd name="connsiteX314" fmla="*/ 1934323 w 4857750"/>
                      <a:gd name="connsiteY314" fmla="*/ 352661 h 1362075"/>
                      <a:gd name="connsiteX315" fmla="*/ 1939225 w 4857750"/>
                      <a:gd name="connsiteY315" fmla="*/ 346847 h 1362075"/>
                      <a:gd name="connsiteX316" fmla="*/ 1943455 w 4857750"/>
                      <a:gd name="connsiteY316" fmla="*/ 340404 h 1362075"/>
                      <a:gd name="connsiteX317" fmla="*/ 1946102 w 4857750"/>
                      <a:gd name="connsiteY317" fmla="*/ 334829 h 1362075"/>
                      <a:gd name="connsiteX318" fmla="*/ 1956298 w 4857750"/>
                      <a:gd name="connsiteY318" fmla="*/ 308452 h 1362075"/>
                      <a:gd name="connsiteX319" fmla="*/ 1992068 w 4857750"/>
                      <a:gd name="connsiteY319" fmla="*/ 230663 h 1362075"/>
                      <a:gd name="connsiteX320" fmla="*/ 1997318 w 4857750"/>
                      <a:gd name="connsiteY320" fmla="*/ 218515 h 1362075"/>
                      <a:gd name="connsiteX321" fmla="*/ 2002525 w 4857750"/>
                      <a:gd name="connsiteY321" fmla="*/ 207691 h 1362075"/>
                      <a:gd name="connsiteX322" fmla="*/ 2004476 w 4857750"/>
                      <a:gd name="connsiteY322" fmla="*/ 204892 h 1362075"/>
                      <a:gd name="connsiteX323" fmla="*/ 2020486 w 4857750"/>
                      <a:gd name="connsiteY323" fmla="*/ 207864 h 1362075"/>
                      <a:gd name="connsiteX324" fmla="*/ 2022850 w 4857750"/>
                      <a:gd name="connsiteY324" fmla="*/ 206237 h 1362075"/>
                      <a:gd name="connsiteX325" fmla="*/ 2035345 w 4857750"/>
                      <a:gd name="connsiteY325" fmla="*/ 201139 h 1362075"/>
                      <a:gd name="connsiteX326" fmla="*/ 2046148 w 4857750"/>
                      <a:gd name="connsiteY326" fmla="*/ 197018 h 1362075"/>
                      <a:gd name="connsiteX327" fmla="*/ 2046625 w 4857750"/>
                      <a:gd name="connsiteY327" fmla="*/ 197083 h 1362075"/>
                      <a:gd name="connsiteX328" fmla="*/ 2047493 w 4857750"/>
                      <a:gd name="connsiteY328" fmla="*/ 197582 h 1362075"/>
                      <a:gd name="connsiteX329" fmla="*/ 2048252 w 4857750"/>
                      <a:gd name="connsiteY329" fmla="*/ 198428 h 1362075"/>
                      <a:gd name="connsiteX330" fmla="*/ 2084608 w 4857750"/>
                      <a:gd name="connsiteY330" fmla="*/ 196931 h 1362075"/>
                      <a:gd name="connsiteX331" fmla="*/ 2085368 w 4857750"/>
                      <a:gd name="connsiteY331" fmla="*/ 196562 h 1362075"/>
                      <a:gd name="connsiteX332" fmla="*/ 2085411 w 4857750"/>
                      <a:gd name="connsiteY332" fmla="*/ 195521 h 1362075"/>
                      <a:gd name="connsiteX333" fmla="*/ 2088036 w 4857750"/>
                      <a:gd name="connsiteY333" fmla="*/ 186237 h 1362075"/>
                      <a:gd name="connsiteX334" fmla="*/ 2087862 w 4857750"/>
                      <a:gd name="connsiteY334" fmla="*/ 181334 h 1362075"/>
                      <a:gd name="connsiteX335" fmla="*/ 2086929 w 4857750"/>
                      <a:gd name="connsiteY335" fmla="*/ 177516 h 1362075"/>
                      <a:gd name="connsiteX336" fmla="*/ 2084912 w 4857750"/>
                      <a:gd name="connsiteY336" fmla="*/ 173546 h 1362075"/>
                      <a:gd name="connsiteX337" fmla="*/ 2085411 w 4857750"/>
                      <a:gd name="connsiteY337" fmla="*/ 173351 h 1362075"/>
                      <a:gd name="connsiteX338" fmla="*/ 2081354 w 4857750"/>
                      <a:gd name="connsiteY338" fmla="*/ 168795 h 1362075"/>
                      <a:gd name="connsiteX339" fmla="*/ 2085932 w 4857750"/>
                      <a:gd name="connsiteY339" fmla="*/ 167343 h 1362075"/>
                      <a:gd name="connsiteX340" fmla="*/ 2086994 w 4857750"/>
                      <a:gd name="connsiteY340" fmla="*/ 167343 h 1362075"/>
                      <a:gd name="connsiteX341" fmla="*/ 2093958 w 4857750"/>
                      <a:gd name="connsiteY341" fmla="*/ 165433 h 1362075"/>
                      <a:gd name="connsiteX342" fmla="*/ 2112549 w 4857750"/>
                      <a:gd name="connsiteY342" fmla="*/ 158969 h 1362075"/>
                      <a:gd name="connsiteX343" fmla="*/ 2113741 w 4857750"/>
                      <a:gd name="connsiteY343" fmla="*/ 160249 h 1362075"/>
                      <a:gd name="connsiteX344" fmla="*/ 2108622 w 4857750"/>
                      <a:gd name="connsiteY344" fmla="*/ 162201 h 1362075"/>
                      <a:gd name="connsiteX345" fmla="*/ 2106562 w 4857750"/>
                      <a:gd name="connsiteY345" fmla="*/ 163156 h 1362075"/>
                      <a:gd name="connsiteX346" fmla="*/ 2109056 w 4857750"/>
                      <a:gd name="connsiteY346" fmla="*/ 168167 h 1362075"/>
                      <a:gd name="connsiteX347" fmla="*/ 2111204 w 4857750"/>
                      <a:gd name="connsiteY347" fmla="*/ 170748 h 1362075"/>
                      <a:gd name="connsiteX348" fmla="*/ 2114197 w 4857750"/>
                      <a:gd name="connsiteY348" fmla="*/ 175130 h 1362075"/>
                      <a:gd name="connsiteX349" fmla="*/ 2118904 w 4857750"/>
                      <a:gd name="connsiteY349" fmla="*/ 179490 h 1362075"/>
                      <a:gd name="connsiteX350" fmla="*/ 2122614 w 4857750"/>
                      <a:gd name="connsiteY350" fmla="*/ 183438 h 1362075"/>
                      <a:gd name="connsiteX351" fmla="*/ 2130597 w 4857750"/>
                      <a:gd name="connsiteY351" fmla="*/ 190749 h 1362075"/>
                      <a:gd name="connsiteX352" fmla="*/ 2131833 w 4857750"/>
                      <a:gd name="connsiteY352" fmla="*/ 191095 h 1362075"/>
                      <a:gd name="connsiteX353" fmla="*/ 2135087 w 4857750"/>
                      <a:gd name="connsiteY353" fmla="*/ 191161 h 1362075"/>
                      <a:gd name="connsiteX354" fmla="*/ 2141421 w 4857750"/>
                      <a:gd name="connsiteY354" fmla="*/ 190662 h 1362075"/>
                      <a:gd name="connsiteX355" fmla="*/ 2145174 w 4857750"/>
                      <a:gd name="connsiteY355" fmla="*/ 189881 h 1362075"/>
                      <a:gd name="connsiteX356" fmla="*/ 2151096 w 4857750"/>
                      <a:gd name="connsiteY356" fmla="*/ 188103 h 1362075"/>
                      <a:gd name="connsiteX357" fmla="*/ 2154827 w 4857750"/>
                      <a:gd name="connsiteY357" fmla="*/ 187386 h 1362075"/>
                      <a:gd name="connsiteX358" fmla="*/ 2159817 w 4857750"/>
                      <a:gd name="connsiteY358" fmla="*/ 186822 h 1362075"/>
                      <a:gd name="connsiteX359" fmla="*/ 2165239 w 4857750"/>
                      <a:gd name="connsiteY359" fmla="*/ 186345 h 1362075"/>
                      <a:gd name="connsiteX360" fmla="*/ 2167625 w 4857750"/>
                      <a:gd name="connsiteY360" fmla="*/ 186388 h 1362075"/>
                      <a:gd name="connsiteX361" fmla="*/ 2170532 w 4857750"/>
                      <a:gd name="connsiteY361" fmla="*/ 186692 h 1362075"/>
                      <a:gd name="connsiteX362" fmla="*/ 2179969 w 4857750"/>
                      <a:gd name="connsiteY362" fmla="*/ 185846 h 1362075"/>
                      <a:gd name="connsiteX363" fmla="*/ 2181509 w 4857750"/>
                      <a:gd name="connsiteY363" fmla="*/ 196388 h 1362075"/>
                      <a:gd name="connsiteX364" fmla="*/ 2187930 w 4857750"/>
                      <a:gd name="connsiteY364" fmla="*/ 194415 h 1362075"/>
                      <a:gd name="connsiteX365" fmla="*/ 2188949 w 4857750"/>
                      <a:gd name="connsiteY365" fmla="*/ 194262 h 1362075"/>
                      <a:gd name="connsiteX366" fmla="*/ 2208646 w 4857750"/>
                      <a:gd name="connsiteY366" fmla="*/ 193352 h 1362075"/>
                      <a:gd name="connsiteX367" fmla="*/ 2241576 w 4857750"/>
                      <a:gd name="connsiteY367" fmla="*/ 192158 h 1362075"/>
                      <a:gd name="connsiteX368" fmla="*/ 2246587 w 4857750"/>
                      <a:gd name="connsiteY368" fmla="*/ 191703 h 1362075"/>
                      <a:gd name="connsiteX369" fmla="*/ 2275589 w 4857750"/>
                      <a:gd name="connsiteY369" fmla="*/ 190835 h 1362075"/>
                      <a:gd name="connsiteX370" fmla="*/ 2314158 w 4857750"/>
                      <a:gd name="connsiteY370" fmla="*/ 188709 h 1362075"/>
                      <a:gd name="connsiteX371" fmla="*/ 2347565 w 4857750"/>
                      <a:gd name="connsiteY371" fmla="*/ 187646 h 1362075"/>
                      <a:gd name="connsiteX372" fmla="*/ 2354159 w 4857750"/>
                      <a:gd name="connsiteY372" fmla="*/ 187213 h 1362075"/>
                      <a:gd name="connsiteX373" fmla="*/ 2374680 w 4857750"/>
                      <a:gd name="connsiteY373" fmla="*/ 186692 h 1362075"/>
                      <a:gd name="connsiteX374" fmla="*/ 2381600 w 4857750"/>
                      <a:gd name="connsiteY374" fmla="*/ 186106 h 1362075"/>
                      <a:gd name="connsiteX375" fmla="*/ 2393313 w 4857750"/>
                      <a:gd name="connsiteY375" fmla="*/ 185802 h 1362075"/>
                      <a:gd name="connsiteX376" fmla="*/ 2394356 w 4857750"/>
                      <a:gd name="connsiteY376" fmla="*/ 185412 h 1362075"/>
                      <a:gd name="connsiteX377" fmla="*/ 2397825 w 4857750"/>
                      <a:gd name="connsiteY377" fmla="*/ 185369 h 1362075"/>
                      <a:gd name="connsiteX378" fmla="*/ 2413965 w 4857750"/>
                      <a:gd name="connsiteY378" fmla="*/ 184523 h 1362075"/>
                      <a:gd name="connsiteX379" fmla="*/ 2419823 w 4857750"/>
                      <a:gd name="connsiteY379" fmla="*/ 184024 h 1362075"/>
                      <a:gd name="connsiteX380" fmla="*/ 2437805 w 4857750"/>
                      <a:gd name="connsiteY380" fmla="*/ 183612 h 1362075"/>
                      <a:gd name="connsiteX381" fmla="*/ 2439649 w 4857750"/>
                      <a:gd name="connsiteY381" fmla="*/ 183698 h 1362075"/>
                      <a:gd name="connsiteX382" fmla="*/ 2443944 w 4857750"/>
                      <a:gd name="connsiteY382" fmla="*/ 183308 h 1362075"/>
                      <a:gd name="connsiteX383" fmla="*/ 2460973 w 4857750"/>
                      <a:gd name="connsiteY383" fmla="*/ 182440 h 1362075"/>
                      <a:gd name="connsiteX384" fmla="*/ 2474747 w 4857750"/>
                      <a:gd name="connsiteY384" fmla="*/ 181898 h 1362075"/>
                      <a:gd name="connsiteX385" fmla="*/ 2488587 w 4857750"/>
                      <a:gd name="connsiteY385" fmla="*/ 181681 h 1362075"/>
                      <a:gd name="connsiteX386" fmla="*/ 2490561 w 4857750"/>
                      <a:gd name="connsiteY386" fmla="*/ 181399 h 1362075"/>
                      <a:gd name="connsiteX387" fmla="*/ 2491104 w 4857750"/>
                      <a:gd name="connsiteY387" fmla="*/ 181183 h 1362075"/>
                      <a:gd name="connsiteX388" fmla="*/ 2494509 w 4857750"/>
                      <a:gd name="connsiteY388" fmla="*/ 180944 h 1362075"/>
                      <a:gd name="connsiteX389" fmla="*/ 2508631 w 4857750"/>
                      <a:gd name="connsiteY389" fmla="*/ 180879 h 1362075"/>
                      <a:gd name="connsiteX390" fmla="*/ 2512861 w 4857750"/>
                      <a:gd name="connsiteY390" fmla="*/ 180315 h 1362075"/>
                      <a:gd name="connsiteX391" fmla="*/ 2518349 w 4857750"/>
                      <a:gd name="connsiteY391" fmla="*/ 179902 h 1362075"/>
                      <a:gd name="connsiteX392" fmla="*/ 2536073 w 4857750"/>
                      <a:gd name="connsiteY392" fmla="*/ 179534 h 1362075"/>
                      <a:gd name="connsiteX393" fmla="*/ 2543512 w 4857750"/>
                      <a:gd name="connsiteY393" fmla="*/ 178839 h 1362075"/>
                      <a:gd name="connsiteX394" fmla="*/ 2558328 w 4857750"/>
                      <a:gd name="connsiteY394" fmla="*/ 178102 h 1362075"/>
                      <a:gd name="connsiteX395" fmla="*/ 2559955 w 4857750"/>
                      <a:gd name="connsiteY395" fmla="*/ 177777 h 1362075"/>
                      <a:gd name="connsiteX396" fmla="*/ 2561842 w 4857750"/>
                      <a:gd name="connsiteY396" fmla="*/ 176778 h 1362075"/>
                      <a:gd name="connsiteX397" fmla="*/ 2569153 w 4857750"/>
                      <a:gd name="connsiteY397" fmla="*/ 173893 h 1362075"/>
                      <a:gd name="connsiteX398" fmla="*/ 2580238 w 4857750"/>
                      <a:gd name="connsiteY398" fmla="*/ 169165 h 1362075"/>
                      <a:gd name="connsiteX399" fmla="*/ 2583318 w 4857750"/>
                      <a:gd name="connsiteY399" fmla="*/ 167690 h 1362075"/>
                      <a:gd name="connsiteX400" fmla="*/ 2605010 w 4857750"/>
                      <a:gd name="connsiteY400" fmla="*/ 158231 h 1362075"/>
                      <a:gd name="connsiteX401" fmla="*/ 2612473 w 4857750"/>
                      <a:gd name="connsiteY401" fmla="*/ 155151 h 1362075"/>
                      <a:gd name="connsiteX402" fmla="*/ 2614902 w 4857750"/>
                      <a:gd name="connsiteY402" fmla="*/ 154349 h 1362075"/>
                      <a:gd name="connsiteX403" fmla="*/ 2616291 w 4857750"/>
                      <a:gd name="connsiteY403" fmla="*/ 153611 h 1362075"/>
                      <a:gd name="connsiteX404" fmla="*/ 2618525 w 4857750"/>
                      <a:gd name="connsiteY404" fmla="*/ 152917 h 1362075"/>
                      <a:gd name="connsiteX405" fmla="*/ 2624556 w 4857750"/>
                      <a:gd name="connsiteY405" fmla="*/ 150075 h 1362075"/>
                      <a:gd name="connsiteX406" fmla="*/ 2629155 w 4857750"/>
                      <a:gd name="connsiteY406" fmla="*/ 148253 h 1362075"/>
                      <a:gd name="connsiteX407" fmla="*/ 2632300 w 4857750"/>
                      <a:gd name="connsiteY407" fmla="*/ 146431 h 1362075"/>
                      <a:gd name="connsiteX408" fmla="*/ 2643298 w 4857750"/>
                      <a:gd name="connsiteY408" fmla="*/ 141983 h 1362075"/>
                      <a:gd name="connsiteX409" fmla="*/ 2645771 w 4857750"/>
                      <a:gd name="connsiteY409" fmla="*/ 140509 h 1362075"/>
                      <a:gd name="connsiteX410" fmla="*/ 2653645 w 4857750"/>
                      <a:gd name="connsiteY410" fmla="*/ 137559 h 1362075"/>
                      <a:gd name="connsiteX411" fmla="*/ 2663146 w 4857750"/>
                      <a:gd name="connsiteY411" fmla="*/ 133481 h 1362075"/>
                      <a:gd name="connsiteX412" fmla="*/ 2664556 w 4857750"/>
                      <a:gd name="connsiteY412" fmla="*/ 133134 h 1362075"/>
                      <a:gd name="connsiteX413" fmla="*/ 2666291 w 4857750"/>
                      <a:gd name="connsiteY413" fmla="*/ 132439 h 1362075"/>
                      <a:gd name="connsiteX414" fmla="*/ 2670608 w 4857750"/>
                      <a:gd name="connsiteY414" fmla="*/ 130617 h 1362075"/>
                      <a:gd name="connsiteX415" fmla="*/ 2673819 w 4857750"/>
                      <a:gd name="connsiteY415" fmla="*/ 128904 h 1362075"/>
                      <a:gd name="connsiteX416" fmla="*/ 2686531 w 4857750"/>
                      <a:gd name="connsiteY416" fmla="*/ 123915 h 1362075"/>
                      <a:gd name="connsiteX417" fmla="*/ 2690696 w 4857750"/>
                      <a:gd name="connsiteY417" fmla="*/ 121767 h 1362075"/>
                      <a:gd name="connsiteX418" fmla="*/ 2700913 w 4857750"/>
                      <a:gd name="connsiteY418" fmla="*/ 117319 h 1362075"/>
                      <a:gd name="connsiteX419" fmla="*/ 2711521 w 4857750"/>
                      <a:gd name="connsiteY419" fmla="*/ 113111 h 1362075"/>
                      <a:gd name="connsiteX420" fmla="*/ 2723604 w 4857750"/>
                      <a:gd name="connsiteY420" fmla="*/ 107406 h 1362075"/>
                      <a:gd name="connsiteX421" fmla="*/ 2736250 w 4857750"/>
                      <a:gd name="connsiteY421" fmla="*/ 102547 h 1362075"/>
                      <a:gd name="connsiteX422" fmla="*/ 2738376 w 4857750"/>
                      <a:gd name="connsiteY422" fmla="*/ 101245 h 1362075"/>
                      <a:gd name="connsiteX423" fmla="*/ 2756315 w 4857750"/>
                      <a:gd name="connsiteY423" fmla="*/ 93653 h 1362075"/>
                      <a:gd name="connsiteX424" fmla="*/ 2760415 w 4857750"/>
                      <a:gd name="connsiteY424" fmla="*/ 92092 h 1362075"/>
                      <a:gd name="connsiteX425" fmla="*/ 2805514 w 4857750"/>
                      <a:gd name="connsiteY425" fmla="*/ 131680 h 1362075"/>
                      <a:gd name="connsiteX426" fmla="*/ 2845667 w 4857750"/>
                      <a:gd name="connsiteY426" fmla="*/ 167299 h 1362075"/>
                      <a:gd name="connsiteX427" fmla="*/ 2857272 w 4857750"/>
                      <a:gd name="connsiteY427" fmla="*/ 177148 h 1362075"/>
                      <a:gd name="connsiteX428" fmla="*/ 2865797 w 4857750"/>
                      <a:gd name="connsiteY428" fmla="*/ 171269 h 1362075"/>
                      <a:gd name="connsiteX429" fmla="*/ 2869919 w 4857750"/>
                      <a:gd name="connsiteY429" fmla="*/ 168709 h 1362075"/>
                      <a:gd name="connsiteX430" fmla="*/ 2871741 w 4857750"/>
                      <a:gd name="connsiteY430" fmla="*/ 167907 h 1362075"/>
                      <a:gd name="connsiteX431" fmla="*/ 2894865 w 4857750"/>
                      <a:gd name="connsiteY431" fmla="*/ 168189 h 1362075"/>
                      <a:gd name="connsiteX432" fmla="*/ 2898596 w 4857750"/>
                      <a:gd name="connsiteY432" fmla="*/ 167820 h 1362075"/>
                      <a:gd name="connsiteX433" fmla="*/ 2900614 w 4857750"/>
                      <a:gd name="connsiteY433" fmla="*/ 167060 h 1362075"/>
                      <a:gd name="connsiteX434" fmla="*/ 2902436 w 4857750"/>
                      <a:gd name="connsiteY434" fmla="*/ 165628 h 1362075"/>
                      <a:gd name="connsiteX435" fmla="*/ 2910788 w 4857750"/>
                      <a:gd name="connsiteY435" fmla="*/ 158166 h 1362075"/>
                      <a:gd name="connsiteX436" fmla="*/ 2918423 w 4857750"/>
                      <a:gd name="connsiteY436" fmla="*/ 150639 h 1362075"/>
                      <a:gd name="connsiteX437" fmla="*/ 2924432 w 4857750"/>
                      <a:gd name="connsiteY437" fmla="*/ 145412 h 1362075"/>
                      <a:gd name="connsiteX438" fmla="*/ 2928011 w 4857750"/>
                      <a:gd name="connsiteY438" fmla="*/ 141983 h 1362075"/>
                      <a:gd name="connsiteX439" fmla="*/ 2928923 w 4857750"/>
                      <a:gd name="connsiteY439" fmla="*/ 140769 h 1362075"/>
                      <a:gd name="connsiteX440" fmla="*/ 2929139 w 4857750"/>
                      <a:gd name="connsiteY440" fmla="*/ 139489 h 1362075"/>
                      <a:gd name="connsiteX441" fmla="*/ 2928814 w 4857750"/>
                      <a:gd name="connsiteY441" fmla="*/ 134934 h 1362075"/>
                      <a:gd name="connsiteX442" fmla="*/ 2927773 w 4857750"/>
                      <a:gd name="connsiteY442" fmla="*/ 126625 h 1362075"/>
                      <a:gd name="connsiteX443" fmla="*/ 2927924 w 4857750"/>
                      <a:gd name="connsiteY443" fmla="*/ 124304 h 1362075"/>
                      <a:gd name="connsiteX444" fmla="*/ 2929790 w 4857750"/>
                      <a:gd name="connsiteY444" fmla="*/ 119033 h 1362075"/>
                      <a:gd name="connsiteX445" fmla="*/ 2930158 w 4857750"/>
                      <a:gd name="connsiteY445" fmla="*/ 119033 h 1362075"/>
                      <a:gd name="connsiteX446" fmla="*/ 2929942 w 4857750"/>
                      <a:gd name="connsiteY446" fmla="*/ 119510 h 1362075"/>
                      <a:gd name="connsiteX447" fmla="*/ 2931026 w 4857750"/>
                      <a:gd name="connsiteY447" fmla="*/ 119880 h 1362075"/>
                      <a:gd name="connsiteX448" fmla="*/ 2930767 w 4857750"/>
                      <a:gd name="connsiteY448" fmla="*/ 121008 h 1362075"/>
                      <a:gd name="connsiteX449" fmla="*/ 2949899 w 4857750"/>
                      <a:gd name="connsiteY449" fmla="*/ 121636 h 1362075"/>
                      <a:gd name="connsiteX450" fmla="*/ 2950115 w 4857750"/>
                      <a:gd name="connsiteY450" fmla="*/ 121072 h 1362075"/>
                      <a:gd name="connsiteX451" fmla="*/ 2950724 w 4857750"/>
                      <a:gd name="connsiteY451" fmla="*/ 120660 h 1362075"/>
                      <a:gd name="connsiteX452" fmla="*/ 2953305 w 4857750"/>
                      <a:gd name="connsiteY452" fmla="*/ 120422 h 1362075"/>
                      <a:gd name="connsiteX453" fmla="*/ 2957578 w 4857750"/>
                      <a:gd name="connsiteY453" fmla="*/ 120508 h 1362075"/>
                      <a:gd name="connsiteX454" fmla="*/ 2967123 w 4857750"/>
                      <a:gd name="connsiteY454" fmla="*/ 121029 h 1362075"/>
                      <a:gd name="connsiteX455" fmla="*/ 2975605 w 4857750"/>
                      <a:gd name="connsiteY455" fmla="*/ 120747 h 1362075"/>
                      <a:gd name="connsiteX456" fmla="*/ 2984042 w 4857750"/>
                      <a:gd name="connsiteY456" fmla="*/ 121029 h 1362075"/>
                      <a:gd name="connsiteX457" fmla="*/ 2995193 w 4857750"/>
                      <a:gd name="connsiteY457" fmla="*/ 121680 h 1362075"/>
                      <a:gd name="connsiteX458" fmla="*/ 3002634 w 4857750"/>
                      <a:gd name="connsiteY458" fmla="*/ 120964 h 1362075"/>
                      <a:gd name="connsiteX459" fmla="*/ 3008382 w 4857750"/>
                      <a:gd name="connsiteY459" fmla="*/ 120768 h 1362075"/>
                      <a:gd name="connsiteX460" fmla="*/ 3012547 w 4857750"/>
                      <a:gd name="connsiteY460" fmla="*/ 120444 h 1362075"/>
                      <a:gd name="connsiteX461" fmla="*/ 3016474 w 4857750"/>
                      <a:gd name="connsiteY461" fmla="*/ 120508 h 1362075"/>
                      <a:gd name="connsiteX462" fmla="*/ 3016950 w 4857750"/>
                      <a:gd name="connsiteY462" fmla="*/ 120726 h 1362075"/>
                      <a:gd name="connsiteX463" fmla="*/ 3018296 w 4857750"/>
                      <a:gd name="connsiteY463" fmla="*/ 120790 h 1362075"/>
                      <a:gd name="connsiteX464" fmla="*/ 3032200 w 4857750"/>
                      <a:gd name="connsiteY464" fmla="*/ 120812 h 1362075"/>
                      <a:gd name="connsiteX465" fmla="*/ 3033979 w 4857750"/>
                      <a:gd name="connsiteY465" fmla="*/ 120704 h 1362075"/>
                      <a:gd name="connsiteX466" fmla="*/ 3034044 w 4857750"/>
                      <a:gd name="connsiteY466" fmla="*/ 120205 h 1362075"/>
                      <a:gd name="connsiteX467" fmla="*/ 3036690 w 4857750"/>
                      <a:gd name="connsiteY467" fmla="*/ 120335 h 1362075"/>
                      <a:gd name="connsiteX468" fmla="*/ 3038101 w 4857750"/>
                      <a:gd name="connsiteY468" fmla="*/ 119663 h 1362075"/>
                      <a:gd name="connsiteX469" fmla="*/ 3040877 w 4857750"/>
                      <a:gd name="connsiteY469" fmla="*/ 119749 h 1362075"/>
                      <a:gd name="connsiteX470" fmla="*/ 3041137 w 4857750"/>
                      <a:gd name="connsiteY470" fmla="*/ 120096 h 1362075"/>
                      <a:gd name="connsiteX471" fmla="*/ 3071247 w 4857750"/>
                      <a:gd name="connsiteY471" fmla="*/ 120942 h 1362075"/>
                      <a:gd name="connsiteX472" fmla="*/ 3116758 w 4857750"/>
                      <a:gd name="connsiteY472" fmla="*/ 121332 h 1362075"/>
                      <a:gd name="connsiteX473" fmla="*/ 3119729 w 4857750"/>
                      <a:gd name="connsiteY473" fmla="*/ 121311 h 1362075"/>
                      <a:gd name="connsiteX474" fmla="*/ 3125044 w 4857750"/>
                      <a:gd name="connsiteY474" fmla="*/ 120921 h 1362075"/>
                      <a:gd name="connsiteX475" fmla="*/ 3129707 w 4857750"/>
                      <a:gd name="connsiteY475" fmla="*/ 120986 h 1362075"/>
                      <a:gd name="connsiteX476" fmla="*/ 3136303 w 4857750"/>
                      <a:gd name="connsiteY476" fmla="*/ 121354 h 1362075"/>
                      <a:gd name="connsiteX477" fmla="*/ 3139838 w 4857750"/>
                      <a:gd name="connsiteY477" fmla="*/ 121116 h 1362075"/>
                      <a:gd name="connsiteX478" fmla="*/ 3140446 w 4857750"/>
                      <a:gd name="connsiteY478" fmla="*/ 120704 h 1362075"/>
                      <a:gd name="connsiteX479" fmla="*/ 3143374 w 4857750"/>
                      <a:gd name="connsiteY479" fmla="*/ 121507 h 1362075"/>
                      <a:gd name="connsiteX480" fmla="*/ 3152615 w 4857750"/>
                      <a:gd name="connsiteY480" fmla="*/ 123957 h 1362075"/>
                      <a:gd name="connsiteX481" fmla="*/ 3162702 w 4857750"/>
                      <a:gd name="connsiteY481" fmla="*/ 127493 h 1362075"/>
                      <a:gd name="connsiteX482" fmla="*/ 3169362 w 4857750"/>
                      <a:gd name="connsiteY482" fmla="*/ 130031 h 1362075"/>
                      <a:gd name="connsiteX483" fmla="*/ 3212508 w 4857750"/>
                      <a:gd name="connsiteY483" fmla="*/ 145520 h 1362075"/>
                      <a:gd name="connsiteX484" fmla="*/ 3231294 w 4857750"/>
                      <a:gd name="connsiteY484" fmla="*/ 152483 h 1362075"/>
                      <a:gd name="connsiteX485" fmla="*/ 3266566 w 4857750"/>
                      <a:gd name="connsiteY485" fmla="*/ 164935 h 1362075"/>
                      <a:gd name="connsiteX486" fmla="*/ 3272964 w 4857750"/>
                      <a:gd name="connsiteY486" fmla="*/ 167516 h 1362075"/>
                      <a:gd name="connsiteX487" fmla="*/ 3291165 w 4857750"/>
                      <a:gd name="connsiteY487" fmla="*/ 173915 h 1362075"/>
                      <a:gd name="connsiteX488" fmla="*/ 3295546 w 4857750"/>
                      <a:gd name="connsiteY488" fmla="*/ 175217 h 1362075"/>
                      <a:gd name="connsiteX489" fmla="*/ 3309712 w 4857750"/>
                      <a:gd name="connsiteY489" fmla="*/ 180402 h 1362075"/>
                      <a:gd name="connsiteX490" fmla="*/ 3318367 w 4857750"/>
                      <a:gd name="connsiteY490" fmla="*/ 183287 h 1362075"/>
                      <a:gd name="connsiteX491" fmla="*/ 3330905 w 4857750"/>
                      <a:gd name="connsiteY491" fmla="*/ 187907 h 1362075"/>
                      <a:gd name="connsiteX492" fmla="*/ 3344203 w 4857750"/>
                      <a:gd name="connsiteY492" fmla="*/ 192462 h 1362075"/>
                      <a:gd name="connsiteX493" fmla="*/ 3358411 w 4857750"/>
                      <a:gd name="connsiteY493" fmla="*/ 197886 h 1362075"/>
                      <a:gd name="connsiteX494" fmla="*/ 3359171 w 4857750"/>
                      <a:gd name="connsiteY494" fmla="*/ 197950 h 1362075"/>
                      <a:gd name="connsiteX495" fmla="*/ 3367674 w 4857750"/>
                      <a:gd name="connsiteY495" fmla="*/ 200900 h 1362075"/>
                      <a:gd name="connsiteX496" fmla="*/ 3379583 w 4857750"/>
                      <a:gd name="connsiteY496" fmla="*/ 205283 h 1362075"/>
                      <a:gd name="connsiteX497" fmla="*/ 3400234 w 4857750"/>
                      <a:gd name="connsiteY497" fmla="*/ 212571 h 1362075"/>
                      <a:gd name="connsiteX498" fmla="*/ 3406482 w 4857750"/>
                      <a:gd name="connsiteY498" fmla="*/ 214979 h 1362075"/>
                      <a:gd name="connsiteX499" fmla="*/ 3433814 w 4857750"/>
                      <a:gd name="connsiteY499" fmla="*/ 224567 h 1362075"/>
                      <a:gd name="connsiteX500" fmla="*/ 3440647 w 4857750"/>
                      <a:gd name="connsiteY500" fmla="*/ 227474 h 1362075"/>
                      <a:gd name="connsiteX501" fmla="*/ 3457654 w 4857750"/>
                      <a:gd name="connsiteY501" fmla="*/ 233461 h 1362075"/>
                      <a:gd name="connsiteX502" fmla="*/ 3459931 w 4857750"/>
                      <a:gd name="connsiteY502" fmla="*/ 234199 h 1362075"/>
                      <a:gd name="connsiteX503" fmla="*/ 3461277 w 4857750"/>
                      <a:gd name="connsiteY503" fmla="*/ 234415 h 1362075"/>
                      <a:gd name="connsiteX504" fmla="*/ 3462514 w 4857750"/>
                      <a:gd name="connsiteY504" fmla="*/ 234980 h 1362075"/>
                      <a:gd name="connsiteX505" fmla="*/ 3467351 w 4857750"/>
                      <a:gd name="connsiteY505" fmla="*/ 236432 h 1362075"/>
                      <a:gd name="connsiteX506" fmla="*/ 3490085 w 4857750"/>
                      <a:gd name="connsiteY506" fmla="*/ 244654 h 1362075"/>
                      <a:gd name="connsiteX507" fmla="*/ 3518024 w 4857750"/>
                      <a:gd name="connsiteY507" fmla="*/ 254264 h 1362075"/>
                      <a:gd name="connsiteX508" fmla="*/ 3523382 w 4857750"/>
                      <a:gd name="connsiteY508" fmla="*/ 256260 h 1362075"/>
                      <a:gd name="connsiteX509" fmla="*/ 3523491 w 4857750"/>
                      <a:gd name="connsiteY509" fmla="*/ 256129 h 1362075"/>
                      <a:gd name="connsiteX510" fmla="*/ 3531973 w 4857750"/>
                      <a:gd name="connsiteY510" fmla="*/ 259189 h 1362075"/>
                      <a:gd name="connsiteX511" fmla="*/ 3536485 w 4857750"/>
                      <a:gd name="connsiteY511" fmla="*/ 257691 h 1362075"/>
                      <a:gd name="connsiteX512" fmla="*/ 3537266 w 4857750"/>
                      <a:gd name="connsiteY512" fmla="*/ 257540 h 1362075"/>
                      <a:gd name="connsiteX513" fmla="*/ 3538632 w 4857750"/>
                      <a:gd name="connsiteY513" fmla="*/ 257778 h 1362075"/>
                      <a:gd name="connsiteX514" fmla="*/ 3540889 w 4857750"/>
                      <a:gd name="connsiteY514" fmla="*/ 255978 h 1362075"/>
                      <a:gd name="connsiteX515" fmla="*/ 3549847 w 4857750"/>
                      <a:gd name="connsiteY515" fmla="*/ 252269 h 1362075"/>
                      <a:gd name="connsiteX516" fmla="*/ 3555964 w 4857750"/>
                      <a:gd name="connsiteY516" fmla="*/ 249405 h 1362075"/>
                      <a:gd name="connsiteX517" fmla="*/ 3569283 w 4857750"/>
                      <a:gd name="connsiteY517" fmla="*/ 243873 h 1362075"/>
                      <a:gd name="connsiteX518" fmla="*/ 3574945 w 4857750"/>
                      <a:gd name="connsiteY518" fmla="*/ 242203 h 1362075"/>
                      <a:gd name="connsiteX519" fmla="*/ 3577701 w 4857750"/>
                      <a:gd name="connsiteY519" fmla="*/ 240988 h 1362075"/>
                      <a:gd name="connsiteX520" fmla="*/ 3579414 w 4857750"/>
                      <a:gd name="connsiteY520" fmla="*/ 239665 h 1362075"/>
                      <a:gd name="connsiteX521" fmla="*/ 3581085 w 4857750"/>
                      <a:gd name="connsiteY521" fmla="*/ 237517 h 1362075"/>
                      <a:gd name="connsiteX522" fmla="*/ 3595922 w 4857750"/>
                      <a:gd name="connsiteY522" fmla="*/ 215608 h 1362075"/>
                      <a:gd name="connsiteX523" fmla="*/ 3598698 w 4857750"/>
                      <a:gd name="connsiteY523" fmla="*/ 214307 h 1362075"/>
                      <a:gd name="connsiteX524" fmla="*/ 3601432 w 4857750"/>
                      <a:gd name="connsiteY524" fmla="*/ 213373 h 1362075"/>
                      <a:gd name="connsiteX525" fmla="*/ 3605857 w 4857750"/>
                      <a:gd name="connsiteY525" fmla="*/ 212289 h 1362075"/>
                      <a:gd name="connsiteX526" fmla="*/ 3612842 w 4857750"/>
                      <a:gd name="connsiteY526" fmla="*/ 215716 h 1362075"/>
                      <a:gd name="connsiteX527" fmla="*/ 3622387 w 4857750"/>
                      <a:gd name="connsiteY527" fmla="*/ 222137 h 1362075"/>
                      <a:gd name="connsiteX528" fmla="*/ 3640391 w 4857750"/>
                      <a:gd name="connsiteY528" fmla="*/ 230858 h 1362075"/>
                      <a:gd name="connsiteX529" fmla="*/ 3648093 w 4857750"/>
                      <a:gd name="connsiteY529" fmla="*/ 233005 h 1362075"/>
                      <a:gd name="connsiteX530" fmla="*/ 3663885 w 4857750"/>
                      <a:gd name="connsiteY530" fmla="*/ 236172 h 1362075"/>
                      <a:gd name="connsiteX531" fmla="*/ 3675382 w 4857750"/>
                      <a:gd name="connsiteY531" fmla="*/ 236867 h 1362075"/>
                      <a:gd name="connsiteX532" fmla="*/ 3678093 w 4857750"/>
                      <a:gd name="connsiteY532" fmla="*/ 236997 h 1362075"/>
                      <a:gd name="connsiteX533" fmla="*/ 3692910 w 4857750"/>
                      <a:gd name="connsiteY533" fmla="*/ 235500 h 1362075"/>
                      <a:gd name="connsiteX534" fmla="*/ 3702475 w 4857750"/>
                      <a:gd name="connsiteY534" fmla="*/ 236259 h 1362075"/>
                      <a:gd name="connsiteX535" fmla="*/ 3711890 w 4857750"/>
                      <a:gd name="connsiteY535" fmla="*/ 237409 h 1362075"/>
                      <a:gd name="connsiteX536" fmla="*/ 3720936 w 4857750"/>
                      <a:gd name="connsiteY536" fmla="*/ 239383 h 1362075"/>
                      <a:gd name="connsiteX537" fmla="*/ 3728377 w 4857750"/>
                      <a:gd name="connsiteY537" fmla="*/ 241705 h 1362075"/>
                      <a:gd name="connsiteX538" fmla="*/ 3752195 w 4857750"/>
                      <a:gd name="connsiteY538" fmla="*/ 251444 h 1362075"/>
                      <a:gd name="connsiteX539" fmla="*/ 3759461 w 4857750"/>
                      <a:gd name="connsiteY539" fmla="*/ 256628 h 1362075"/>
                      <a:gd name="connsiteX540" fmla="*/ 3765687 w 4857750"/>
                      <a:gd name="connsiteY540" fmla="*/ 263548 h 1362075"/>
                      <a:gd name="connsiteX541" fmla="*/ 3777206 w 4857750"/>
                      <a:gd name="connsiteY541" fmla="*/ 280794 h 1362075"/>
                      <a:gd name="connsiteX542" fmla="*/ 3781913 w 4857750"/>
                      <a:gd name="connsiteY542" fmla="*/ 288538 h 1362075"/>
                      <a:gd name="connsiteX543" fmla="*/ 3786620 w 4857750"/>
                      <a:gd name="connsiteY543" fmla="*/ 299450 h 1362075"/>
                      <a:gd name="connsiteX544" fmla="*/ 3788899 w 4857750"/>
                      <a:gd name="connsiteY544" fmla="*/ 307562 h 1362075"/>
                      <a:gd name="connsiteX545" fmla="*/ 3789636 w 4857750"/>
                      <a:gd name="connsiteY545" fmla="*/ 312335 h 1362075"/>
                      <a:gd name="connsiteX546" fmla="*/ 3790177 w 4857750"/>
                      <a:gd name="connsiteY546" fmla="*/ 321098 h 1362075"/>
                      <a:gd name="connsiteX547" fmla="*/ 3788790 w 4857750"/>
                      <a:gd name="connsiteY547" fmla="*/ 333289 h 1362075"/>
                      <a:gd name="connsiteX548" fmla="*/ 3841828 w 4857750"/>
                      <a:gd name="connsiteY548" fmla="*/ 319537 h 1362075"/>
                      <a:gd name="connsiteX549" fmla="*/ 3863043 w 4857750"/>
                      <a:gd name="connsiteY549" fmla="*/ 310686 h 1362075"/>
                      <a:gd name="connsiteX550" fmla="*/ 3875971 w 4857750"/>
                      <a:gd name="connsiteY550" fmla="*/ 300100 h 1362075"/>
                      <a:gd name="connsiteX551" fmla="*/ 3883368 w 4857750"/>
                      <a:gd name="connsiteY551" fmla="*/ 286217 h 1362075"/>
                      <a:gd name="connsiteX552" fmla="*/ 3891264 w 4857750"/>
                      <a:gd name="connsiteY552" fmla="*/ 280881 h 1362075"/>
                      <a:gd name="connsiteX553" fmla="*/ 3897296 w 4857750"/>
                      <a:gd name="connsiteY553" fmla="*/ 277757 h 1362075"/>
                      <a:gd name="connsiteX554" fmla="*/ 3901460 w 4857750"/>
                      <a:gd name="connsiteY554" fmla="*/ 276716 h 1362075"/>
                      <a:gd name="connsiteX555" fmla="*/ 3906493 w 4857750"/>
                      <a:gd name="connsiteY555" fmla="*/ 276238 h 1362075"/>
                      <a:gd name="connsiteX556" fmla="*/ 3915127 w 4857750"/>
                      <a:gd name="connsiteY556" fmla="*/ 276347 h 1362075"/>
                      <a:gd name="connsiteX557" fmla="*/ 3924672 w 4857750"/>
                      <a:gd name="connsiteY557" fmla="*/ 277736 h 1362075"/>
                      <a:gd name="connsiteX558" fmla="*/ 3936949 w 4857750"/>
                      <a:gd name="connsiteY558" fmla="*/ 280251 h 1362075"/>
                      <a:gd name="connsiteX559" fmla="*/ 3947687 w 4857750"/>
                      <a:gd name="connsiteY559" fmla="*/ 283440 h 1362075"/>
                      <a:gd name="connsiteX560" fmla="*/ 3991484 w 4857750"/>
                      <a:gd name="connsiteY560" fmla="*/ 295588 h 1362075"/>
                      <a:gd name="connsiteX561" fmla="*/ 4020140 w 4857750"/>
                      <a:gd name="connsiteY561" fmla="*/ 298560 h 1362075"/>
                      <a:gd name="connsiteX562" fmla="*/ 4060922 w 4857750"/>
                      <a:gd name="connsiteY562" fmla="*/ 304200 h 1362075"/>
                      <a:gd name="connsiteX563" fmla="*/ 4091421 w 4857750"/>
                      <a:gd name="connsiteY563" fmla="*/ 312313 h 1362075"/>
                      <a:gd name="connsiteX564" fmla="*/ 4203809 w 4857750"/>
                      <a:gd name="connsiteY564" fmla="*/ 344439 h 1362075"/>
                      <a:gd name="connsiteX565" fmla="*/ 4241729 w 4857750"/>
                      <a:gd name="connsiteY565" fmla="*/ 341207 h 1362075"/>
                      <a:gd name="connsiteX566" fmla="*/ 4276349 w 4857750"/>
                      <a:gd name="connsiteY566" fmla="*/ 335524 h 1362075"/>
                      <a:gd name="connsiteX567" fmla="*/ 4332034 w 4857750"/>
                      <a:gd name="connsiteY567" fmla="*/ 326153 h 1362075"/>
                      <a:gd name="connsiteX568" fmla="*/ 4389910 w 4857750"/>
                      <a:gd name="connsiteY568" fmla="*/ 313896 h 1362075"/>
                      <a:gd name="connsiteX569" fmla="*/ 4483903 w 4857750"/>
                      <a:gd name="connsiteY569" fmla="*/ 321575 h 1362075"/>
                      <a:gd name="connsiteX570" fmla="*/ 4494033 w 4857750"/>
                      <a:gd name="connsiteY570" fmla="*/ 321793 h 1362075"/>
                      <a:gd name="connsiteX571" fmla="*/ 4507743 w 4857750"/>
                      <a:gd name="connsiteY571" fmla="*/ 319949 h 1362075"/>
                      <a:gd name="connsiteX572" fmla="*/ 4518459 w 4857750"/>
                      <a:gd name="connsiteY572" fmla="*/ 316175 h 1362075"/>
                      <a:gd name="connsiteX573" fmla="*/ 4533622 w 4857750"/>
                      <a:gd name="connsiteY573" fmla="*/ 309167 h 1362075"/>
                      <a:gd name="connsiteX574" fmla="*/ 4543275 w 4857750"/>
                      <a:gd name="connsiteY574" fmla="*/ 305025 h 1362075"/>
                      <a:gd name="connsiteX575" fmla="*/ 4555987 w 4857750"/>
                      <a:gd name="connsiteY575" fmla="*/ 298669 h 1362075"/>
                      <a:gd name="connsiteX576" fmla="*/ 4610716 w 4857750"/>
                      <a:gd name="connsiteY576" fmla="*/ 313181 h 1362075"/>
                      <a:gd name="connsiteX577" fmla="*/ 4617984 w 4857750"/>
                      <a:gd name="connsiteY577" fmla="*/ 313463 h 1362075"/>
                      <a:gd name="connsiteX578" fmla="*/ 4653712 w 4857750"/>
                      <a:gd name="connsiteY578" fmla="*/ 329407 h 1362075"/>
                      <a:gd name="connsiteX579" fmla="*/ 4747943 w 4857750"/>
                      <a:gd name="connsiteY579" fmla="*/ 372445 h 1362075"/>
                      <a:gd name="connsiteX580" fmla="*/ 4854237 w 4857750"/>
                      <a:gd name="connsiteY580" fmla="*/ 918747 h 1362075"/>
                      <a:gd name="connsiteX581" fmla="*/ 4592560 w 4857750"/>
                      <a:gd name="connsiteY581" fmla="*/ 1005105 h 1362075"/>
                      <a:gd name="connsiteX582" fmla="*/ 4272185 w 4857750"/>
                      <a:gd name="connsiteY582" fmla="*/ 1106040 h 1362075"/>
                      <a:gd name="connsiteX583" fmla="*/ 4010617 w 4857750"/>
                      <a:gd name="connsiteY583" fmla="*/ 1188254 h 1362075"/>
                      <a:gd name="connsiteX584" fmla="*/ 3954412 w 4857750"/>
                      <a:gd name="connsiteY584" fmla="*/ 1206238 h 136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Lst>
                    <a:rect l="l" t="t" r="r" b="b"/>
                    <a:pathLst>
                      <a:path w="4857750" h="1362075">
                        <a:moveTo>
                          <a:pt x="3954412" y="1206238"/>
                        </a:moveTo>
                        <a:lnTo>
                          <a:pt x="3450215" y="1327173"/>
                        </a:lnTo>
                        <a:lnTo>
                          <a:pt x="3164373" y="1353920"/>
                        </a:lnTo>
                        <a:lnTo>
                          <a:pt x="3109773" y="1358996"/>
                        </a:lnTo>
                        <a:lnTo>
                          <a:pt x="3060031" y="1361794"/>
                        </a:lnTo>
                        <a:lnTo>
                          <a:pt x="3004044" y="1361469"/>
                        </a:lnTo>
                        <a:lnTo>
                          <a:pt x="2950550" y="1358562"/>
                        </a:lnTo>
                        <a:lnTo>
                          <a:pt x="2899269" y="1352337"/>
                        </a:lnTo>
                        <a:lnTo>
                          <a:pt x="2844994" y="1342379"/>
                        </a:lnTo>
                        <a:lnTo>
                          <a:pt x="2794169" y="1329299"/>
                        </a:lnTo>
                        <a:lnTo>
                          <a:pt x="2749135" y="1315025"/>
                        </a:lnTo>
                        <a:lnTo>
                          <a:pt x="2697573" y="1294483"/>
                        </a:lnTo>
                        <a:lnTo>
                          <a:pt x="2646053" y="1268820"/>
                        </a:lnTo>
                        <a:lnTo>
                          <a:pt x="2574902" y="1231010"/>
                        </a:lnTo>
                        <a:lnTo>
                          <a:pt x="2493294" y="1187604"/>
                        </a:lnTo>
                        <a:lnTo>
                          <a:pt x="2412794" y="1144892"/>
                        </a:lnTo>
                        <a:lnTo>
                          <a:pt x="2349972" y="1111528"/>
                        </a:lnTo>
                        <a:lnTo>
                          <a:pt x="2303507" y="1079945"/>
                        </a:lnTo>
                        <a:lnTo>
                          <a:pt x="2282509" y="1070421"/>
                        </a:lnTo>
                        <a:lnTo>
                          <a:pt x="2261836" y="1061007"/>
                        </a:lnTo>
                        <a:lnTo>
                          <a:pt x="2234807" y="1052829"/>
                        </a:lnTo>
                        <a:lnTo>
                          <a:pt x="2197908" y="1048989"/>
                        </a:lnTo>
                        <a:lnTo>
                          <a:pt x="2144588" y="1049770"/>
                        </a:lnTo>
                        <a:lnTo>
                          <a:pt x="2105021" y="1050703"/>
                        </a:lnTo>
                        <a:lnTo>
                          <a:pt x="2043350" y="1052199"/>
                        </a:lnTo>
                        <a:lnTo>
                          <a:pt x="1904561" y="1052026"/>
                        </a:lnTo>
                        <a:lnTo>
                          <a:pt x="1831762" y="1051961"/>
                        </a:lnTo>
                        <a:lnTo>
                          <a:pt x="1778051" y="1054239"/>
                        </a:lnTo>
                        <a:lnTo>
                          <a:pt x="1642082" y="1060031"/>
                        </a:lnTo>
                        <a:lnTo>
                          <a:pt x="1454855" y="1082526"/>
                        </a:lnTo>
                        <a:lnTo>
                          <a:pt x="1398498" y="1088882"/>
                        </a:lnTo>
                        <a:lnTo>
                          <a:pt x="1347390" y="1094608"/>
                        </a:lnTo>
                        <a:lnTo>
                          <a:pt x="1206433" y="1108079"/>
                        </a:lnTo>
                        <a:lnTo>
                          <a:pt x="1197517" y="1108361"/>
                        </a:lnTo>
                        <a:lnTo>
                          <a:pt x="1156107" y="1109598"/>
                        </a:lnTo>
                        <a:lnTo>
                          <a:pt x="1133069" y="1108990"/>
                        </a:lnTo>
                        <a:lnTo>
                          <a:pt x="1109403" y="1106062"/>
                        </a:lnTo>
                        <a:lnTo>
                          <a:pt x="1106755" y="1105606"/>
                        </a:lnTo>
                        <a:lnTo>
                          <a:pt x="1098014" y="1104174"/>
                        </a:lnTo>
                        <a:lnTo>
                          <a:pt x="1086495" y="1102048"/>
                        </a:lnTo>
                        <a:lnTo>
                          <a:pt x="1061289" y="1096430"/>
                        </a:lnTo>
                        <a:lnTo>
                          <a:pt x="1038533" y="1089684"/>
                        </a:lnTo>
                        <a:lnTo>
                          <a:pt x="1016818" y="1082005"/>
                        </a:lnTo>
                        <a:lnTo>
                          <a:pt x="1013196" y="1080529"/>
                        </a:lnTo>
                        <a:lnTo>
                          <a:pt x="993413" y="1072590"/>
                        </a:lnTo>
                        <a:lnTo>
                          <a:pt x="975711" y="1063544"/>
                        </a:lnTo>
                        <a:lnTo>
                          <a:pt x="969031" y="1059749"/>
                        </a:lnTo>
                        <a:lnTo>
                          <a:pt x="956427" y="1052568"/>
                        </a:lnTo>
                        <a:lnTo>
                          <a:pt x="941091" y="1042047"/>
                        </a:lnTo>
                        <a:lnTo>
                          <a:pt x="938748" y="1040442"/>
                        </a:lnTo>
                        <a:lnTo>
                          <a:pt x="922500" y="1026754"/>
                        </a:lnTo>
                        <a:lnTo>
                          <a:pt x="909397" y="1013847"/>
                        </a:lnTo>
                        <a:lnTo>
                          <a:pt x="897532" y="1000485"/>
                        </a:lnTo>
                        <a:lnTo>
                          <a:pt x="886317" y="983955"/>
                        </a:lnTo>
                        <a:lnTo>
                          <a:pt x="878313" y="968489"/>
                        </a:lnTo>
                        <a:lnTo>
                          <a:pt x="873605" y="956319"/>
                        </a:lnTo>
                        <a:lnTo>
                          <a:pt x="861089" y="917945"/>
                        </a:lnTo>
                        <a:lnTo>
                          <a:pt x="852217" y="890851"/>
                        </a:lnTo>
                        <a:lnTo>
                          <a:pt x="837270" y="845036"/>
                        </a:lnTo>
                        <a:lnTo>
                          <a:pt x="830199" y="828290"/>
                        </a:lnTo>
                        <a:lnTo>
                          <a:pt x="820546" y="812238"/>
                        </a:lnTo>
                        <a:lnTo>
                          <a:pt x="808485" y="798311"/>
                        </a:lnTo>
                        <a:lnTo>
                          <a:pt x="794341" y="785730"/>
                        </a:lnTo>
                        <a:lnTo>
                          <a:pt x="784645" y="778657"/>
                        </a:lnTo>
                        <a:lnTo>
                          <a:pt x="745924" y="750458"/>
                        </a:lnTo>
                        <a:lnTo>
                          <a:pt x="661020" y="686139"/>
                        </a:lnTo>
                        <a:lnTo>
                          <a:pt x="592493" y="635704"/>
                        </a:lnTo>
                        <a:lnTo>
                          <a:pt x="393963" y="492599"/>
                        </a:lnTo>
                        <a:lnTo>
                          <a:pt x="338474" y="452859"/>
                        </a:lnTo>
                        <a:lnTo>
                          <a:pt x="254112" y="403964"/>
                        </a:lnTo>
                        <a:lnTo>
                          <a:pt x="184175" y="372966"/>
                        </a:lnTo>
                        <a:lnTo>
                          <a:pt x="178796" y="371013"/>
                        </a:lnTo>
                        <a:lnTo>
                          <a:pt x="119142" y="349386"/>
                        </a:lnTo>
                        <a:lnTo>
                          <a:pt x="7144" y="318539"/>
                        </a:lnTo>
                        <a:lnTo>
                          <a:pt x="15105" y="311164"/>
                        </a:lnTo>
                        <a:lnTo>
                          <a:pt x="88685" y="243830"/>
                        </a:lnTo>
                        <a:lnTo>
                          <a:pt x="92178" y="239752"/>
                        </a:lnTo>
                        <a:lnTo>
                          <a:pt x="94803" y="234958"/>
                        </a:lnTo>
                        <a:lnTo>
                          <a:pt x="96495" y="230489"/>
                        </a:lnTo>
                        <a:lnTo>
                          <a:pt x="97298" y="227604"/>
                        </a:lnTo>
                        <a:lnTo>
                          <a:pt x="97666" y="224698"/>
                        </a:lnTo>
                        <a:lnTo>
                          <a:pt x="97601" y="221769"/>
                        </a:lnTo>
                        <a:lnTo>
                          <a:pt x="97015" y="217279"/>
                        </a:lnTo>
                        <a:lnTo>
                          <a:pt x="95996" y="214329"/>
                        </a:lnTo>
                        <a:lnTo>
                          <a:pt x="94196" y="211009"/>
                        </a:lnTo>
                        <a:lnTo>
                          <a:pt x="88945" y="203829"/>
                        </a:lnTo>
                        <a:lnTo>
                          <a:pt x="61158" y="167646"/>
                        </a:lnTo>
                        <a:lnTo>
                          <a:pt x="56407" y="160900"/>
                        </a:lnTo>
                        <a:lnTo>
                          <a:pt x="54758" y="157863"/>
                        </a:lnTo>
                        <a:lnTo>
                          <a:pt x="53457" y="154240"/>
                        </a:lnTo>
                        <a:lnTo>
                          <a:pt x="52698" y="148101"/>
                        </a:lnTo>
                        <a:lnTo>
                          <a:pt x="52828" y="146040"/>
                        </a:lnTo>
                        <a:lnTo>
                          <a:pt x="53782" y="141594"/>
                        </a:lnTo>
                        <a:lnTo>
                          <a:pt x="55648" y="136430"/>
                        </a:lnTo>
                        <a:lnTo>
                          <a:pt x="57210" y="133676"/>
                        </a:lnTo>
                        <a:lnTo>
                          <a:pt x="59184" y="130791"/>
                        </a:lnTo>
                        <a:lnTo>
                          <a:pt x="62047" y="127666"/>
                        </a:lnTo>
                        <a:lnTo>
                          <a:pt x="65193" y="124803"/>
                        </a:lnTo>
                        <a:lnTo>
                          <a:pt x="119359" y="77579"/>
                        </a:lnTo>
                        <a:lnTo>
                          <a:pt x="153394" y="48402"/>
                        </a:lnTo>
                        <a:lnTo>
                          <a:pt x="155759" y="45279"/>
                        </a:lnTo>
                        <a:lnTo>
                          <a:pt x="158080" y="41266"/>
                        </a:lnTo>
                        <a:lnTo>
                          <a:pt x="158883" y="39270"/>
                        </a:lnTo>
                        <a:lnTo>
                          <a:pt x="159729" y="35343"/>
                        </a:lnTo>
                        <a:lnTo>
                          <a:pt x="159468" y="32524"/>
                        </a:lnTo>
                        <a:lnTo>
                          <a:pt x="158795" y="30550"/>
                        </a:lnTo>
                        <a:lnTo>
                          <a:pt x="161030" y="30029"/>
                        </a:lnTo>
                        <a:lnTo>
                          <a:pt x="158275" y="23131"/>
                        </a:lnTo>
                        <a:lnTo>
                          <a:pt x="162050" y="22524"/>
                        </a:lnTo>
                        <a:lnTo>
                          <a:pt x="191009" y="16124"/>
                        </a:lnTo>
                        <a:lnTo>
                          <a:pt x="191421" y="13738"/>
                        </a:lnTo>
                        <a:lnTo>
                          <a:pt x="205998" y="10723"/>
                        </a:lnTo>
                        <a:lnTo>
                          <a:pt x="208927" y="9942"/>
                        </a:lnTo>
                        <a:lnTo>
                          <a:pt x="211595" y="10116"/>
                        </a:lnTo>
                        <a:lnTo>
                          <a:pt x="214220" y="10072"/>
                        </a:lnTo>
                        <a:lnTo>
                          <a:pt x="217019" y="9616"/>
                        </a:lnTo>
                        <a:lnTo>
                          <a:pt x="221053" y="8445"/>
                        </a:lnTo>
                        <a:lnTo>
                          <a:pt x="229556" y="7144"/>
                        </a:lnTo>
                        <a:lnTo>
                          <a:pt x="234308" y="7599"/>
                        </a:lnTo>
                        <a:lnTo>
                          <a:pt x="245305" y="7273"/>
                        </a:lnTo>
                        <a:lnTo>
                          <a:pt x="251834" y="7881"/>
                        </a:lnTo>
                        <a:lnTo>
                          <a:pt x="272139" y="10506"/>
                        </a:lnTo>
                        <a:lnTo>
                          <a:pt x="281618" y="12719"/>
                        </a:lnTo>
                        <a:lnTo>
                          <a:pt x="289840" y="14996"/>
                        </a:lnTo>
                        <a:lnTo>
                          <a:pt x="293527" y="16233"/>
                        </a:lnTo>
                        <a:lnTo>
                          <a:pt x="294568" y="16754"/>
                        </a:lnTo>
                        <a:lnTo>
                          <a:pt x="310512" y="27361"/>
                        </a:lnTo>
                        <a:lnTo>
                          <a:pt x="313376" y="25647"/>
                        </a:lnTo>
                        <a:lnTo>
                          <a:pt x="314027" y="24932"/>
                        </a:lnTo>
                        <a:lnTo>
                          <a:pt x="314808" y="23348"/>
                        </a:lnTo>
                        <a:lnTo>
                          <a:pt x="315654" y="22546"/>
                        </a:lnTo>
                        <a:lnTo>
                          <a:pt x="316521" y="22068"/>
                        </a:lnTo>
                        <a:lnTo>
                          <a:pt x="319167" y="21439"/>
                        </a:lnTo>
                        <a:lnTo>
                          <a:pt x="321380" y="20376"/>
                        </a:lnTo>
                        <a:lnTo>
                          <a:pt x="322986" y="18880"/>
                        </a:lnTo>
                        <a:lnTo>
                          <a:pt x="330036" y="14064"/>
                        </a:lnTo>
                        <a:lnTo>
                          <a:pt x="333160" y="13283"/>
                        </a:lnTo>
                        <a:lnTo>
                          <a:pt x="337867" y="17773"/>
                        </a:lnTo>
                        <a:lnTo>
                          <a:pt x="347932" y="19486"/>
                        </a:lnTo>
                        <a:lnTo>
                          <a:pt x="354418" y="20918"/>
                        </a:lnTo>
                        <a:lnTo>
                          <a:pt x="362662" y="23652"/>
                        </a:lnTo>
                        <a:lnTo>
                          <a:pt x="365352" y="24801"/>
                        </a:lnTo>
                        <a:lnTo>
                          <a:pt x="370167" y="27382"/>
                        </a:lnTo>
                        <a:lnTo>
                          <a:pt x="374440" y="30354"/>
                        </a:lnTo>
                        <a:lnTo>
                          <a:pt x="375048" y="30376"/>
                        </a:lnTo>
                        <a:lnTo>
                          <a:pt x="376458" y="31786"/>
                        </a:lnTo>
                        <a:lnTo>
                          <a:pt x="383182" y="31483"/>
                        </a:lnTo>
                        <a:lnTo>
                          <a:pt x="387543" y="31765"/>
                        </a:lnTo>
                        <a:lnTo>
                          <a:pt x="389452" y="33001"/>
                        </a:lnTo>
                        <a:lnTo>
                          <a:pt x="390753" y="35170"/>
                        </a:lnTo>
                        <a:lnTo>
                          <a:pt x="393963" y="42307"/>
                        </a:lnTo>
                        <a:lnTo>
                          <a:pt x="406306" y="66017"/>
                        </a:lnTo>
                        <a:lnTo>
                          <a:pt x="408649" y="65865"/>
                        </a:lnTo>
                        <a:lnTo>
                          <a:pt x="430841" y="85649"/>
                        </a:lnTo>
                        <a:lnTo>
                          <a:pt x="435916" y="89618"/>
                        </a:lnTo>
                        <a:lnTo>
                          <a:pt x="441058" y="93306"/>
                        </a:lnTo>
                        <a:lnTo>
                          <a:pt x="446525" y="96777"/>
                        </a:lnTo>
                        <a:lnTo>
                          <a:pt x="452295" y="99988"/>
                        </a:lnTo>
                        <a:lnTo>
                          <a:pt x="460538" y="103523"/>
                        </a:lnTo>
                        <a:lnTo>
                          <a:pt x="459670" y="103675"/>
                        </a:lnTo>
                        <a:lnTo>
                          <a:pt x="468195" y="106777"/>
                        </a:lnTo>
                        <a:lnTo>
                          <a:pt x="472209" y="108057"/>
                        </a:lnTo>
                        <a:lnTo>
                          <a:pt x="479020" y="110075"/>
                        </a:lnTo>
                        <a:lnTo>
                          <a:pt x="483401" y="111181"/>
                        </a:lnTo>
                        <a:lnTo>
                          <a:pt x="490712" y="112612"/>
                        </a:lnTo>
                        <a:lnTo>
                          <a:pt x="498630" y="113849"/>
                        </a:lnTo>
                        <a:lnTo>
                          <a:pt x="504898" y="114673"/>
                        </a:lnTo>
                        <a:lnTo>
                          <a:pt x="509215" y="115042"/>
                        </a:lnTo>
                        <a:lnTo>
                          <a:pt x="517893" y="115389"/>
                        </a:lnTo>
                        <a:lnTo>
                          <a:pt x="523598" y="115346"/>
                        </a:lnTo>
                        <a:lnTo>
                          <a:pt x="530236" y="114977"/>
                        </a:lnTo>
                        <a:lnTo>
                          <a:pt x="540952" y="113957"/>
                        </a:lnTo>
                        <a:lnTo>
                          <a:pt x="548219" y="112981"/>
                        </a:lnTo>
                        <a:lnTo>
                          <a:pt x="569499" y="108360"/>
                        </a:lnTo>
                        <a:lnTo>
                          <a:pt x="573620" y="108165"/>
                        </a:lnTo>
                        <a:lnTo>
                          <a:pt x="575877" y="108339"/>
                        </a:lnTo>
                        <a:lnTo>
                          <a:pt x="581994" y="109358"/>
                        </a:lnTo>
                        <a:lnTo>
                          <a:pt x="585226" y="110226"/>
                        </a:lnTo>
                        <a:lnTo>
                          <a:pt x="587309" y="111050"/>
                        </a:lnTo>
                        <a:lnTo>
                          <a:pt x="589824" y="112439"/>
                        </a:lnTo>
                        <a:lnTo>
                          <a:pt x="593013" y="114478"/>
                        </a:lnTo>
                        <a:lnTo>
                          <a:pt x="598372" y="119163"/>
                        </a:lnTo>
                        <a:lnTo>
                          <a:pt x="598719" y="119272"/>
                        </a:lnTo>
                        <a:lnTo>
                          <a:pt x="604988" y="119077"/>
                        </a:lnTo>
                        <a:lnTo>
                          <a:pt x="617417" y="118144"/>
                        </a:lnTo>
                        <a:lnTo>
                          <a:pt x="629956" y="117450"/>
                        </a:lnTo>
                        <a:lnTo>
                          <a:pt x="648763" y="117037"/>
                        </a:lnTo>
                        <a:lnTo>
                          <a:pt x="660629" y="117016"/>
                        </a:lnTo>
                        <a:lnTo>
                          <a:pt x="675901" y="117537"/>
                        </a:lnTo>
                        <a:lnTo>
                          <a:pt x="683059" y="118079"/>
                        </a:lnTo>
                        <a:lnTo>
                          <a:pt x="698352" y="117970"/>
                        </a:lnTo>
                        <a:lnTo>
                          <a:pt x="698201" y="117775"/>
                        </a:lnTo>
                        <a:lnTo>
                          <a:pt x="700716" y="117623"/>
                        </a:lnTo>
                        <a:lnTo>
                          <a:pt x="710890" y="116907"/>
                        </a:lnTo>
                        <a:lnTo>
                          <a:pt x="727528" y="116538"/>
                        </a:lnTo>
                        <a:lnTo>
                          <a:pt x="744210" y="116582"/>
                        </a:lnTo>
                        <a:lnTo>
                          <a:pt x="769829" y="117927"/>
                        </a:lnTo>
                        <a:lnTo>
                          <a:pt x="780262" y="118621"/>
                        </a:lnTo>
                        <a:lnTo>
                          <a:pt x="796510" y="120183"/>
                        </a:lnTo>
                        <a:lnTo>
                          <a:pt x="804277" y="120573"/>
                        </a:lnTo>
                        <a:lnTo>
                          <a:pt x="846165" y="125194"/>
                        </a:lnTo>
                        <a:lnTo>
                          <a:pt x="878898" y="129576"/>
                        </a:lnTo>
                        <a:lnTo>
                          <a:pt x="886144" y="131008"/>
                        </a:lnTo>
                        <a:lnTo>
                          <a:pt x="892565" y="131767"/>
                        </a:lnTo>
                        <a:lnTo>
                          <a:pt x="896751" y="132548"/>
                        </a:lnTo>
                        <a:lnTo>
                          <a:pt x="899767" y="132939"/>
                        </a:lnTo>
                        <a:lnTo>
                          <a:pt x="905797" y="134370"/>
                        </a:lnTo>
                        <a:lnTo>
                          <a:pt x="910895" y="135194"/>
                        </a:lnTo>
                        <a:lnTo>
                          <a:pt x="931959" y="139511"/>
                        </a:lnTo>
                        <a:lnTo>
                          <a:pt x="933281" y="139337"/>
                        </a:lnTo>
                        <a:lnTo>
                          <a:pt x="932761" y="140704"/>
                        </a:lnTo>
                        <a:lnTo>
                          <a:pt x="940527" y="142005"/>
                        </a:lnTo>
                        <a:lnTo>
                          <a:pt x="940548" y="141377"/>
                        </a:lnTo>
                        <a:lnTo>
                          <a:pt x="953846" y="144240"/>
                        </a:lnTo>
                        <a:lnTo>
                          <a:pt x="969096" y="148210"/>
                        </a:lnTo>
                        <a:lnTo>
                          <a:pt x="979182" y="151095"/>
                        </a:lnTo>
                        <a:lnTo>
                          <a:pt x="984258" y="152787"/>
                        </a:lnTo>
                        <a:lnTo>
                          <a:pt x="1008771" y="160184"/>
                        </a:lnTo>
                        <a:lnTo>
                          <a:pt x="1027990" y="166691"/>
                        </a:lnTo>
                        <a:lnTo>
                          <a:pt x="1047102" y="173786"/>
                        </a:lnTo>
                        <a:lnTo>
                          <a:pt x="1057384" y="177994"/>
                        </a:lnTo>
                        <a:lnTo>
                          <a:pt x="1074976" y="185434"/>
                        </a:lnTo>
                        <a:lnTo>
                          <a:pt x="1084608" y="189794"/>
                        </a:lnTo>
                        <a:lnTo>
                          <a:pt x="1090856" y="192289"/>
                        </a:lnTo>
                        <a:lnTo>
                          <a:pt x="1105064" y="199513"/>
                        </a:lnTo>
                        <a:lnTo>
                          <a:pt x="1131225" y="211726"/>
                        </a:lnTo>
                        <a:lnTo>
                          <a:pt x="1143177" y="214393"/>
                        </a:lnTo>
                        <a:lnTo>
                          <a:pt x="1140574" y="219838"/>
                        </a:lnTo>
                        <a:lnTo>
                          <a:pt x="1153373" y="222528"/>
                        </a:lnTo>
                        <a:lnTo>
                          <a:pt x="1156063" y="223266"/>
                        </a:lnTo>
                        <a:lnTo>
                          <a:pt x="1176476" y="232962"/>
                        </a:lnTo>
                        <a:lnTo>
                          <a:pt x="1205522" y="245739"/>
                        </a:lnTo>
                        <a:lnTo>
                          <a:pt x="1246867" y="261965"/>
                        </a:lnTo>
                        <a:lnTo>
                          <a:pt x="1255545" y="265132"/>
                        </a:lnTo>
                        <a:lnTo>
                          <a:pt x="1262724" y="267995"/>
                        </a:lnTo>
                        <a:lnTo>
                          <a:pt x="1272508" y="271423"/>
                        </a:lnTo>
                        <a:lnTo>
                          <a:pt x="1282964" y="271358"/>
                        </a:lnTo>
                        <a:lnTo>
                          <a:pt x="1284157" y="271531"/>
                        </a:lnTo>
                        <a:lnTo>
                          <a:pt x="1284894" y="271293"/>
                        </a:lnTo>
                        <a:lnTo>
                          <a:pt x="1285545" y="271314"/>
                        </a:lnTo>
                        <a:lnTo>
                          <a:pt x="1286782" y="267518"/>
                        </a:lnTo>
                        <a:lnTo>
                          <a:pt x="1293463" y="268299"/>
                        </a:lnTo>
                        <a:lnTo>
                          <a:pt x="1304027" y="269145"/>
                        </a:lnTo>
                        <a:lnTo>
                          <a:pt x="1308214" y="269926"/>
                        </a:lnTo>
                        <a:lnTo>
                          <a:pt x="1317693" y="274026"/>
                        </a:lnTo>
                        <a:lnTo>
                          <a:pt x="1321511" y="275414"/>
                        </a:lnTo>
                        <a:lnTo>
                          <a:pt x="1331078" y="279753"/>
                        </a:lnTo>
                        <a:lnTo>
                          <a:pt x="1345134" y="285610"/>
                        </a:lnTo>
                        <a:lnTo>
                          <a:pt x="1360427" y="292356"/>
                        </a:lnTo>
                        <a:lnTo>
                          <a:pt x="1362575" y="293137"/>
                        </a:lnTo>
                        <a:lnTo>
                          <a:pt x="1368649" y="296044"/>
                        </a:lnTo>
                        <a:lnTo>
                          <a:pt x="1379322" y="300513"/>
                        </a:lnTo>
                        <a:lnTo>
                          <a:pt x="1394507" y="307258"/>
                        </a:lnTo>
                        <a:lnTo>
                          <a:pt x="1399105" y="308734"/>
                        </a:lnTo>
                        <a:lnTo>
                          <a:pt x="1404333" y="310795"/>
                        </a:lnTo>
                        <a:lnTo>
                          <a:pt x="1407435" y="312227"/>
                        </a:lnTo>
                        <a:lnTo>
                          <a:pt x="1410906" y="312205"/>
                        </a:lnTo>
                        <a:lnTo>
                          <a:pt x="1411470" y="312378"/>
                        </a:lnTo>
                        <a:lnTo>
                          <a:pt x="1412880" y="313290"/>
                        </a:lnTo>
                        <a:lnTo>
                          <a:pt x="1413596" y="314331"/>
                        </a:lnTo>
                        <a:lnTo>
                          <a:pt x="1416459" y="314742"/>
                        </a:lnTo>
                        <a:lnTo>
                          <a:pt x="1418997" y="317150"/>
                        </a:lnTo>
                        <a:lnTo>
                          <a:pt x="1421037" y="318430"/>
                        </a:lnTo>
                        <a:lnTo>
                          <a:pt x="1425570" y="320274"/>
                        </a:lnTo>
                        <a:lnTo>
                          <a:pt x="1429063" y="321966"/>
                        </a:lnTo>
                        <a:lnTo>
                          <a:pt x="1433206" y="323506"/>
                        </a:lnTo>
                        <a:lnTo>
                          <a:pt x="1443619" y="328322"/>
                        </a:lnTo>
                        <a:lnTo>
                          <a:pt x="1446265" y="329732"/>
                        </a:lnTo>
                        <a:lnTo>
                          <a:pt x="1461254" y="335741"/>
                        </a:lnTo>
                        <a:lnTo>
                          <a:pt x="1476677" y="341967"/>
                        </a:lnTo>
                        <a:lnTo>
                          <a:pt x="1511840" y="358756"/>
                        </a:lnTo>
                        <a:lnTo>
                          <a:pt x="1514053" y="360188"/>
                        </a:lnTo>
                        <a:lnTo>
                          <a:pt x="1520366" y="363117"/>
                        </a:lnTo>
                        <a:lnTo>
                          <a:pt x="1520908" y="363833"/>
                        </a:lnTo>
                        <a:lnTo>
                          <a:pt x="1521841" y="364331"/>
                        </a:lnTo>
                        <a:lnTo>
                          <a:pt x="1526960" y="366240"/>
                        </a:lnTo>
                        <a:lnTo>
                          <a:pt x="1550844" y="377239"/>
                        </a:lnTo>
                        <a:lnTo>
                          <a:pt x="1560193" y="381122"/>
                        </a:lnTo>
                        <a:lnTo>
                          <a:pt x="1566527" y="384310"/>
                        </a:lnTo>
                        <a:lnTo>
                          <a:pt x="1572428" y="386523"/>
                        </a:lnTo>
                        <a:lnTo>
                          <a:pt x="1577482" y="389017"/>
                        </a:lnTo>
                        <a:lnTo>
                          <a:pt x="1583491" y="391404"/>
                        </a:lnTo>
                        <a:lnTo>
                          <a:pt x="1591994" y="395460"/>
                        </a:lnTo>
                        <a:lnTo>
                          <a:pt x="1595075" y="397153"/>
                        </a:lnTo>
                        <a:lnTo>
                          <a:pt x="1601214" y="399734"/>
                        </a:lnTo>
                        <a:lnTo>
                          <a:pt x="1607114" y="402554"/>
                        </a:lnTo>
                        <a:lnTo>
                          <a:pt x="1609565" y="403356"/>
                        </a:lnTo>
                        <a:lnTo>
                          <a:pt x="1611062" y="404181"/>
                        </a:lnTo>
                        <a:lnTo>
                          <a:pt x="1615617" y="405873"/>
                        </a:lnTo>
                        <a:lnTo>
                          <a:pt x="1617093" y="406718"/>
                        </a:lnTo>
                        <a:lnTo>
                          <a:pt x="1620585" y="408063"/>
                        </a:lnTo>
                        <a:lnTo>
                          <a:pt x="1624186" y="409777"/>
                        </a:lnTo>
                        <a:lnTo>
                          <a:pt x="1625943" y="410385"/>
                        </a:lnTo>
                        <a:lnTo>
                          <a:pt x="1626962" y="410558"/>
                        </a:lnTo>
                        <a:lnTo>
                          <a:pt x="1627419" y="413552"/>
                        </a:lnTo>
                        <a:lnTo>
                          <a:pt x="1634143" y="420818"/>
                        </a:lnTo>
                        <a:lnTo>
                          <a:pt x="1635900" y="420298"/>
                        </a:lnTo>
                        <a:lnTo>
                          <a:pt x="1642928" y="418975"/>
                        </a:lnTo>
                        <a:lnTo>
                          <a:pt x="1653384" y="418042"/>
                        </a:lnTo>
                        <a:lnTo>
                          <a:pt x="1681909" y="416068"/>
                        </a:lnTo>
                        <a:lnTo>
                          <a:pt x="1711216" y="413596"/>
                        </a:lnTo>
                        <a:lnTo>
                          <a:pt x="1716575" y="413139"/>
                        </a:lnTo>
                        <a:lnTo>
                          <a:pt x="1730175" y="411448"/>
                        </a:lnTo>
                        <a:lnTo>
                          <a:pt x="1744254" y="408281"/>
                        </a:lnTo>
                        <a:lnTo>
                          <a:pt x="1758571" y="404592"/>
                        </a:lnTo>
                        <a:lnTo>
                          <a:pt x="1824451" y="386631"/>
                        </a:lnTo>
                        <a:lnTo>
                          <a:pt x="1872847" y="376415"/>
                        </a:lnTo>
                        <a:lnTo>
                          <a:pt x="1892956" y="371967"/>
                        </a:lnTo>
                        <a:lnTo>
                          <a:pt x="1903564" y="368843"/>
                        </a:lnTo>
                        <a:lnTo>
                          <a:pt x="1912978" y="365698"/>
                        </a:lnTo>
                        <a:lnTo>
                          <a:pt x="1921763" y="362509"/>
                        </a:lnTo>
                        <a:lnTo>
                          <a:pt x="1923802" y="361512"/>
                        </a:lnTo>
                        <a:lnTo>
                          <a:pt x="1924908" y="360817"/>
                        </a:lnTo>
                        <a:lnTo>
                          <a:pt x="1931764" y="355221"/>
                        </a:lnTo>
                        <a:lnTo>
                          <a:pt x="1934323" y="352661"/>
                        </a:lnTo>
                        <a:lnTo>
                          <a:pt x="1939225" y="346847"/>
                        </a:lnTo>
                        <a:lnTo>
                          <a:pt x="1943455" y="340404"/>
                        </a:lnTo>
                        <a:lnTo>
                          <a:pt x="1946102" y="334829"/>
                        </a:lnTo>
                        <a:lnTo>
                          <a:pt x="1956298" y="308452"/>
                        </a:lnTo>
                        <a:lnTo>
                          <a:pt x="1992068" y="230663"/>
                        </a:lnTo>
                        <a:lnTo>
                          <a:pt x="1997318" y="218515"/>
                        </a:lnTo>
                        <a:lnTo>
                          <a:pt x="2002525" y="207691"/>
                        </a:lnTo>
                        <a:lnTo>
                          <a:pt x="2004476" y="204892"/>
                        </a:lnTo>
                        <a:lnTo>
                          <a:pt x="2020486" y="207864"/>
                        </a:lnTo>
                        <a:lnTo>
                          <a:pt x="2022850" y="206237"/>
                        </a:lnTo>
                        <a:lnTo>
                          <a:pt x="2035345" y="201139"/>
                        </a:lnTo>
                        <a:lnTo>
                          <a:pt x="2046148" y="197018"/>
                        </a:lnTo>
                        <a:lnTo>
                          <a:pt x="2046625" y="197083"/>
                        </a:lnTo>
                        <a:lnTo>
                          <a:pt x="2047493" y="197582"/>
                        </a:lnTo>
                        <a:lnTo>
                          <a:pt x="2048252" y="198428"/>
                        </a:lnTo>
                        <a:lnTo>
                          <a:pt x="2084608" y="196931"/>
                        </a:lnTo>
                        <a:lnTo>
                          <a:pt x="2085368" y="196562"/>
                        </a:lnTo>
                        <a:lnTo>
                          <a:pt x="2085411" y="195521"/>
                        </a:lnTo>
                        <a:lnTo>
                          <a:pt x="2088036" y="186237"/>
                        </a:lnTo>
                        <a:lnTo>
                          <a:pt x="2087862" y="181334"/>
                        </a:lnTo>
                        <a:lnTo>
                          <a:pt x="2086929" y="177516"/>
                        </a:lnTo>
                        <a:lnTo>
                          <a:pt x="2084912" y="173546"/>
                        </a:lnTo>
                        <a:lnTo>
                          <a:pt x="2085411" y="173351"/>
                        </a:lnTo>
                        <a:lnTo>
                          <a:pt x="2081354" y="168795"/>
                        </a:lnTo>
                        <a:lnTo>
                          <a:pt x="2085932" y="167343"/>
                        </a:lnTo>
                        <a:lnTo>
                          <a:pt x="2086994" y="167343"/>
                        </a:lnTo>
                        <a:lnTo>
                          <a:pt x="2093958" y="165433"/>
                        </a:lnTo>
                        <a:lnTo>
                          <a:pt x="2112549" y="158969"/>
                        </a:lnTo>
                        <a:lnTo>
                          <a:pt x="2113741" y="160249"/>
                        </a:lnTo>
                        <a:lnTo>
                          <a:pt x="2108622" y="162201"/>
                        </a:lnTo>
                        <a:lnTo>
                          <a:pt x="2106562" y="163156"/>
                        </a:lnTo>
                        <a:lnTo>
                          <a:pt x="2109056" y="168167"/>
                        </a:lnTo>
                        <a:lnTo>
                          <a:pt x="2111204" y="170748"/>
                        </a:lnTo>
                        <a:lnTo>
                          <a:pt x="2114197" y="175130"/>
                        </a:lnTo>
                        <a:lnTo>
                          <a:pt x="2118904" y="179490"/>
                        </a:lnTo>
                        <a:lnTo>
                          <a:pt x="2122614" y="183438"/>
                        </a:lnTo>
                        <a:lnTo>
                          <a:pt x="2130597" y="190749"/>
                        </a:lnTo>
                        <a:lnTo>
                          <a:pt x="2131833" y="191095"/>
                        </a:lnTo>
                        <a:lnTo>
                          <a:pt x="2135087" y="191161"/>
                        </a:lnTo>
                        <a:lnTo>
                          <a:pt x="2141421" y="190662"/>
                        </a:lnTo>
                        <a:lnTo>
                          <a:pt x="2145174" y="189881"/>
                        </a:lnTo>
                        <a:lnTo>
                          <a:pt x="2151096" y="188103"/>
                        </a:lnTo>
                        <a:lnTo>
                          <a:pt x="2154827" y="187386"/>
                        </a:lnTo>
                        <a:lnTo>
                          <a:pt x="2159817" y="186822"/>
                        </a:lnTo>
                        <a:lnTo>
                          <a:pt x="2165239" y="186345"/>
                        </a:lnTo>
                        <a:lnTo>
                          <a:pt x="2167625" y="186388"/>
                        </a:lnTo>
                        <a:lnTo>
                          <a:pt x="2170532" y="186692"/>
                        </a:lnTo>
                        <a:lnTo>
                          <a:pt x="2179969" y="185846"/>
                        </a:lnTo>
                        <a:lnTo>
                          <a:pt x="2181509" y="196388"/>
                        </a:lnTo>
                        <a:lnTo>
                          <a:pt x="2187930" y="194415"/>
                        </a:lnTo>
                        <a:lnTo>
                          <a:pt x="2188949" y="194262"/>
                        </a:lnTo>
                        <a:lnTo>
                          <a:pt x="2208646" y="193352"/>
                        </a:lnTo>
                        <a:lnTo>
                          <a:pt x="2241576" y="192158"/>
                        </a:lnTo>
                        <a:lnTo>
                          <a:pt x="2246587" y="191703"/>
                        </a:lnTo>
                        <a:lnTo>
                          <a:pt x="2275589" y="190835"/>
                        </a:lnTo>
                        <a:lnTo>
                          <a:pt x="2314158" y="188709"/>
                        </a:lnTo>
                        <a:lnTo>
                          <a:pt x="2347565" y="187646"/>
                        </a:lnTo>
                        <a:lnTo>
                          <a:pt x="2354159" y="187213"/>
                        </a:lnTo>
                        <a:lnTo>
                          <a:pt x="2374680" y="186692"/>
                        </a:lnTo>
                        <a:lnTo>
                          <a:pt x="2381600" y="186106"/>
                        </a:lnTo>
                        <a:lnTo>
                          <a:pt x="2393313" y="185802"/>
                        </a:lnTo>
                        <a:lnTo>
                          <a:pt x="2394356" y="185412"/>
                        </a:lnTo>
                        <a:lnTo>
                          <a:pt x="2397825" y="185369"/>
                        </a:lnTo>
                        <a:lnTo>
                          <a:pt x="2413965" y="184523"/>
                        </a:lnTo>
                        <a:lnTo>
                          <a:pt x="2419823" y="184024"/>
                        </a:lnTo>
                        <a:lnTo>
                          <a:pt x="2437805" y="183612"/>
                        </a:lnTo>
                        <a:lnTo>
                          <a:pt x="2439649" y="183698"/>
                        </a:lnTo>
                        <a:lnTo>
                          <a:pt x="2443944" y="183308"/>
                        </a:lnTo>
                        <a:lnTo>
                          <a:pt x="2460973" y="182440"/>
                        </a:lnTo>
                        <a:lnTo>
                          <a:pt x="2474747" y="181898"/>
                        </a:lnTo>
                        <a:lnTo>
                          <a:pt x="2488587" y="181681"/>
                        </a:lnTo>
                        <a:lnTo>
                          <a:pt x="2490561" y="181399"/>
                        </a:lnTo>
                        <a:lnTo>
                          <a:pt x="2491104" y="181183"/>
                        </a:lnTo>
                        <a:lnTo>
                          <a:pt x="2494509" y="180944"/>
                        </a:lnTo>
                        <a:lnTo>
                          <a:pt x="2508631" y="180879"/>
                        </a:lnTo>
                        <a:lnTo>
                          <a:pt x="2512861" y="180315"/>
                        </a:lnTo>
                        <a:lnTo>
                          <a:pt x="2518349" y="179902"/>
                        </a:lnTo>
                        <a:lnTo>
                          <a:pt x="2536073" y="179534"/>
                        </a:lnTo>
                        <a:lnTo>
                          <a:pt x="2543512" y="178839"/>
                        </a:lnTo>
                        <a:lnTo>
                          <a:pt x="2558328" y="178102"/>
                        </a:lnTo>
                        <a:lnTo>
                          <a:pt x="2559955" y="177777"/>
                        </a:lnTo>
                        <a:lnTo>
                          <a:pt x="2561842" y="176778"/>
                        </a:lnTo>
                        <a:lnTo>
                          <a:pt x="2569153" y="173893"/>
                        </a:lnTo>
                        <a:lnTo>
                          <a:pt x="2580238" y="169165"/>
                        </a:lnTo>
                        <a:lnTo>
                          <a:pt x="2583318" y="167690"/>
                        </a:lnTo>
                        <a:lnTo>
                          <a:pt x="2605010" y="158231"/>
                        </a:lnTo>
                        <a:lnTo>
                          <a:pt x="2612473" y="155151"/>
                        </a:lnTo>
                        <a:lnTo>
                          <a:pt x="2614902" y="154349"/>
                        </a:lnTo>
                        <a:lnTo>
                          <a:pt x="2616291" y="153611"/>
                        </a:lnTo>
                        <a:lnTo>
                          <a:pt x="2618525" y="152917"/>
                        </a:lnTo>
                        <a:lnTo>
                          <a:pt x="2624556" y="150075"/>
                        </a:lnTo>
                        <a:lnTo>
                          <a:pt x="2629155" y="148253"/>
                        </a:lnTo>
                        <a:lnTo>
                          <a:pt x="2632300" y="146431"/>
                        </a:lnTo>
                        <a:lnTo>
                          <a:pt x="2643298" y="141983"/>
                        </a:lnTo>
                        <a:lnTo>
                          <a:pt x="2645771" y="140509"/>
                        </a:lnTo>
                        <a:lnTo>
                          <a:pt x="2653645" y="137559"/>
                        </a:lnTo>
                        <a:lnTo>
                          <a:pt x="2663146" y="133481"/>
                        </a:lnTo>
                        <a:lnTo>
                          <a:pt x="2664556" y="133134"/>
                        </a:lnTo>
                        <a:lnTo>
                          <a:pt x="2666291" y="132439"/>
                        </a:lnTo>
                        <a:lnTo>
                          <a:pt x="2670608" y="130617"/>
                        </a:lnTo>
                        <a:lnTo>
                          <a:pt x="2673819" y="128904"/>
                        </a:lnTo>
                        <a:lnTo>
                          <a:pt x="2686531" y="123915"/>
                        </a:lnTo>
                        <a:lnTo>
                          <a:pt x="2690696" y="121767"/>
                        </a:lnTo>
                        <a:lnTo>
                          <a:pt x="2700913" y="117319"/>
                        </a:lnTo>
                        <a:lnTo>
                          <a:pt x="2711521" y="113111"/>
                        </a:lnTo>
                        <a:lnTo>
                          <a:pt x="2723604" y="107406"/>
                        </a:lnTo>
                        <a:lnTo>
                          <a:pt x="2736250" y="102547"/>
                        </a:lnTo>
                        <a:lnTo>
                          <a:pt x="2738376" y="101245"/>
                        </a:lnTo>
                        <a:lnTo>
                          <a:pt x="2756315" y="93653"/>
                        </a:lnTo>
                        <a:lnTo>
                          <a:pt x="2760415" y="92092"/>
                        </a:lnTo>
                        <a:lnTo>
                          <a:pt x="2805514" y="131680"/>
                        </a:lnTo>
                        <a:lnTo>
                          <a:pt x="2845667" y="167299"/>
                        </a:lnTo>
                        <a:lnTo>
                          <a:pt x="2857272" y="177148"/>
                        </a:lnTo>
                        <a:lnTo>
                          <a:pt x="2865797" y="171269"/>
                        </a:lnTo>
                        <a:lnTo>
                          <a:pt x="2869919" y="168709"/>
                        </a:lnTo>
                        <a:lnTo>
                          <a:pt x="2871741" y="167907"/>
                        </a:lnTo>
                        <a:lnTo>
                          <a:pt x="2894865" y="168189"/>
                        </a:lnTo>
                        <a:lnTo>
                          <a:pt x="2898596" y="167820"/>
                        </a:lnTo>
                        <a:lnTo>
                          <a:pt x="2900614" y="167060"/>
                        </a:lnTo>
                        <a:lnTo>
                          <a:pt x="2902436" y="165628"/>
                        </a:lnTo>
                        <a:lnTo>
                          <a:pt x="2910788" y="158166"/>
                        </a:lnTo>
                        <a:lnTo>
                          <a:pt x="2918423" y="150639"/>
                        </a:lnTo>
                        <a:lnTo>
                          <a:pt x="2924432" y="145412"/>
                        </a:lnTo>
                        <a:lnTo>
                          <a:pt x="2928011" y="141983"/>
                        </a:lnTo>
                        <a:lnTo>
                          <a:pt x="2928923" y="140769"/>
                        </a:lnTo>
                        <a:lnTo>
                          <a:pt x="2929139" y="139489"/>
                        </a:lnTo>
                        <a:lnTo>
                          <a:pt x="2928814" y="134934"/>
                        </a:lnTo>
                        <a:lnTo>
                          <a:pt x="2927773" y="126625"/>
                        </a:lnTo>
                        <a:lnTo>
                          <a:pt x="2927924" y="124304"/>
                        </a:lnTo>
                        <a:lnTo>
                          <a:pt x="2929790" y="119033"/>
                        </a:lnTo>
                        <a:lnTo>
                          <a:pt x="2930158" y="119033"/>
                        </a:lnTo>
                        <a:lnTo>
                          <a:pt x="2929942" y="119510"/>
                        </a:lnTo>
                        <a:lnTo>
                          <a:pt x="2931026" y="119880"/>
                        </a:lnTo>
                        <a:lnTo>
                          <a:pt x="2930767" y="121008"/>
                        </a:lnTo>
                        <a:lnTo>
                          <a:pt x="2949899" y="121636"/>
                        </a:lnTo>
                        <a:lnTo>
                          <a:pt x="2950115" y="121072"/>
                        </a:lnTo>
                        <a:lnTo>
                          <a:pt x="2950724" y="120660"/>
                        </a:lnTo>
                        <a:lnTo>
                          <a:pt x="2953305" y="120422"/>
                        </a:lnTo>
                        <a:lnTo>
                          <a:pt x="2957578" y="120508"/>
                        </a:lnTo>
                        <a:lnTo>
                          <a:pt x="2967123" y="121029"/>
                        </a:lnTo>
                        <a:lnTo>
                          <a:pt x="2975605" y="120747"/>
                        </a:lnTo>
                        <a:lnTo>
                          <a:pt x="2984042" y="121029"/>
                        </a:lnTo>
                        <a:lnTo>
                          <a:pt x="2995193" y="121680"/>
                        </a:lnTo>
                        <a:lnTo>
                          <a:pt x="3002634" y="120964"/>
                        </a:lnTo>
                        <a:lnTo>
                          <a:pt x="3008382" y="120768"/>
                        </a:lnTo>
                        <a:lnTo>
                          <a:pt x="3012547" y="120444"/>
                        </a:lnTo>
                        <a:lnTo>
                          <a:pt x="3016474" y="120508"/>
                        </a:lnTo>
                        <a:lnTo>
                          <a:pt x="3016950" y="120726"/>
                        </a:lnTo>
                        <a:lnTo>
                          <a:pt x="3018296" y="120790"/>
                        </a:lnTo>
                        <a:lnTo>
                          <a:pt x="3032200" y="120812"/>
                        </a:lnTo>
                        <a:lnTo>
                          <a:pt x="3033979" y="120704"/>
                        </a:lnTo>
                        <a:lnTo>
                          <a:pt x="3034044" y="120205"/>
                        </a:lnTo>
                        <a:lnTo>
                          <a:pt x="3036690" y="120335"/>
                        </a:lnTo>
                        <a:lnTo>
                          <a:pt x="3038101" y="119663"/>
                        </a:lnTo>
                        <a:lnTo>
                          <a:pt x="3040877" y="119749"/>
                        </a:lnTo>
                        <a:lnTo>
                          <a:pt x="3041137" y="120096"/>
                        </a:lnTo>
                        <a:lnTo>
                          <a:pt x="3071247" y="120942"/>
                        </a:lnTo>
                        <a:lnTo>
                          <a:pt x="3116758" y="121332"/>
                        </a:lnTo>
                        <a:lnTo>
                          <a:pt x="3119729" y="121311"/>
                        </a:lnTo>
                        <a:lnTo>
                          <a:pt x="3125044" y="120921"/>
                        </a:lnTo>
                        <a:lnTo>
                          <a:pt x="3129707" y="120986"/>
                        </a:lnTo>
                        <a:lnTo>
                          <a:pt x="3136303" y="121354"/>
                        </a:lnTo>
                        <a:lnTo>
                          <a:pt x="3139838" y="121116"/>
                        </a:lnTo>
                        <a:lnTo>
                          <a:pt x="3140446" y="120704"/>
                        </a:lnTo>
                        <a:lnTo>
                          <a:pt x="3143374" y="121507"/>
                        </a:lnTo>
                        <a:lnTo>
                          <a:pt x="3152615" y="123957"/>
                        </a:lnTo>
                        <a:lnTo>
                          <a:pt x="3162702" y="127493"/>
                        </a:lnTo>
                        <a:lnTo>
                          <a:pt x="3169362" y="130031"/>
                        </a:lnTo>
                        <a:lnTo>
                          <a:pt x="3212508" y="145520"/>
                        </a:lnTo>
                        <a:lnTo>
                          <a:pt x="3231294" y="152483"/>
                        </a:lnTo>
                        <a:lnTo>
                          <a:pt x="3266566" y="164935"/>
                        </a:lnTo>
                        <a:lnTo>
                          <a:pt x="3272964" y="167516"/>
                        </a:lnTo>
                        <a:lnTo>
                          <a:pt x="3291165" y="173915"/>
                        </a:lnTo>
                        <a:lnTo>
                          <a:pt x="3295546" y="175217"/>
                        </a:lnTo>
                        <a:lnTo>
                          <a:pt x="3309712" y="180402"/>
                        </a:lnTo>
                        <a:lnTo>
                          <a:pt x="3318367" y="183287"/>
                        </a:lnTo>
                        <a:lnTo>
                          <a:pt x="3330905" y="187907"/>
                        </a:lnTo>
                        <a:lnTo>
                          <a:pt x="3344203" y="192462"/>
                        </a:lnTo>
                        <a:lnTo>
                          <a:pt x="3358411" y="197886"/>
                        </a:lnTo>
                        <a:lnTo>
                          <a:pt x="3359171" y="197950"/>
                        </a:lnTo>
                        <a:lnTo>
                          <a:pt x="3367674" y="200900"/>
                        </a:lnTo>
                        <a:lnTo>
                          <a:pt x="3379583" y="205283"/>
                        </a:lnTo>
                        <a:lnTo>
                          <a:pt x="3400234" y="212571"/>
                        </a:lnTo>
                        <a:lnTo>
                          <a:pt x="3406482" y="214979"/>
                        </a:lnTo>
                        <a:lnTo>
                          <a:pt x="3433814" y="224567"/>
                        </a:lnTo>
                        <a:lnTo>
                          <a:pt x="3440647" y="227474"/>
                        </a:lnTo>
                        <a:lnTo>
                          <a:pt x="3457654" y="233461"/>
                        </a:lnTo>
                        <a:lnTo>
                          <a:pt x="3459931" y="234199"/>
                        </a:lnTo>
                        <a:lnTo>
                          <a:pt x="3461277" y="234415"/>
                        </a:lnTo>
                        <a:lnTo>
                          <a:pt x="3462514" y="234980"/>
                        </a:lnTo>
                        <a:lnTo>
                          <a:pt x="3467351" y="236432"/>
                        </a:lnTo>
                        <a:lnTo>
                          <a:pt x="3490085" y="244654"/>
                        </a:lnTo>
                        <a:lnTo>
                          <a:pt x="3518024" y="254264"/>
                        </a:lnTo>
                        <a:lnTo>
                          <a:pt x="3523382" y="256260"/>
                        </a:lnTo>
                        <a:lnTo>
                          <a:pt x="3523491" y="256129"/>
                        </a:lnTo>
                        <a:lnTo>
                          <a:pt x="3531973" y="259189"/>
                        </a:lnTo>
                        <a:lnTo>
                          <a:pt x="3536485" y="257691"/>
                        </a:lnTo>
                        <a:lnTo>
                          <a:pt x="3537266" y="257540"/>
                        </a:lnTo>
                        <a:lnTo>
                          <a:pt x="3538632" y="257778"/>
                        </a:lnTo>
                        <a:lnTo>
                          <a:pt x="3540889" y="255978"/>
                        </a:lnTo>
                        <a:lnTo>
                          <a:pt x="3549847" y="252269"/>
                        </a:lnTo>
                        <a:lnTo>
                          <a:pt x="3555964" y="249405"/>
                        </a:lnTo>
                        <a:lnTo>
                          <a:pt x="3569283" y="243873"/>
                        </a:lnTo>
                        <a:lnTo>
                          <a:pt x="3574945" y="242203"/>
                        </a:lnTo>
                        <a:lnTo>
                          <a:pt x="3577701" y="240988"/>
                        </a:lnTo>
                        <a:lnTo>
                          <a:pt x="3579414" y="239665"/>
                        </a:lnTo>
                        <a:lnTo>
                          <a:pt x="3581085" y="237517"/>
                        </a:lnTo>
                        <a:lnTo>
                          <a:pt x="3595922" y="215608"/>
                        </a:lnTo>
                        <a:lnTo>
                          <a:pt x="3598698" y="214307"/>
                        </a:lnTo>
                        <a:lnTo>
                          <a:pt x="3601432" y="213373"/>
                        </a:lnTo>
                        <a:lnTo>
                          <a:pt x="3605857" y="212289"/>
                        </a:lnTo>
                        <a:lnTo>
                          <a:pt x="3612842" y="215716"/>
                        </a:lnTo>
                        <a:lnTo>
                          <a:pt x="3622387" y="222137"/>
                        </a:lnTo>
                        <a:lnTo>
                          <a:pt x="3640391" y="230858"/>
                        </a:lnTo>
                        <a:lnTo>
                          <a:pt x="3648093" y="233005"/>
                        </a:lnTo>
                        <a:lnTo>
                          <a:pt x="3663885" y="236172"/>
                        </a:lnTo>
                        <a:lnTo>
                          <a:pt x="3675382" y="236867"/>
                        </a:lnTo>
                        <a:lnTo>
                          <a:pt x="3678093" y="236997"/>
                        </a:lnTo>
                        <a:lnTo>
                          <a:pt x="3692910" y="235500"/>
                        </a:lnTo>
                        <a:lnTo>
                          <a:pt x="3702475" y="236259"/>
                        </a:lnTo>
                        <a:lnTo>
                          <a:pt x="3711890" y="237409"/>
                        </a:lnTo>
                        <a:lnTo>
                          <a:pt x="3720936" y="239383"/>
                        </a:lnTo>
                        <a:lnTo>
                          <a:pt x="3728377" y="241705"/>
                        </a:lnTo>
                        <a:lnTo>
                          <a:pt x="3752195" y="251444"/>
                        </a:lnTo>
                        <a:lnTo>
                          <a:pt x="3759461" y="256628"/>
                        </a:lnTo>
                        <a:lnTo>
                          <a:pt x="3765687" y="263548"/>
                        </a:lnTo>
                        <a:lnTo>
                          <a:pt x="3777206" y="280794"/>
                        </a:lnTo>
                        <a:lnTo>
                          <a:pt x="3781913" y="288538"/>
                        </a:lnTo>
                        <a:lnTo>
                          <a:pt x="3786620" y="299450"/>
                        </a:lnTo>
                        <a:lnTo>
                          <a:pt x="3788899" y="307562"/>
                        </a:lnTo>
                        <a:lnTo>
                          <a:pt x="3789636" y="312335"/>
                        </a:lnTo>
                        <a:lnTo>
                          <a:pt x="3790177" y="321098"/>
                        </a:lnTo>
                        <a:lnTo>
                          <a:pt x="3788790" y="333289"/>
                        </a:lnTo>
                        <a:lnTo>
                          <a:pt x="3841828" y="319537"/>
                        </a:lnTo>
                        <a:lnTo>
                          <a:pt x="3863043" y="310686"/>
                        </a:lnTo>
                        <a:lnTo>
                          <a:pt x="3875971" y="300100"/>
                        </a:lnTo>
                        <a:lnTo>
                          <a:pt x="3883368" y="286217"/>
                        </a:lnTo>
                        <a:lnTo>
                          <a:pt x="3891264" y="280881"/>
                        </a:lnTo>
                        <a:lnTo>
                          <a:pt x="3897296" y="277757"/>
                        </a:lnTo>
                        <a:lnTo>
                          <a:pt x="3901460" y="276716"/>
                        </a:lnTo>
                        <a:lnTo>
                          <a:pt x="3906493" y="276238"/>
                        </a:lnTo>
                        <a:lnTo>
                          <a:pt x="3915127" y="276347"/>
                        </a:lnTo>
                        <a:lnTo>
                          <a:pt x="3924672" y="277736"/>
                        </a:lnTo>
                        <a:lnTo>
                          <a:pt x="3936949" y="280251"/>
                        </a:lnTo>
                        <a:lnTo>
                          <a:pt x="3947687" y="283440"/>
                        </a:lnTo>
                        <a:lnTo>
                          <a:pt x="3991484" y="295588"/>
                        </a:lnTo>
                        <a:lnTo>
                          <a:pt x="4020140" y="298560"/>
                        </a:lnTo>
                        <a:lnTo>
                          <a:pt x="4060922" y="304200"/>
                        </a:lnTo>
                        <a:lnTo>
                          <a:pt x="4091421" y="312313"/>
                        </a:lnTo>
                        <a:lnTo>
                          <a:pt x="4203809" y="344439"/>
                        </a:lnTo>
                        <a:lnTo>
                          <a:pt x="4241729" y="341207"/>
                        </a:lnTo>
                        <a:lnTo>
                          <a:pt x="4276349" y="335524"/>
                        </a:lnTo>
                        <a:lnTo>
                          <a:pt x="4332034" y="326153"/>
                        </a:lnTo>
                        <a:lnTo>
                          <a:pt x="4389910" y="313896"/>
                        </a:lnTo>
                        <a:lnTo>
                          <a:pt x="4483903" y="321575"/>
                        </a:lnTo>
                        <a:lnTo>
                          <a:pt x="4494033" y="321793"/>
                        </a:lnTo>
                        <a:lnTo>
                          <a:pt x="4507743" y="319949"/>
                        </a:lnTo>
                        <a:lnTo>
                          <a:pt x="4518459" y="316175"/>
                        </a:lnTo>
                        <a:lnTo>
                          <a:pt x="4533622" y="309167"/>
                        </a:lnTo>
                        <a:lnTo>
                          <a:pt x="4543275" y="305025"/>
                        </a:lnTo>
                        <a:lnTo>
                          <a:pt x="4555987" y="298669"/>
                        </a:lnTo>
                        <a:lnTo>
                          <a:pt x="4610716" y="313181"/>
                        </a:lnTo>
                        <a:lnTo>
                          <a:pt x="4617984" y="313463"/>
                        </a:lnTo>
                        <a:lnTo>
                          <a:pt x="4653712" y="329407"/>
                        </a:lnTo>
                        <a:lnTo>
                          <a:pt x="4747943" y="372445"/>
                        </a:lnTo>
                        <a:lnTo>
                          <a:pt x="4854237" y="918747"/>
                        </a:lnTo>
                        <a:lnTo>
                          <a:pt x="4592560" y="1005105"/>
                        </a:lnTo>
                        <a:lnTo>
                          <a:pt x="4272185" y="1106040"/>
                        </a:lnTo>
                        <a:lnTo>
                          <a:pt x="4010617" y="1188254"/>
                        </a:lnTo>
                        <a:lnTo>
                          <a:pt x="3954412" y="1206238"/>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dirty="0">
                      <a:ln w="9525">
                        <a:solidFill>
                          <a:srgbClr val="FF0000"/>
                        </a:solidFill>
                      </a:ln>
                      <a:solidFill>
                        <a:srgbClr val="002060"/>
                      </a:solidFill>
                      <a:latin typeface="+mn-lt"/>
                      <a:cs typeface="+mn-cs"/>
                    </a:endParaRPr>
                  </a:p>
                </p:txBody>
              </p:sp>
              <p:sp>
                <p:nvSpPr>
                  <p:cNvPr id="59" name="Freeform: Shape 58">
                    <a:extLst>
                      <a:ext uri="{FF2B5EF4-FFF2-40B4-BE49-F238E27FC236}">
                        <a16:creationId xmlns:a16="http://schemas.microsoft.com/office/drawing/2014/main" id="{02395F2E-3632-4150-ADE9-7E76BF53C186}"/>
                      </a:ext>
                    </a:extLst>
                  </p:cNvPr>
                  <p:cNvSpPr/>
                  <p:nvPr/>
                </p:nvSpPr>
                <p:spPr>
                  <a:xfrm rot="181754">
                    <a:off x="6027505" y="4671907"/>
                    <a:ext cx="570834" cy="495345"/>
                  </a:xfrm>
                  <a:custGeom>
                    <a:avLst/>
                    <a:gdLst>
                      <a:gd name="connsiteX0" fmla="*/ 2007492 w 2009775"/>
                      <a:gd name="connsiteY0" fmla="*/ 629783 h 1162050"/>
                      <a:gd name="connsiteX1" fmla="*/ 1976277 w 2009775"/>
                      <a:gd name="connsiteY1" fmla="*/ 629327 h 1162050"/>
                      <a:gd name="connsiteX2" fmla="*/ 1960115 w 2009775"/>
                      <a:gd name="connsiteY2" fmla="*/ 628763 h 1162050"/>
                      <a:gd name="connsiteX3" fmla="*/ 1954216 w 2009775"/>
                      <a:gd name="connsiteY3" fmla="*/ 628394 h 1162050"/>
                      <a:gd name="connsiteX4" fmla="*/ 1943478 w 2009775"/>
                      <a:gd name="connsiteY4" fmla="*/ 627397 h 1162050"/>
                      <a:gd name="connsiteX5" fmla="*/ 1937231 w 2009775"/>
                      <a:gd name="connsiteY5" fmla="*/ 626724 h 1162050"/>
                      <a:gd name="connsiteX6" fmla="*/ 1927143 w 2009775"/>
                      <a:gd name="connsiteY6" fmla="*/ 625314 h 1162050"/>
                      <a:gd name="connsiteX7" fmla="*/ 1911742 w 2009775"/>
                      <a:gd name="connsiteY7" fmla="*/ 622668 h 1162050"/>
                      <a:gd name="connsiteX8" fmla="*/ 1902305 w 2009775"/>
                      <a:gd name="connsiteY8" fmla="*/ 620628 h 1162050"/>
                      <a:gd name="connsiteX9" fmla="*/ 1902110 w 2009775"/>
                      <a:gd name="connsiteY9" fmla="*/ 620585 h 1162050"/>
                      <a:gd name="connsiteX10" fmla="*/ 1902544 w 2009775"/>
                      <a:gd name="connsiteY10" fmla="*/ 619738 h 1162050"/>
                      <a:gd name="connsiteX11" fmla="*/ 1895754 w 2009775"/>
                      <a:gd name="connsiteY11" fmla="*/ 618047 h 1162050"/>
                      <a:gd name="connsiteX12" fmla="*/ 1889355 w 2009775"/>
                      <a:gd name="connsiteY12" fmla="*/ 616225 h 1162050"/>
                      <a:gd name="connsiteX13" fmla="*/ 1870656 w 2009775"/>
                      <a:gd name="connsiteY13" fmla="*/ 610173 h 1162050"/>
                      <a:gd name="connsiteX14" fmla="*/ 1864625 w 2009775"/>
                      <a:gd name="connsiteY14" fmla="*/ 607722 h 1162050"/>
                      <a:gd name="connsiteX15" fmla="*/ 1859723 w 2009775"/>
                      <a:gd name="connsiteY15" fmla="*/ 606094 h 1162050"/>
                      <a:gd name="connsiteX16" fmla="*/ 1849614 w 2009775"/>
                      <a:gd name="connsiteY16" fmla="*/ 603317 h 1162050"/>
                      <a:gd name="connsiteX17" fmla="*/ 1848812 w 2009775"/>
                      <a:gd name="connsiteY17" fmla="*/ 605205 h 1162050"/>
                      <a:gd name="connsiteX18" fmla="*/ 1841133 w 2009775"/>
                      <a:gd name="connsiteY18" fmla="*/ 604966 h 1162050"/>
                      <a:gd name="connsiteX19" fmla="*/ 1826816 w 2009775"/>
                      <a:gd name="connsiteY19" fmla="*/ 604597 h 1162050"/>
                      <a:gd name="connsiteX20" fmla="*/ 1815449 w 2009775"/>
                      <a:gd name="connsiteY20" fmla="*/ 605378 h 1162050"/>
                      <a:gd name="connsiteX21" fmla="*/ 1810329 w 2009775"/>
                      <a:gd name="connsiteY21" fmla="*/ 605986 h 1162050"/>
                      <a:gd name="connsiteX22" fmla="*/ 1806511 w 2009775"/>
                      <a:gd name="connsiteY22" fmla="*/ 606659 h 1162050"/>
                      <a:gd name="connsiteX23" fmla="*/ 1800351 w 2009775"/>
                      <a:gd name="connsiteY23" fmla="*/ 608091 h 1162050"/>
                      <a:gd name="connsiteX24" fmla="*/ 1795470 w 2009775"/>
                      <a:gd name="connsiteY24" fmla="*/ 609478 h 1162050"/>
                      <a:gd name="connsiteX25" fmla="*/ 1789548 w 2009775"/>
                      <a:gd name="connsiteY25" fmla="*/ 611886 h 1162050"/>
                      <a:gd name="connsiteX26" fmla="*/ 1781131 w 2009775"/>
                      <a:gd name="connsiteY26" fmla="*/ 616485 h 1162050"/>
                      <a:gd name="connsiteX27" fmla="*/ 1779895 w 2009775"/>
                      <a:gd name="connsiteY27" fmla="*/ 617352 h 1162050"/>
                      <a:gd name="connsiteX28" fmla="*/ 1776706 w 2009775"/>
                      <a:gd name="connsiteY28" fmla="*/ 619869 h 1162050"/>
                      <a:gd name="connsiteX29" fmla="*/ 1771499 w 2009775"/>
                      <a:gd name="connsiteY29" fmla="*/ 625293 h 1162050"/>
                      <a:gd name="connsiteX30" fmla="*/ 1765729 w 2009775"/>
                      <a:gd name="connsiteY30" fmla="*/ 630499 h 1162050"/>
                      <a:gd name="connsiteX31" fmla="*/ 1759721 w 2009775"/>
                      <a:gd name="connsiteY31" fmla="*/ 635140 h 1162050"/>
                      <a:gd name="connsiteX32" fmla="*/ 1755252 w 2009775"/>
                      <a:gd name="connsiteY32" fmla="*/ 637657 h 1162050"/>
                      <a:gd name="connsiteX33" fmla="*/ 1744709 w 2009775"/>
                      <a:gd name="connsiteY33" fmla="*/ 642191 h 1162050"/>
                      <a:gd name="connsiteX34" fmla="*/ 1739960 w 2009775"/>
                      <a:gd name="connsiteY34" fmla="*/ 643948 h 1162050"/>
                      <a:gd name="connsiteX35" fmla="*/ 1734558 w 2009775"/>
                      <a:gd name="connsiteY35" fmla="*/ 645640 h 1162050"/>
                      <a:gd name="connsiteX36" fmla="*/ 1729547 w 2009775"/>
                      <a:gd name="connsiteY36" fmla="*/ 646833 h 1162050"/>
                      <a:gd name="connsiteX37" fmla="*/ 1725186 w 2009775"/>
                      <a:gd name="connsiteY37" fmla="*/ 647657 h 1162050"/>
                      <a:gd name="connsiteX38" fmla="*/ 1720935 w 2009775"/>
                      <a:gd name="connsiteY38" fmla="*/ 648394 h 1162050"/>
                      <a:gd name="connsiteX39" fmla="*/ 1712648 w 2009775"/>
                      <a:gd name="connsiteY39" fmla="*/ 649479 h 1162050"/>
                      <a:gd name="connsiteX40" fmla="*/ 1711346 w 2009775"/>
                      <a:gd name="connsiteY40" fmla="*/ 650043 h 1162050"/>
                      <a:gd name="connsiteX41" fmla="*/ 1709481 w 2009775"/>
                      <a:gd name="connsiteY41" fmla="*/ 651779 h 1162050"/>
                      <a:gd name="connsiteX42" fmla="*/ 1708332 w 2009775"/>
                      <a:gd name="connsiteY42" fmla="*/ 653449 h 1162050"/>
                      <a:gd name="connsiteX43" fmla="*/ 1707160 w 2009775"/>
                      <a:gd name="connsiteY43" fmla="*/ 657418 h 1162050"/>
                      <a:gd name="connsiteX44" fmla="*/ 1705685 w 2009775"/>
                      <a:gd name="connsiteY44" fmla="*/ 661150 h 1162050"/>
                      <a:gd name="connsiteX45" fmla="*/ 1703798 w 2009775"/>
                      <a:gd name="connsiteY45" fmla="*/ 664252 h 1162050"/>
                      <a:gd name="connsiteX46" fmla="*/ 1699828 w 2009775"/>
                      <a:gd name="connsiteY46" fmla="*/ 668829 h 1162050"/>
                      <a:gd name="connsiteX47" fmla="*/ 1693233 w 2009775"/>
                      <a:gd name="connsiteY47" fmla="*/ 674882 h 1162050"/>
                      <a:gd name="connsiteX48" fmla="*/ 1654361 w 2009775"/>
                      <a:gd name="connsiteY48" fmla="*/ 717940 h 1162050"/>
                      <a:gd name="connsiteX49" fmla="*/ 1623340 w 2009775"/>
                      <a:gd name="connsiteY49" fmla="*/ 715425 h 1162050"/>
                      <a:gd name="connsiteX50" fmla="*/ 1621844 w 2009775"/>
                      <a:gd name="connsiteY50" fmla="*/ 719069 h 1162050"/>
                      <a:gd name="connsiteX51" fmla="*/ 1619935 w 2009775"/>
                      <a:gd name="connsiteY51" fmla="*/ 722887 h 1162050"/>
                      <a:gd name="connsiteX52" fmla="*/ 1613970 w 2009775"/>
                      <a:gd name="connsiteY52" fmla="*/ 733711 h 1162050"/>
                      <a:gd name="connsiteX53" fmla="*/ 1610542 w 2009775"/>
                      <a:gd name="connsiteY53" fmla="*/ 738939 h 1162050"/>
                      <a:gd name="connsiteX54" fmla="*/ 1610281 w 2009775"/>
                      <a:gd name="connsiteY54" fmla="*/ 739720 h 1162050"/>
                      <a:gd name="connsiteX55" fmla="*/ 1610195 w 2009775"/>
                      <a:gd name="connsiteY55" fmla="*/ 753603 h 1162050"/>
                      <a:gd name="connsiteX56" fmla="*/ 1610563 w 2009775"/>
                      <a:gd name="connsiteY56" fmla="*/ 761261 h 1162050"/>
                      <a:gd name="connsiteX57" fmla="*/ 1610434 w 2009775"/>
                      <a:gd name="connsiteY57" fmla="*/ 767964 h 1162050"/>
                      <a:gd name="connsiteX58" fmla="*/ 1610152 w 2009775"/>
                      <a:gd name="connsiteY58" fmla="*/ 768441 h 1162050"/>
                      <a:gd name="connsiteX59" fmla="*/ 1609154 w 2009775"/>
                      <a:gd name="connsiteY59" fmla="*/ 768940 h 1162050"/>
                      <a:gd name="connsiteX60" fmla="*/ 1607614 w 2009775"/>
                      <a:gd name="connsiteY60" fmla="*/ 769417 h 1162050"/>
                      <a:gd name="connsiteX61" fmla="*/ 1601258 w 2009775"/>
                      <a:gd name="connsiteY61" fmla="*/ 768853 h 1162050"/>
                      <a:gd name="connsiteX62" fmla="*/ 1596463 w 2009775"/>
                      <a:gd name="connsiteY62" fmla="*/ 768874 h 1162050"/>
                      <a:gd name="connsiteX63" fmla="*/ 1594034 w 2009775"/>
                      <a:gd name="connsiteY63" fmla="*/ 769091 h 1162050"/>
                      <a:gd name="connsiteX64" fmla="*/ 1591843 w 2009775"/>
                      <a:gd name="connsiteY64" fmla="*/ 769395 h 1162050"/>
                      <a:gd name="connsiteX65" fmla="*/ 1585661 w 2009775"/>
                      <a:gd name="connsiteY65" fmla="*/ 771326 h 1162050"/>
                      <a:gd name="connsiteX66" fmla="*/ 1580324 w 2009775"/>
                      <a:gd name="connsiteY66" fmla="*/ 772476 h 1162050"/>
                      <a:gd name="connsiteX67" fmla="*/ 1580324 w 2009775"/>
                      <a:gd name="connsiteY67" fmla="*/ 775838 h 1162050"/>
                      <a:gd name="connsiteX68" fmla="*/ 1580042 w 2009775"/>
                      <a:gd name="connsiteY68" fmla="*/ 778397 h 1162050"/>
                      <a:gd name="connsiteX69" fmla="*/ 1580368 w 2009775"/>
                      <a:gd name="connsiteY69" fmla="*/ 783604 h 1162050"/>
                      <a:gd name="connsiteX70" fmla="*/ 1579739 w 2009775"/>
                      <a:gd name="connsiteY70" fmla="*/ 807205 h 1162050"/>
                      <a:gd name="connsiteX71" fmla="*/ 1579891 w 2009775"/>
                      <a:gd name="connsiteY71" fmla="*/ 808593 h 1162050"/>
                      <a:gd name="connsiteX72" fmla="*/ 1579521 w 2009775"/>
                      <a:gd name="connsiteY72" fmla="*/ 826034 h 1162050"/>
                      <a:gd name="connsiteX73" fmla="*/ 1579153 w 2009775"/>
                      <a:gd name="connsiteY73" fmla="*/ 831111 h 1162050"/>
                      <a:gd name="connsiteX74" fmla="*/ 1579239 w 2009775"/>
                      <a:gd name="connsiteY74" fmla="*/ 833735 h 1162050"/>
                      <a:gd name="connsiteX75" fmla="*/ 1579934 w 2009775"/>
                      <a:gd name="connsiteY75" fmla="*/ 836620 h 1162050"/>
                      <a:gd name="connsiteX76" fmla="*/ 1579673 w 2009775"/>
                      <a:gd name="connsiteY76" fmla="*/ 838355 h 1162050"/>
                      <a:gd name="connsiteX77" fmla="*/ 1578979 w 2009775"/>
                      <a:gd name="connsiteY77" fmla="*/ 839418 h 1162050"/>
                      <a:gd name="connsiteX78" fmla="*/ 1569933 w 2009775"/>
                      <a:gd name="connsiteY78" fmla="*/ 846143 h 1162050"/>
                      <a:gd name="connsiteX79" fmla="*/ 1569522 w 2009775"/>
                      <a:gd name="connsiteY79" fmla="*/ 846577 h 1162050"/>
                      <a:gd name="connsiteX80" fmla="*/ 1569066 w 2009775"/>
                      <a:gd name="connsiteY80" fmla="*/ 847770 h 1162050"/>
                      <a:gd name="connsiteX81" fmla="*/ 1567265 w 2009775"/>
                      <a:gd name="connsiteY81" fmla="*/ 849462 h 1162050"/>
                      <a:gd name="connsiteX82" fmla="*/ 1557851 w 2009775"/>
                      <a:gd name="connsiteY82" fmla="*/ 857553 h 1162050"/>
                      <a:gd name="connsiteX83" fmla="*/ 1554792 w 2009775"/>
                      <a:gd name="connsiteY83" fmla="*/ 859809 h 1162050"/>
                      <a:gd name="connsiteX84" fmla="*/ 1551863 w 2009775"/>
                      <a:gd name="connsiteY84" fmla="*/ 862630 h 1162050"/>
                      <a:gd name="connsiteX85" fmla="*/ 1523577 w 2009775"/>
                      <a:gd name="connsiteY85" fmla="*/ 886643 h 1162050"/>
                      <a:gd name="connsiteX86" fmla="*/ 1515160 w 2009775"/>
                      <a:gd name="connsiteY86" fmla="*/ 893975 h 1162050"/>
                      <a:gd name="connsiteX87" fmla="*/ 1514445 w 2009775"/>
                      <a:gd name="connsiteY87" fmla="*/ 894799 h 1162050"/>
                      <a:gd name="connsiteX88" fmla="*/ 1513359 w 2009775"/>
                      <a:gd name="connsiteY88" fmla="*/ 895255 h 1162050"/>
                      <a:gd name="connsiteX89" fmla="*/ 1511169 w 2009775"/>
                      <a:gd name="connsiteY89" fmla="*/ 894973 h 1162050"/>
                      <a:gd name="connsiteX90" fmla="*/ 1508717 w 2009775"/>
                      <a:gd name="connsiteY90" fmla="*/ 894929 h 1162050"/>
                      <a:gd name="connsiteX91" fmla="*/ 1508002 w 2009775"/>
                      <a:gd name="connsiteY91" fmla="*/ 896123 h 1162050"/>
                      <a:gd name="connsiteX92" fmla="*/ 1506591 w 2009775"/>
                      <a:gd name="connsiteY92" fmla="*/ 903498 h 1162050"/>
                      <a:gd name="connsiteX93" fmla="*/ 1503858 w 2009775"/>
                      <a:gd name="connsiteY93" fmla="*/ 903607 h 1162050"/>
                      <a:gd name="connsiteX94" fmla="*/ 1503012 w 2009775"/>
                      <a:gd name="connsiteY94" fmla="*/ 904170 h 1162050"/>
                      <a:gd name="connsiteX95" fmla="*/ 1491559 w 2009775"/>
                      <a:gd name="connsiteY95" fmla="*/ 914128 h 1162050"/>
                      <a:gd name="connsiteX96" fmla="*/ 1485398 w 2009775"/>
                      <a:gd name="connsiteY96" fmla="*/ 919117 h 1162050"/>
                      <a:gd name="connsiteX97" fmla="*/ 1443271 w 2009775"/>
                      <a:gd name="connsiteY97" fmla="*/ 916860 h 1162050"/>
                      <a:gd name="connsiteX98" fmla="*/ 1432122 w 2009775"/>
                      <a:gd name="connsiteY98" fmla="*/ 916687 h 1162050"/>
                      <a:gd name="connsiteX99" fmla="*/ 1412164 w 2009775"/>
                      <a:gd name="connsiteY99" fmla="*/ 915429 h 1162050"/>
                      <a:gd name="connsiteX100" fmla="*/ 1396285 w 2009775"/>
                      <a:gd name="connsiteY100" fmla="*/ 913953 h 1162050"/>
                      <a:gd name="connsiteX101" fmla="*/ 1380580 w 2009775"/>
                      <a:gd name="connsiteY101" fmla="*/ 912761 h 1162050"/>
                      <a:gd name="connsiteX102" fmla="*/ 1348540 w 2009775"/>
                      <a:gd name="connsiteY102" fmla="*/ 909681 h 1162050"/>
                      <a:gd name="connsiteX103" fmla="*/ 1332878 w 2009775"/>
                      <a:gd name="connsiteY103" fmla="*/ 908574 h 1162050"/>
                      <a:gd name="connsiteX104" fmla="*/ 1270534 w 2009775"/>
                      <a:gd name="connsiteY104" fmla="*/ 902239 h 1162050"/>
                      <a:gd name="connsiteX105" fmla="*/ 1217236 w 2009775"/>
                      <a:gd name="connsiteY105" fmla="*/ 896296 h 1162050"/>
                      <a:gd name="connsiteX106" fmla="*/ 1182376 w 2009775"/>
                      <a:gd name="connsiteY106" fmla="*/ 892023 h 1162050"/>
                      <a:gd name="connsiteX107" fmla="*/ 1179318 w 2009775"/>
                      <a:gd name="connsiteY107" fmla="*/ 895146 h 1162050"/>
                      <a:gd name="connsiteX108" fmla="*/ 1173244 w 2009775"/>
                      <a:gd name="connsiteY108" fmla="*/ 902348 h 1162050"/>
                      <a:gd name="connsiteX109" fmla="*/ 1170944 w 2009775"/>
                      <a:gd name="connsiteY109" fmla="*/ 904583 h 1162050"/>
                      <a:gd name="connsiteX110" fmla="*/ 1169600 w 2009775"/>
                      <a:gd name="connsiteY110" fmla="*/ 907208 h 1162050"/>
                      <a:gd name="connsiteX111" fmla="*/ 1168883 w 2009775"/>
                      <a:gd name="connsiteY111" fmla="*/ 907814 h 1162050"/>
                      <a:gd name="connsiteX112" fmla="*/ 1165934 w 2009775"/>
                      <a:gd name="connsiteY112" fmla="*/ 908899 h 1162050"/>
                      <a:gd name="connsiteX113" fmla="*/ 1163091 w 2009775"/>
                      <a:gd name="connsiteY113" fmla="*/ 910331 h 1162050"/>
                      <a:gd name="connsiteX114" fmla="*/ 1159816 w 2009775"/>
                      <a:gd name="connsiteY114" fmla="*/ 911589 h 1162050"/>
                      <a:gd name="connsiteX115" fmla="*/ 1157127 w 2009775"/>
                      <a:gd name="connsiteY115" fmla="*/ 912413 h 1162050"/>
                      <a:gd name="connsiteX116" fmla="*/ 1153829 w 2009775"/>
                      <a:gd name="connsiteY116" fmla="*/ 914106 h 1162050"/>
                      <a:gd name="connsiteX117" fmla="*/ 1150791 w 2009775"/>
                      <a:gd name="connsiteY117" fmla="*/ 915060 h 1162050"/>
                      <a:gd name="connsiteX118" fmla="*/ 1142440 w 2009775"/>
                      <a:gd name="connsiteY118" fmla="*/ 918465 h 1162050"/>
                      <a:gd name="connsiteX119" fmla="*/ 1135433 w 2009775"/>
                      <a:gd name="connsiteY119" fmla="*/ 921785 h 1162050"/>
                      <a:gd name="connsiteX120" fmla="*/ 1127104 w 2009775"/>
                      <a:gd name="connsiteY120" fmla="*/ 924517 h 1162050"/>
                      <a:gd name="connsiteX121" fmla="*/ 1115976 w 2009775"/>
                      <a:gd name="connsiteY121" fmla="*/ 929399 h 1162050"/>
                      <a:gd name="connsiteX122" fmla="*/ 1108752 w 2009775"/>
                      <a:gd name="connsiteY122" fmla="*/ 932305 h 1162050"/>
                      <a:gd name="connsiteX123" fmla="*/ 1101724 w 2009775"/>
                      <a:gd name="connsiteY123" fmla="*/ 935776 h 1162050"/>
                      <a:gd name="connsiteX124" fmla="*/ 1089706 w 2009775"/>
                      <a:gd name="connsiteY124" fmla="*/ 941243 h 1162050"/>
                      <a:gd name="connsiteX125" fmla="*/ 1075259 w 2009775"/>
                      <a:gd name="connsiteY125" fmla="*/ 946861 h 1162050"/>
                      <a:gd name="connsiteX126" fmla="*/ 1047298 w 2009775"/>
                      <a:gd name="connsiteY126" fmla="*/ 959269 h 1162050"/>
                      <a:gd name="connsiteX127" fmla="*/ 1028012 w 2009775"/>
                      <a:gd name="connsiteY127" fmla="*/ 968054 h 1162050"/>
                      <a:gd name="connsiteX128" fmla="*/ 1022068 w 2009775"/>
                      <a:gd name="connsiteY128" fmla="*/ 970462 h 1162050"/>
                      <a:gd name="connsiteX129" fmla="*/ 1018165 w 2009775"/>
                      <a:gd name="connsiteY129" fmla="*/ 972719 h 1162050"/>
                      <a:gd name="connsiteX130" fmla="*/ 1001071 w 2009775"/>
                      <a:gd name="connsiteY130" fmla="*/ 979335 h 1162050"/>
                      <a:gd name="connsiteX131" fmla="*/ 996472 w 2009775"/>
                      <a:gd name="connsiteY131" fmla="*/ 981894 h 1162050"/>
                      <a:gd name="connsiteX132" fmla="*/ 992914 w 2009775"/>
                      <a:gd name="connsiteY132" fmla="*/ 984779 h 1162050"/>
                      <a:gd name="connsiteX133" fmla="*/ 969942 w 2009775"/>
                      <a:gd name="connsiteY133" fmla="*/ 998814 h 1162050"/>
                      <a:gd name="connsiteX134" fmla="*/ 964454 w 2009775"/>
                      <a:gd name="connsiteY134" fmla="*/ 1001071 h 1162050"/>
                      <a:gd name="connsiteX135" fmla="*/ 959703 w 2009775"/>
                      <a:gd name="connsiteY135" fmla="*/ 1003457 h 1162050"/>
                      <a:gd name="connsiteX136" fmla="*/ 958162 w 2009775"/>
                      <a:gd name="connsiteY136" fmla="*/ 1004867 h 1162050"/>
                      <a:gd name="connsiteX137" fmla="*/ 956666 w 2009775"/>
                      <a:gd name="connsiteY137" fmla="*/ 1007470 h 1162050"/>
                      <a:gd name="connsiteX138" fmla="*/ 956036 w 2009775"/>
                      <a:gd name="connsiteY138" fmla="*/ 1007991 h 1162050"/>
                      <a:gd name="connsiteX139" fmla="*/ 953455 w 2009775"/>
                      <a:gd name="connsiteY139" fmla="*/ 1008641 h 1162050"/>
                      <a:gd name="connsiteX140" fmla="*/ 950636 w 2009775"/>
                      <a:gd name="connsiteY140" fmla="*/ 1009640 h 1162050"/>
                      <a:gd name="connsiteX141" fmla="*/ 946058 w 2009775"/>
                      <a:gd name="connsiteY141" fmla="*/ 1011787 h 1162050"/>
                      <a:gd name="connsiteX142" fmla="*/ 941351 w 2009775"/>
                      <a:gd name="connsiteY142" fmla="*/ 1014607 h 1162050"/>
                      <a:gd name="connsiteX143" fmla="*/ 929290 w 2009775"/>
                      <a:gd name="connsiteY143" fmla="*/ 1022329 h 1162050"/>
                      <a:gd name="connsiteX144" fmla="*/ 918835 w 2009775"/>
                      <a:gd name="connsiteY144" fmla="*/ 1029249 h 1162050"/>
                      <a:gd name="connsiteX145" fmla="*/ 908877 w 2009775"/>
                      <a:gd name="connsiteY145" fmla="*/ 1034759 h 1162050"/>
                      <a:gd name="connsiteX146" fmla="*/ 903845 w 2009775"/>
                      <a:gd name="connsiteY146" fmla="*/ 1037817 h 1162050"/>
                      <a:gd name="connsiteX147" fmla="*/ 895146 w 2009775"/>
                      <a:gd name="connsiteY147" fmla="*/ 1042525 h 1162050"/>
                      <a:gd name="connsiteX148" fmla="*/ 889094 w 2009775"/>
                      <a:gd name="connsiteY148" fmla="*/ 1046386 h 1162050"/>
                      <a:gd name="connsiteX149" fmla="*/ 887380 w 2009775"/>
                      <a:gd name="connsiteY149" fmla="*/ 1047709 h 1162050"/>
                      <a:gd name="connsiteX150" fmla="*/ 886209 w 2009775"/>
                      <a:gd name="connsiteY150" fmla="*/ 1048252 h 1162050"/>
                      <a:gd name="connsiteX151" fmla="*/ 883909 w 2009775"/>
                      <a:gd name="connsiteY151" fmla="*/ 1048989 h 1162050"/>
                      <a:gd name="connsiteX152" fmla="*/ 883323 w 2009775"/>
                      <a:gd name="connsiteY152" fmla="*/ 1049358 h 1162050"/>
                      <a:gd name="connsiteX153" fmla="*/ 875927 w 2009775"/>
                      <a:gd name="connsiteY153" fmla="*/ 1074478 h 1162050"/>
                      <a:gd name="connsiteX154" fmla="*/ 876187 w 2009775"/>
                      <a:gd name="connsiteY154" fmla="*/ 1077342 h 1162050"/>
                      <a:gd name="connsiteX155" fmla="*/ 875818 w 2009775"/>
                      <a:gd name="connsiteY155" fmla="*/ 1078274 h 1162050"/>
                      <a:gd name="connsiteX156" fmla="*/ 872890 w 2009775"/>
                      <a:gd name="connsiteY156" fmla="*/ 1081723 h 1162050"/>
                      <a:gd name="connsiteX157" fmla="*/ 872239 w 2009775"/>
                      <a:gd name="connsiteY157" fmla="*/ 1082721 h 1162050"/>
                      <a:gd name="connsiteX158" fmla="*/ 870829 w 2009775"/>
                      <a:gd name="connsiteY158" fmla="*/ 1086062 h 1162050"/>
                      <a:gd name="connsiteX159" fmla="*/ 868291 w 2009775"/>
                      <a:gd name="connsiteY159" fmla="*/ 1089468 h 1162050"/>
                      <a:gd name="connsiteX160" fmla="*/ 867076 w 2009775"/>
                      <a:gd name="connsiteY160" fmla="*/ 1091615 h 1162050"/>
                      <a:gd name="connsiteX161" fmla="*/ 863671 w 2009775"/>
                      <a:gd name="connsiteY161" fmla="*/ 1095802 h 1162050"/>
                      <a:gd name="connsiteX162" fmla="*/ 862933 w 2009775"/>
                      <a:gd name="connsiteY162" fmla="*/ 1097580 h 1162050"/>
                      <a:gd name="connsiteX163" fmla="*/ 862369 w 2009775"/>
                      <a:gd name="connsiteY163" fmla="*/ 1101182 h 1162050"/>
                      <a:gd name="connsiteX164" fmla="*/ 861263 w 2009775"/>
                      <a:gd name="connsiteY164" fmla="*/ 1102071 h 1162050"/>
                      <a:gd name="connsiteX165" fmla="*/ 857770 w 2009775"/>
                      <a:gd name="connsiteY165" fmla="*/ 1103698 h 1162050"/>
                      <a:gd name="connsiteX166" fmla="*/ 853107 w 2009775"/>
                      <a:gd name="connsiteY166" fmla="*/ 1107971 h 1162050"/>
                      <a:gd name="connsiteX167" fmla="*/ 850503 w 2009775"/>
                      <a:gd name="connsiteY167" fmla="*/ 1111051 h 1162050"/>
                      <a:gd name="connsiteX168" fmla="*/ 847466 w 2009775"/>
                      <a:gd name="connsiteY168" fmla="*/ 1115628 h 1162050"/>
                      <a:gd name="connsiteX169" fmla="*/ 843344 w 2009775"/>
                      <a:gd name="connsiteY169" fmla="*/ 1120335 h 1162050"/>
                      <a:gd name="connsiteX170" fmla="*/ 838941 w 2009775"/>
                      <a:gd name="connsiteY170" fmla="*/ 1125976 h 1162050"/>
                      <a:gd name="connsiteX171" fmla="*/ 836815 w 2009775"/>
                      <a:gd name="connsiteY171" fmla="*/ 1126431 h 1162050"/>
                      <a:gd name="connsiteX172" fmla="*/ 835536 w 2009775"/>
                      <a:gd name="connsiteY172" fmla="*/ 1125542 h 1162050"/>
                      <a:gd name="connsiteX173" fmla="*/ 833106 w 2009775"/>
                      <a:gd name="connsiteY173" fmla="*/ 1124370 h 1162050"/>
                      <a:gd name="connsiteX174" fmla="*/ 820893 w 2009775"/>
                      <a:gd name="connsiteY174" fmla="*/ 1119576 h 1162050"/>
                      <a:gd name="connsiteX175" fmla="*/ 818441 w 2009775"/>
                      <a:gd name="connsiteY175" fmla="*/ 1118406 h 1162050"/>
                      <a:gd name="connsiteX176" fmla="*/ 816164 w 2009775"/>
                      <a:gd name="connsiteY176" fmla="*/ 1117082 h 1162050"/>
                      <a:gd name="connsiteX177" fmla="*/ 813279 w 2009775"/>
                      <a:gd name="connsiteY177" fmla="*/ 1114826 h 1162050"/>
                      <a:gd name="connsiteX178" fmla="*/ 811327 w 2009775"/>
                      <a:gd name="connsiteY178" fmla="*/ 1112591 h 1162050"/>
                      <a:gd name="connsiteX179" fmla="*/ 809699 w 2009775"/>
                      <a:gd name="connsiteY179" fmla="*/ 1109511 h 1162050"/>
                      <a:gd name="connsiteX180" fmla="*/ 809070 w 2009775"/>
                      <a:gd name="connsiteY180" fmla="*/ 1106886 h 1162050"/>
                      <a:gd name="connsiteX181" fmla="*/ 808637 w 2009775"/>
                      <a:gd name="connsiteY181" fmla="*/ 1100010 h 1162050"/>
                      <a:gd name="connsiteX182" fmla="*/ 808094 w 2009775"/>
                      <a:gd name="connsiteY182" fmla="*/ 1097689 h 1162050"/>
                      <a:gd name="connsiteX183" fmla="*/ 807422 w 2009775"/>
                      <a:gd name="connsiteY183" fmla="*/ 1095867 h 1162050"/>
                      <a:gd name="connsiteX184" fmla="*/ 806229 w 2009775"/>
                      <a:gd name="connsiteY184" fmla="*/ 1095671 h 1162050"/>
                      <a:gd name="connsiteX185" fmla="*/ 802195 w 2009775"/>
                      <a:gd name="connsiteY185" fmla="*/ 1098730 h 1162050"/>
                      <a:gd name="connsiteX186" fmla="*/ 798333 w 2009775"/>
                      <a:gd name="connsiteY186" fmla="*/ 1102851 h 1162050"/>
                      <a:gd name="connsiteX187" fmla="*/ 796337 w 2009775"/>
                      <a:gd name="connsiteY187" fmla="*/ 1104370 h 1162050"/>
                      <a:gd name="connsiteX188" fmla="*/ 794254 w 2009775"/>
                      <a:gd name="connsiteY188" fmla="*/ 1105433 h 1162050"/>
                      <a:gd name="connsiteX189" fmla="*/ 792085 w 2009775"/>
                      <a:gd name="connsiteY189" fmla="*/ 1106214 h 1162050"/>
                      <a:gd name="connsiteX190" fmla="*/ 787790 w 2009775"/>
                      <a:gd name="connsiteY190" fmla="*/ 1107190 h 1162050"/>
                      <a:gd name="connsiteX191" fmla="*/ 783777 w 2009775"/>
                      <a:gd name="connsiteY191" fmla="*/ 1107928 h 1162050"/>
                      <a:gd name="connsiteX192" fmla="*/ 777551 w 2009775"/>
                      <a:gd name="connsiteY192" fmla="*/ 1108622 h 1162050"/>
                      <a:gd name="connsiteX193" fmla="*/ 773907 w 2009775"/>
                      <a:gd name="connsiteY193" fmla="*/ 1108665 h 1162050"/>
                      <a:gd name="connsiteX194" fmla="*/ 764839 w 2009775"/>
                      <a:gd name="connsiteY194" fmla="*/ 1108080 h 1162050"/>
                      <a:gd name="connsiteX195" fmla="*/ 762670 w 2009775"/>
                      <a:gd name="connsiteY195" fmla="*/ 1108080 h 1162050"/>
                      <a:gd name="connsiteX196" fmla="*/ 757660 w 2009775"/>
                      <a:gd name="connsiteY196" fmla="*/ 1108405 h 1162050"/>
                      <a:gd name="connsiteX197" fmla="*/ 744579 w 2009775"/>
                      <a:gd name="connsiteY197" fmla="*/ 1110119 h 1162050"/>
                      <a:gd name="connsiteX198" fmla="*/ 741585 w 2009775"/>
                      <a:gd name="connsiteY198" fmla="*/ 1110336 h 1162050"/>
                      <a:gd name="connsiteX199" fmla="*/ 727724 w 2009775"/>
                      <a:gd name="connsiteY199" fmla="*/ 1110726 h 1162050"/>
                      <a:gd name="connsiteX200" fmla="*/ 724123 w 2009775"/>
                      <a:gd name="connsiteY200" fmla="*/ 1111269 h 1162050"/>
                      <a:gd name="connsiteX201" fmla="*/ 722778 w 2009775"/>
                      <a:gd name="connsiteY201" fmla="*/ 1111637 h 1162050"/>
                      <a:gd name="connsiteX202" fmla="*/ 721195 w 2009775"/>
                      <a:gd name="connsiteY202" fmla="*/ 1112396 h 1162050"/>
                      <a:gd name="connsiteX203" fmla="*/ 719655 w 2009775"/>
                      <a:gd name="connsiteY203" fmla="*/ 1113351 h 1162050"/>
                      <a:gd name="connsiteX204" fmla="*/ 718700 w 2009775"/>
                      <a:gd name="connsiteY204" fmla="*/ 1114392 h 1162050"/>
                      <a:gd name="connsiteX205" fmla="*/ 713190 w 2009775"/>
                      <a:gd name="connsiteY205" fmla="*/ 1123156 h 1162050"/>
                      <a:gd name="connsiteX206" fmla="*/ 707897 w 2009775"/>
                      <a:gd name="connsiteY206" fmla="*/ 1134610 h 1162050"/>
                      <a:gd name="connsiteX207" fmla="*/ 704925 w 2009775"/>
                      <a:gd name="connsiteY207" fmla="*/ 1142029 h 1162050"/>
                      <a:gd name="connsiteX208" fmla="*/ 701454 w 2009775"/>
                      <a:gd name="connsiteY208" fmla="*/ 1148905 h 1162050"/>
                      <a:gd name="connsiteX209" fmla="*/ 699676 w 2009775"/>
                      <a:gd name="connsiteY209" fmla="*/ 1151768 h 1162050"/>
                      <a:gd name="connsiteX210" fmla="*/ 695337 w 2009775"/>
                      <a:gd name="connsiteY210" fmla="*/ 1156519 h 1162050"/>
                      <a:gd name="connsiteX211" fmla="*/ 689003 w 2009775"/>
                      <a:gd name="connsiteY211" fmla="*/ 1155065 h 1162050"/>
                      <a:gd name="connsiteX212" fmla="*/ 682734 w 2009775"/>
                      <a:gd name="connsiteY212" fmla="*/ 1153960 h 1162050"/>
                      <a:gd name="connsiteX213" fmla="*/ 678937 w 2009775"/>
                      <a:gd name="connsiteY213" fmla="*/ 1153417 h 1162050"/>
                      <a:gd name="connsiteX214" fmla="*/ 671779 w 2009775"/>
                      <a:gd name="connsiteY214" fmla="*/ 1152788 h 1162050"/>
                      <a:gd name="connsiteX215" fmla="*/ 664946 w 2009775"/>
                      <a:gd name="connsiteY215" fmla="*/ 1152615 h 1162050"/>
                      <a:gd name="connsiteX216" fmla="*/ 647657 w 2009775"/>
                      <a:gd name="connsiteY216" fmla="*/ 1153157 h 1162050"/>
                      <a:gd name="connsiteX217" fmla="*/ 643492 w 2009775"/>
                      <a:gd name="connsiteY217" fmla="*/ 1152875 h 1162050"/>
                      <a:gd name="connsiteX218" fmla="*/ 638069 w 2009775"/>
                      <a:gd name="connsiteY218" fmla="*/ 1151552 h 1162050"/>
                      <a:gd name="connsiteX219" fmla="*/ 630108 w 2009775"/>
                      <a:gd name="connsiteY219" fmla="*/ 1148601 h 1162050"/>
                      <a:gd name="connsiteX220" fmla="*/ 624945 w 2009775"/>
                      <a:gd name="connsiteY220" fmla="*/ 1147018 h 1162050"/>
                      <a:gd name="connsiteX221" fmla="*/ 618004 w 2009775"/>
                      <a:gd name="connsiteY221" fmla="*/ 1146128 h 1162050"/>
                      <a:gd name="connsiteX222" fmla="*/ 610519 w 2009775"/>
                      <a:gd name="connsiteY222" fmla="*/ 1145759 h 1162050"/>
                      <a:gd name="connsiteX223" fmla="*/ 602471 w 2009775"/>
                      <a:gd name="connsiteY223" fmla="*/ 1145738 h 1162050"/>
                      <a:gd name="connsiteX224" fmla="*/ 597937 w 2009775"/>
                      <a:gd name="connsiteY224" fmla="*/ 1146388 h 1162050"/>
                      <a:gd name="connsiteX225" fmla="*/ 579998 w 2009775"/>
                      <a:gd name="connsiteY225" fmla="*/ 1151226 h 1162050"/>
                      <a:gd name="connsiteX226" fmla="*/ 569283 w 2009775"/>
                      <a:gd name="connsiteY226" fmla="*/ 1153656 h 1162050"/>
                      <a:gd name="connsiteX227" fmla="*/ 537156 w 2009775"/>
                      <a:gd name="connsiteY227" fmla="*/ 1113199 h 1162050"/>
                      <a:gd name="connsiteX228" fmla="*/ 495441 w 2009775"/>
                      <a:gd name="connsiteY228" fmla="*/ 1063914 h 1162050"/>
                      <a:gd name="connsiteX229" fmla="*/ 500929 w 2009775"/>
                      <a:gd name="connsiteY229" fmla="*/ 1061940 h 1162050"/>
                      <a:gd name="connsiteX230" fmla="*/ 405135 w 2009775"/>
                      <a:gd name="connsiteY230" fmla="*/ 960224 h 1162050"/>
                      <a:gd name="connsiteX231" fmla="*/ 390190 w 2009775"/>
                      <a:gd name="connsiteY231" fmla="*/ 944107 h 1162050"/>
                      <a:gd name="connsiteX232" fmla="*/ 377608 w 2009775"/>
                      <a:gd name="connsiteY232" fmla="*/ 931177 h 1162050"/>
                      <a:gd name="connsiteX233" fmla="*/ 378670 w 2009775"/>
                      <a:gd name="connsiteY233" fmla="*/ 930787 h 1162050"/>
                      <a:gd name="connsiteX234" fmla="*/ 308018 w 2009775"/>
                      <a:gd name="connsiteY234" fmla="*/ 848855 h 1162050"/>
                      <a:gd name="connsiteX235" fmla="*/ 222203 w 2009775"/>
                      <a:gd name="connsiteY235" fmla="*/ 749460 h 1162050"/>
                      <a:gd name="connsiteX236" fmla="*/ 175304 w 2009775"/>
                      <a:gd name="connsiteY236" fmla="*/ 695098 h 1162050"/>
                      <a:gd name="connsiteX237" fmla="*/ 176584 w 2009775"/>
                      <a:gd name="connsiteY237" fmla="*/ 694578 h 1162050"/>
                      <a:gd name="connsiteX238" fmla="*/ 174523 w 2009775"/>
                      <a:gd name="connsiteY238" fmla="*/ 692105 h 1162050"/>
                      <a:gd name="connsiteX239" fmla="*/ 152505 w 2009775"/>
                      <a:gd name="connsiteY239" fmla="*/ 667310 h 1162050"/>
                      <a:gd name="connsiteX240" fmla="*/ 127320 w 2009775"/>
                      <a:gd name="connsiteY240" fmla="*/ 640933 h 1162050"/>
                      <a:gd name="connsiteX241" fmla="*/ 128795 w 2009775"/>
                      <a:gd name="connsiteY241" fmla="*/ 640369 h 1162050"/>
                      <a:gd name="connsiteX242" fmla="*/ 111441 w 2009775"/>
                      <a:gd name="connsiteY242" fmla="*/ 623644 h 1162050"/>
                      <a:gd name="connsiteX243" fmla="*/ 101637 w 2009775"/>
                      <a:gd name="connsiteY243" fmla="*/ 615748 h 1162050"/>
                      <a:gd name="connsiteX244" fmla="*/ 91506 w 2009775"/>
                      <a:gd name="connsiteY244" fmla="*/ 605986 h 1162050"/>
                      <a:gd name="connsiteX245" fmla="*/ 80724 w 2009775"/>
                      <a:gd name="connsiteY245" fmla="*/ 590606 h 1162050"/>
                      <a:gd name="connsiteX246" fmla="*/ 75670 w 2009775"/>
                      <a:gd name="connsiteY246" fmla="*/ 585986 h 1162050"/>
                      <a:gd name="connsiteX247" fmla="*/ 58208 w 2009775"/>
                      <a:gd name="connsiteY247" fmla="*/ 574055 h 1162050"/>
                      <a:gd name="connsiteX248" fmla="*/ 32415 w 2009775"/>
                      <a:gd name="connsiteY248" fmla="*/ 549369 h 1162050"/>
                      <a:gd name="connsiteX249" fmla="*/ 27253 w 2009775"/>
                      <a:gd name="connsiteY249" fmla="*/ 543577 h 1162050"/>
                      <a:gd name="connsiteX250" fmla="*/ 10289 w 2009775"/>
                      <a:gd name="connsiteY250" fmla="*/ 522231 h 1162050"/>
                      <a:gd name="connsiteX251" fmla="*/ 17925 w 2009775"/>
                      <a:gd name="connsiteY251" fmla="*/ 520040 h 1162050"/>
                      <a:gd name="connsiteX252" fmla="*/ 9053 w 2009775"/>
                      <a:gd name="connsiteY252" fmla="*/ 513229 h 1162050"/>
                      <a:gd name="connsiteX253" fmla="*/ 19725 w 2009775"/>
                      <a:gd name="connsiteY253" fmla="*/ 507285 h 1162050"/>
                      <a:gd name="connsiteX254" fmla="*/ 7144 w 2009775"/>
                      <a:gd name="connsiteY254" fmla="*/ 497980 h 1162050"/>
                      <a:gd name="connsiteX255" fmla="*/ 13369 w 2009775"/>
                      <a:gd name="connsiteY255" fmla="*/ 491883 h 1162050"/>
                      <a:gd name="connsiteX256" fmla="*/ 21070 w 2009775"/>
                      <a:gd name="connsiteY256" fmla="*/ 488022 h 1162050"/>
                      <a:gd name="connsiteX257" fmla="*/ 28294 w 2009775"/>
                      <a:gd name="connsiteY257" fmla="*/ 483879 h 1162050"/>
                      <a:gd name="connsiteX258" fmla="*/ 23110 w 2009775"/>
                      <a:gd name="connsiteY258" fmla="*/ 480474 h 1162050"/>
                      <a:gd name="connsiteX259" fmla="*/ 31092 w 2009775"/>
                      <a:gd name="connsiteY259" fmla="*/ 476026 h 1162050"/>
                      <a:gd name="connsiteX260" fmla="*/ 57644 w 2009775"/>
                      <a:gd name="connsiteY260" fmla="*/ 460342 h 1162050"/>
                      <a:gd name="connsiteX261" fmla="*/ 73784 w 2009775"/>
                      <a:gd name="connsiteY261" fmla="*/ 449996 h 1162050"/>
                      <a:gd name="connsiteX262" fmla="*/ 111484 w 2009775"/>
                      <a:gd name="connsiteY262" fmla="*/ 424854 h 1162050"/>
                      <a:gd name="connsiteX263" fmla="*/ 154306 w 2009775"/>
                      <a:gd name="connsiteY263" fmla="*/ 410169 h 1162050"/>
                      <a:gd name="connsiteX264" fmla="*/ 159511 w 2009775"/>
                      <a:gd name="connsiteY264" fmla="*/ 408367 h 1162050"/>
                      <a:gd name="connsiteX265" fmla="*/ 135151 w 2009775"/>
                      <a:gd name="connsiteY265" fmla="*/ 381794 h 1162050"/>
                      <a:gd name="connsiteX266" fmla="*/ 210966 w 2009775"/>
                      <a:gd name="connsiteY266" fmla="*/ 355720 h 1162050"/>
                      <a:gd name="connsiteX267" fmla="*/ 211248 w 2009775"/>
                      <a:gd name="connsiteY267" fmla="*/ 343897 h 1162050"/>
                      <a:gd name="connsiteX268" fmla="*/ 209404 w 2009775"/>
                      <a:gd name="connsiteY268" fmla="*/ 340384 h 1162050"/>
                      <a:gd name="connsiteX269" fmla="*/ 197799 w 2009775"/>
                      <a:gd name="connsiteY269" fmla="*/ 327715 h 1162050"/>
                      <a:gd name="connsiteX270" fmla="*/ 196150 w 2009775"/>
                      <a:gd name="connsiteY270" fmla="*/ 325026 h 1162050"/>
                      <a:gd name="connsiteX271" fmla="*/ 234958 w 2009775"/>
                      <a:gd name="connsiteY271" fmla="*/ 311706 h 1162050"/>
                      <a:gd name="connsiteX272" fmla="*/ 238429 w 2009775"/>
                      <a:gd name="connsiteY272" fmla="*/ 304093 h 1162050"/>
                      <a:gd name="connsiteX273" fmla="*/ 244090 w 2009775"/>
                      <a:gd name="connsiteY273" fmla="*/ 290382 h 1162050"/>
                      <a:gd name="connsiteX274" fmla="*/ 245327 w 2009775"/>
                      <a:gd name="connsiteY274" fmla="*/ 288235 h 1162050"/>
                      <a:gd name="connsiteX275" fmla="*/ 245826 w 2009775"/>
                      <a:gd name="connsiteY275" fmla="*/ 286065 h 1162050"/>
                      <a:gd name="connsiteX276" fmla="*/ 229643 w 2009775"/>
                      <a:gd name="connsiteY276" fmla="*/ 268321 h 1162050"/>
                      <a:gd name="connsiteX277" fmla="*/ 243114 w 2009775"/>
                      <a:gd name="connsiteY277" fmla="*/ 263679 h 1162050"/>
                      <a:gd name="connsiteX278" fmla="*/ 261250 w 2009775"/>
                      <a:gd name="connsiteY278" fmla="*/ 257475 h 1162050"/>
                      <a:gd name="connsiteX279" fmla="*/ 249166 w 2009775"/>
                      <a:gd name="connsiteY279" fmla="*/ 241727 h 1162050"/>
                      <a:gd name="connsiteX280" fmla="*/ 246738 w 2009775"/>
                      <a:gd name="connsiteY280" fmla="*/ 238234 h 1162050"/>
                      <a:gd name="connsiteX281" fmla="*/ 243093 w 2009775"/>
                      <a:gd name="connsiteY281" fmla="*/ 231553 h 1162050"/>
                      <a:gd name="connsiteX282" fmla="*/ 240186 w 2009775"/>
                      <a:gd name="connsiteY282" fmla="*/ 224220 h 1162050"/>
                      <a:gd name="connsiteX283" fmla="*/ 238429 w 2009775"/>
                      <a:gd name="connsiteY283" fmla="*/ 217778 h 1162050"/>
                      <a:gd name="connsiteX284" fmla="*/ 237041 w 2009775"/>
                      <a:gd name="connsiteY284" fmla="*/ 207235 h 1162050"/>
                      <a:gd name="connsiteX285" fmla="*/ 233462 w 2009775"/>
                      <a:gd name="connsiteY285" fmla="*/ 205218 h 1162050"/>
                      <a:gd name="connsiteX286" fmla="*/ 229340 w 2009775"/>
                      <a:gd name="connsiteY286" fmla="*/ 203417 h 1162050"/>
                      <a:gd name="connsiteX287" fmla="*/ 226584 w 2009775"/>
                      <a:gd name="connsiteY287" fmla="*/ 201964 h 1162050"/>
                      <a:gd name="connsiteX288" fmla="*/ 219946 w 2009775"/>
                      <a:gd name="connsiteY288" fmla="*/ 197409 h 1162050"/>
                      <a:gd name="connsiteX289" fmla="*/ 215760 w 2009775"/>
                      <a:gd name="connsiteY289" fmla="*/ 194914 h 1162050"/>
                      <a:gd name="connsiteX290" fmla="*/ 208840 w 2009775"/>
                      <a:gd name="connsiteY290" fmla="*/ 189816 h 1162050"/>
                      <a:gd name="connsiteX291" fmla="*/ 206476 w 2009775"/>
                      <a:gd name="connsiteY291" fmla="*/ 188427 h 1162050"/>
                      <a:gd name="connsiteX292" fmla="*/ 203222 w 2009775"/>
                      <a:gd name="connsiteY292" fmla="*/ 187647 h 1162050"/>
                      <a:gd name="connsiteX293" fmla="*/ 200793 w 2009775"/>
                      <a:gd name="connsiteY293" fmla="*/ 186302 h 1162050"/>
                      <a:gd name="connsiteX294" fmla="*/ 195174 w 2009775"/>
                      <a:gd name="connsiteY294" fmla="*/ 182810 h 1162050"/>
                      <a:gd name="connsiteX295" fmla="*/ 190944 w 2009775"/>
                      <a:gd name="connsiteY295" fmla="*/ 179057 h 1162050"/>
                      <a:gd name="connsiteX296" fmla="*/ 186996 w 2009775"/>
                      <a:gd name="connsiteY296" fmla="*/ 177647 h 1162050"/>
                      <a:gd name="connsiteX297" fmla="*/ 192159 w 2009775"/>
                      <a:gd name="connsiteY297" fmla="*/ 167668 h 1162050"/>
                      <a:gd name="connsiteX298" fmla="*/ 194415 w 2009775"/>
                      <a:gd name="connsiteY298" fmla="*/ 159793 h 1162050"/>
                      <a:gd name="connsiteX299" fmla="*/ 200988 w 2009775"/>
                      <a:gd name="connsiteY299" fmla="*/ 159316 h 1162050"/>
                      <a:gd name="connsiteX300" fmla="*/ 207149 w 2009775"/>
                      <a:gd name="connsiteY300" fmla="*/ 158341 h 1162050"/>
                      <a:gd name="connsiteX301" fmla="*/ 208515 w 2009775"/>
                      <a:gd name="connsiteY301" fmla="*/ 157776 h 1162050"/>
                      <a:gd name="connsiteX302" fmla="*/ 210229 w 2009775"/>
                      <a:gd name="connsiteY302" fmla="*/ 156258 h 1162050"/>
                      <a:gd name="connsiteX303" fmla="*/ 223852 w 2009775"/>
                      <a:gd name="connsiteY303" fmla="*/ 145629 h 1162050"/>
                      <a:gd name="connsiteX304" fmla="*/ 224893 w 2009775"/>
                      <a:gd name="connsiteY304" fmla="*/ 144327 h 1162050"/>
                      <a:gd name="connsiteX305" fmla="*/ 226953 w 2009775"/>
                      <a:gd name="connsiteY305" fmla="*/ 142635 h 1162050"/>
                      <a:gd name="connsiteX306" fmla="*/ 235435 w 2009775"/>
                      <a:gd name="connsiteY306" fmla="*/ 136605 h 1162050"/>
                      <a:gd name="connsiteX307" fmla="*/ 235566 w 2009775"/>
                      <a:gd name="connsiteY307" fmla="*/ 136670 h 1162050"/>
                      <a:gd name="connsiteX308" fmla="*/ 236151 w 2009775"/>
                      <a:gd name="connsiteY308" fmla="*/ 136279 h 1162050"/>
                      <a:gd name="connsiteX309" fmla="*/ 238103 w 2009775"/>
                      <a:gd name="connsiteY309" fmla="*/ 134544 h 1162050"/>
                      <a:gd name="connsiteX310" fmla="*/ 246195 w 2009775"/>
                      <a:gd name="connsiteY310" fmla="*/ 128709 h 1162050"/>
                      <a:gd name="connsiteX311" fmla="*/ 249340 w 2009775"/>
                      <a:gd name="connsiteY311" fmla="*/ 126063 h 1162050"/>
                      <a:gd name="connsiteX312" fmla="*/ 279298 w 2009775"/>
                      <a:gd name="connsiteY312" fmla="*/ 115758 h 1162050"/>
                      <a:gd name="connsiteX313" fmla="*/ 404767 w 2009775"/>
                      <a:gd name="connsiteY313" fmla="*/ 72677 h 1162050"/>
                      <a:gd name="connsiteX314" fmla="*/ 513620 w 2009775"/>
                      <a:gd name="connsiteY314" fmla="*/ 191877 h 1162050"/>
                      <a:gd name="connsiteX315" fmla="*/ 564032 w 2009775"/>
                      <a:gd name="connsiteY315" fmla="*/ 174501 h 1162050"/>
                      <a:gd name="connsiteX316" fmla="*/ 563686 w 2009775"/>
                      <a:gd name="connsiteY316" fmla="*/ 174110 h 1162050"/>
                      <a:gd name="connsiteX317" fmla="*/ 564575 w 2009775"/>
                      <a:gd name="connsiteY317" fmla="*/ 173786 h 1162050"/>
                      <a:gd name="connsiteX318" fmla="*/ 564944 w 2009775"/>
                      <a:gd name="connsiteY318" fmla="*/ 174198 h 1162050"/>
                      <a:gd name="connsiteX319" fmla="*/ 567785 w 2009775"/>
                      <a:gd name="connsiteY319" fmla="*/ 173265 h 1162050"/>
                      <a:gd name="connsiteX320" fmla="*/ 602016 w 2009775"/>
                      <a:gd name="connsiteY320" fmla="*/ 161486 h 1162050"/>
                      <a:gd name="connsiteX321" fmla="*/ 726921 w 2009775"/>
                      <a:gd name="connsiteY321" fmla="*/ 118296 h 1162050"/>
                      <a:gd name="connsiteX322" fmla="*/ 836078 w 2009775"/>
                      <a:gd name="connsiteY322" fmla="*/ 80942 h 1162050"/>
                      <a:gd name="connsiteX323" fmla="*/ 872282 w 2009775"/>
                      <a:gd name="connsiteY323" fmla="*/ 102092 h 1162050"/>
                      <a:gd name="connsiteX324" fmla="*/ 880916 w 2009775"/>
                      <a:gd name="connsiteY324" fmla="*/ 107840 h 1162050"/>
                      <a:gd name="connsiteX325" fmla="*/ 894929 w 2009775"/>
                      <a:gd name="connsiteY325" fmla="*/ 115390 h 1162050"/>
                      <a:gd name="connsiteX326" fmla="*/ 899680 w 2009775"/>
                      <a:gd name="connsiteY326" fmla="*/ 112829 h 1162050"/>
                      <a:gd name="connsiteX327" fmla="*/ 908075 w 2009775"/>
                      <a:gd name="connsiteY327" fmla="*/ 108535 h 1162050"/>
                      <a:gd name="connsiteX328" fmla="*/ 910830 w 2009775"/>
                      <a:gd name="connsiteY328" fmla="*/ 106777 h 1162050"/>
                      <a:gd name="connsiteX329" fmla="*/ 913606 w 2009775"/>
                      <a:gd name="connsiteY329" fmla="*/ 104717 h 1162050"/>
                      <a:gd name="connsiteX330" fmla="*/ 915863 w 2009775"/>
                      <a:gd name="connsiteY330" fmla="*/ 102352 h 1162050"/>
                      <a:gd name="connsiteX331" fmla="*/ 918986 w 2009775"/>
                      <a:gd name="connsiteY331" fmla="*/ 98295 h 1162050"/>
                      <a:gd name="connsiteX332" fmla="*/ 928618 w 2009775"/>
                      <a:gd name="connsiteY332" fmla="*/ 87124 h 1162050"/>
                      <a:gd name="connsiteX333" fmla="*/ 936102 w 2009775"/>
                      <a:gd name="connsiteY333" fmla="*/ 81853 h 1162050"/>
                      <a:gd name="connsiteX334" fmla="*/ 963477 w 2009775"/>
                      <a:gd name="connsiteY334" fmla="*/ 65410 h 1162050"/>
                      <a:gd name="connsiteX335" fmla="*/ 976732 w 2009775"/>
                      <a:gd name="connsiteY335" fmla="*/ 56018 h 1162050"/>
                      <a:gd name="connsiteX336" fmla="*/ 987165 w 2009775"/>
                      <a:gd name="connsiteY336" fmla="*/ 46906 h 1162050"/>
                      <a:gd name="connsiteX337" fmla="*/ 994281 w 2009775"/>
                      <a:gd name="connsiteY337" fmla="*/ 38468 h 1162050"/>
                      <a:gd name="connsiteX338" fmla="*/ 997925 w 2009775"/>
                      <a:gd name="connsiteY338" fmla="*/ 32806 h 1162050"/>
                      <a:gd name="connsiteX339" fmla="*/ 1004520 w 2009775"/>
                      <a:gd name="connsiteY339" fmla="*/ 20116 h 1162050"/>
                      <a:gd name="connsiteX340" fmla="*/ 1011657 w 2009775"/>
                      <a:gd name="connsiteY340" fmla="*/ 19140 h 1162050"/>
                      <a:gd name="connsiteX341" fmla="*/ 1018729 w 2009775"/>
                      <a:gd name="connsiteY341" fmla="*/ 18511 h 1162050"/>
                      <a:gd name="connsiteX342" fmla="*/ 1027015 w 2009775"/>
                      <a:gd name="connsiteY342" fmla="*/ 18207 h 1162050"/>
                      <a:gd name="connsiteX343" fmla="*/ 1044195 w 2009775"/>
                      <a:gd name="connsiteY343" fmla="*/ 18380 h 1162050"/>
                      <a:gd name="connsiteX344" fmla="*/ 1061788 w 2009775"/>
                      <a:gd name="connsiteY344" fmla="*/ 7144 h 1162050"/>
                      <a:gd name="connsiteX345" fmla="*/ 1070465 w 2009775"/>
                      <a:gd name="connsiteY345" fmla="*/ 8944 h 1162050"/>
                      <a:gd name="connsiteX346" fmla="*/ 1101983 w 2009775"/>
                      <a:gd name="connsiteY346" fmla="*/ 10550 h 1162050"/>
                      <a:gd name="connsiteX347" fmla="*/ 1117385 w 2009775"/>
                      <a:gd name="connsiteY347" fmla="*/ 15322 h 1162050"/>
                      <a:gd name="connsiteX348" fmla="*/ 1121160 w 2009775"/>
                      <a:gd name="connsiteY348" fmla="*/ 15799 h 1162050"/>
                      <a:gd name="connsiteX349" fmla="*/ 1130943 w 2009775"/>
                      <a:gd name="connsiteY349" fmla="*/ 15604 h 1162050"/>
                      <a:gd name="connsiteX350" fmla="*/ 1142115 w 2009775"/>
                      <a:gd name="connsiteY350" fmla="*/ 14845 h 1162050"/>
                      <a:gd name="connsiteX351" fmla="*/ 1160987 w 2009775"/>
                      <a:gd name="connsiteY351" fmla="*/ 14867 h 1162050"/>
                      <a:gd name="connsiteX352" fmla="*/ 1179101 w 2009775"/>
                      <a:gd name="connsiteY352" fmla="*/ 16103 h 1162050"/>
                      <a:gd name="connsiteX353" fmla="*/ 1192355 w 2009775"/>
                      <a:gd name="connsiteY353" fmla="*/ 17838 h 1162050"/>
                      <a:gd name="connsiteX354" fmla="*/ 1203418 w 2009775"/>
                      <a:gd name="connsiteY354" fmla="*/ 20073 h 1162050"/>
                      <a:gd name="connsiteX355" fmla="*/ 1210208 w 2009775"/>
                      <a:gd name="connsiteY355" fmla="*/ 21873 h 1162050"/>
                      <a:gd name="connsiteX356" fmla="*/ 1213635 w 2009775"/>
                      <a:gd name="connsiteY356" fmla="*/ 23023 h 1162050"/>
                      <a:gd name="connsiteX357" fmla="*/ 1216932 w 2009775"/>
                      <a:gd name="connsiteY357" fmla="*/ 24433 h 1162050"/>
                      <a:gd name="connsiteX358" fmla="*/ 1221335 w 2009775"/>
                      <a:gd name="connsiteY358" fmla="*/ 26689 h 1162050"/>
                      <a:gd name="connsiteX359" fmla="*/ 1225587 w 2009775"/>
                      <a:gd name="connsiteY359" fmla="*/ 29184 h 1162050"/>
                      <a:gd name="connsiteX360" fmla="*/ 1244481 w 2009775"/>
                      <a:gd name="connsiteY360" fmla="*/ 41006 h 1162050"/>
                      <a:gd name="connsiteX361" fmla="*/ 1258755 w 2009775"/>
                      <a:gd name="connsiteY361" fmla="*/ 51462 h 1162050"/>
                      <a:gd name="connsiteX362" fmla="*/ 1264655 w 2009775"/>
                      <a:gd name="connsiteY362" fmla="*/ 55518 h 1162050"/>
                      <a:gd name="connsiteX363" fmla="*/ 1272226 w 2009775"/>
                      <a:gd name="connsiteY363" fmla="*/ 59878 h 1162050"/>
                      <a:gd name="connsiteX364" fmla="*/ 1293484 w 2009775"/>
                      <a:gd name="connsiteY364" fmla="*/ 71006 h 1162050"/>
                      <a:gd name="connsiteX365" fmla="*/ 1302553 w 2009775"/>
                      <a:gd name="connsiteY365" fmla="*/ 76017 h 1162050"/>
                      <a:gd name="connsiteX366" fmla="*/ 1305937 w 2009775"/>
                      <a:gd name="connsiteY366" fmla="*/ 78382 h 1162050"/>
                      <a:gd name="connsiteX367" fmla="*/ 1311836 w 2009775"/>
                      <a:gd name="connsiteY367" fmla="*/ 82959 h 1162050"/>
                      <a:gd name="connsiteX368" fmla="*/ 1314656 w 2009775"/>
                      <a:gd name="connsiteY368" fmla="*/ 85518 h 1162050"/>
                      <a:gd name="connsiteX369" fmla="*/ 1321923 w 2009775"/>
                      <a:gd name="connsiteY369" fmla="*/ 92829 h 1162050"/>
                      <a:gd name="connsiteX370" fmla="*/ 1335698 w 2009775"/>
                      <a:gd name="connsiteY370" fmla="*/ 107363 h 1162050"/>
                      <a:gd name="connsiteX371" fmla="*/ 1339429 w 2009775"/>
                      <a:gd name="connsiteY371" fmla="*/ 111658 h 1162050"/>
                      <a:gd name="connsiteX372" fmla="*/ 1341122 w 2009775"/>
                      <a:gd name="connsiteY372" fmla="*/ 113979 h 1162050"/>
                      <a:gd name="connsiteX373" fmla="*/ 1342575 w 2009775"/>
                      <a:gd name="connsiteY373" fmla="*/ 115996 h 1162050"/>
                      <a:gd name="connsiteX374" fmla="*/ 1346371 w 2009775"/>
                      <a:gd name="connsiteY374" fmla="*/ 123480 h 1162050"/>
                      <a:gd name="connsiteX375" fmla="*/ 1355959 w 2009775"/>
                      <a:gd name="connsiteY375" fmla="*/ 146149 h 1162050"/>
                      <a:gd name="connsiteX376" fmla="*/ 1359516 w 2009775"/>
                      <a:gd name="connsiteY376" fmla="*/ 152982 h 1162050"/>
                      <a:gd name="connsiteX377" fmla="*/ 1361556 w 2009775"/>
                      <a:gd name="connsiteY377" fmla="*/ 156562 h 1162050"/>
                      <a:gd name="connsiteX378" fmla="*/ 1368997 w 2009775"/>
                      <a:gd name="connsiteY378" fmla="*/ 167516 h 1162050"/>
                      <a:gd name="connsiteX379" fmla="*/ 1370320 w 2009775"/>
                      <a:gd name="connsiteY379" fmla="*/ 168839 h 1162050"/>
                      <a:gd name="connsiteX380" fmla="*/ 1379604 w 2009775"/>
                      <a:gd name="connsiteY380" fmla="*/ 181205 h 1162050"/>
                      <a:gd name="connsiteX381" fmla="*/ 1398237 w 2009775"/>
                      <a:gd name="connsiteY381" fmla="*/ 206932 h 1162050"/>
                      <a:gd name="connsiteX382" fmla="*/ 1414616 w 2009775"/>
                      <a:gd name="connsiteY382" fmla="*/ 226910 h 1162050"/>
                      <a:gd name="connsiteX383" fmla="*/ 1417393 w 2009775"/>
                      <a:gd name="connsiteY383" fmla="*/ 231314 h 1162050"/>
                      <a:gd name="connsiteX384" fmla="*/ 1428238 w 2009775"/>
                      <a:gd name="connsiteY384" fmla="*/ 244437 h 1162050"/>
                      <a:gd name="connsiteX385" fmla="*/ 1437262 w 2009775"/>
                      <a:gd name="connsiteY385" fmla="*/ 257584 h 1162050"/>
                      <a:gd name="connsiteX386" fmla="*/ 1442078 w 2009775"/>
                      <a:gd name="connsiteY386" fmla="*/ 264200 h 1162050"/>
                      <a:gd name="connsiteX387" fmla="*/ 1444291 w 2009775"/>
                      <a:gd name="connsiteY387" fmla="*/ 266716 h 1162050"/>
                      <a:gd name="connsiteX388" fmla="*/ 1450083 w 2009775"/>
                      <a:gd name="connsiteY388" fmla="*/ 272312 h 1162050"/>
                      <a:gd name="connsiteX389" fmla="*/ 1454096 w 2009775"/>
                      <a:gd name="connsiteY389" fmla="*/ 277345 h 1162050"/>
                      <a:gd name="connsiteX390" fmla="*/ 1457958 w 2009775"/>
                      <a:gd name="connsiteY390" fmla="*/ 282681 h 1162050"/>
                      <a:gd name="connsiteX391" fmla="*/ 1470344 w 2009775"/>
                      <a:gd name="connsiteY391" fmla="*/ 297845 h 1162050"/>
                      <a:gd name="connsiteX392" fmla="*/ 1472839 w 2009775"/>
                      <a:gd name="connsiteY392" fmla="*/ 300382 h 1162050"/>
                      <a:gd name="connsiteX393" fmla="*/ 1475550 w 2009775"/>
                      <a:gd name="connsiteY393" fmla="*/ 303094 h 1162050"/>
                      <a:gd name="connsiteX394" fmla="*/ 1478999 w 2009775"/>
                      <a:gd name="connsiteY394" fmla="*/ 308778 h 1162050"/>
                      <a:gd name="connsiteX395" fmla="*/ 1482144 w 2009775"/>
                      <a:gd name="connsiteY395" fmla="*/ 316326 h 1162050"/>
                      <a:gd name="connsiteX396" fmla="*/ 1482904 w 2009775"/>
                      <a:gd name="connsiteY396" fmla="*/ 319385 h 1162050"/>
                      <a:gd name="connsiteX397" fmla="*/ 1483121 w 2009775"/>
                      <a:gd name="connsiteY397" fmla="*/ 321424 h 1162050"/>
                      <a:gd name="connsiteX398" fmla="*/ 1482968 w 2009775"/>
                      <a:gd name="connsiteY398" fmla="*/ 323203 h 1162050"/>
                      <a:gd name="connsiteX399" fmla="*/ 1482513 w 2009775"/>
                      <a:gd name="connsiteY399" fmla="*/ 324830 h 1162050"/>
                      <a:gd name="connsiteX400" fmla="*/ 1480062 w 2009775"/>
                      <a:gd name="connsiteY400" fmla="*/ 331273 h 1162050"/>
                      <a:gd name="connsiteX401" fmla="*/ 1478847 w 2009775"/>
                      <a:gd name="connsiteY401" fmla="*/ 335221 h 1162050"/>
                      <a:gd name="connsiteX402" fmla="*/ 1478261 w 2009775"/>
                      <a:gd name="connsiteY402" fmla="*/ 338040 h 1162050"/>
                      <a:gd name="connsiteX403" fmla="*/ 1476656 w 2009775"/>
                      <a:gd name="connsiteY403" fmla="*/ 360991 h 1162050"/>
                      <a:gd name="connsiteX404" fmla="*/ 1477306 w 2009775"/>
                      <a:gd name="connsiteY404" fmla="*/ 361881 h 1162050"/>
                      <a:gd name="connsiteX405" fmla="*/ 1477675 w 2009775"/>
                      <a:gd name="connsiteY405" fmla="*/ 364224 h 1162050"/>
                      <a:gd name="connsiteX406" fmla="*/ 1477090 w 2009775"/>
                      <a:gd name="connsiteY406" fmla="*/ 369495 h 1162050"/>
                      <a:gd name="connsiteX407" fmla="*/ 1479281 w 2009775"/>
                      <a:gd name="connsiteY407" fmla="*/ 373030 h 1162050"/>
                      <a:gd name="connsiteX408" fmla="*/ 1481558 w 2009775"/>
                      <a:gd name="connsiteY408" fmla="*/ 375135 h 1162050"/>
                      <a:gd name="connsiteX409" fmla="*/ 1484986 w 2009775"/>
                      <a:gd name="connsiteY409" fmla="*/ 374029 h 1162050"/>
                      <a:gd name="connsiteX410" fmla="*/ 1487806 w 2009775"/>
                      <a:gd name="connsiteY410" fmla="*/ 376068 h 1162050"/>
                      <a:gd name="connsiteX411" fmla="*/ 1493750 w 2009775"/>
                      <a:gd name="connsiteY411" fmla="*/ 379842 h 1162050"/>
                      <a:gd name="connsiteX412" fmla="*/ 1498500 w 2009775"/>
                      <a:gd name="connsiteY412" fmla="*/ 378627 h 1162050"/>
                      <a:gd name="connsiteX413" fmla="*/ 1516396 w 2009775"/>
                      <a:gd name="connsiteY413" fmla="*/ 367890 h 1162050"/>
                      <a:gd name="connsiteX414" fmla="*/ 1532688 w 2009775"/>
                      <a:gd name="connsiteY414" fmla="*/ 358605 h 1162050"/>
                      <a:gd name="connsiteX415" fmla="*/ 1538003 w 2009775"/>
                      <a:gd name="connsiteY415" fmla="*/ 355828 h 1162050"/>
                      <a:gd name="connsiteX416" fmla="*/ 1548567 w 2009775"/>
                      <a:gd name="connsiteY416" fmla="*/ 351034 h 1162050"/>
                      <a:gd name="connsiteX417" fmla="*/ 1551863 w 2009775"/>
                      <a:gd name="connsiteY417" fmla="*/ 349364 h 1162050"/>
                      <a:gd name="connsiteX418" fmla="*/ 1561126 w 2009775"/>
                      <a:gd name="connsiteY418" fmla="*/ 343919 h 1162050"/>
                      <a:gd name="connsiteX419" fmla="*/ 1573383 w 2009775"/>
                      <a:gd name="connsiteY419" fmla="*/ 337932 h 1162050"/>
                      <a:gd name="connsiteX420" fmla="*/ 1588003 w 2009775"/>
                      <a:gd name="connsiteY420" fmla="*/ 328843 h 1162050"/>
                      <a:gd name="connsiteX421" fmla="*/ 1599912 w 2009775"/>
                      <a:gd name="connsiteY421" fmla="*/ 321186 h 1162050"/>
                      <a:gd name="connsiteX422" fmla="*/ 1614837 w 2009775"/>
                      <a:gd name="connsiteY422" fmla="*/ 312205 h 1162050"/>
                      <a:gd name="connsiteX423" fmla="*/ 1648786 w 2009775"/>
                      <a:gd name="connsiteY423" fmla="*/ 289558 h 1162050"/>
                      <a:gd name="connsiteX424" fmla="*/ 1652928 w 2009775"/>
                      <a:gd name="connsiteY424" fmla="*/ 286586 h 1162050"/>
                      <a:gd name="connsiteX425" fmla="*/ 1681671 w 2009775"/>
                      <a:gd name="connsiteY425" fmla="*/ 269254 h 1162050"/>
                      <a:gd name="connsiteX426" fmla="*/ 1687181 w 2009775"/>
                      <a:gd name="connsiteY426" fmla="*/ 266239 h 1162050"/>
                      <a:gd name="connsiteX427" fmla="*/ 1693320 w 2009775"/>
                      <a:gd name="connsiteY427" fmla="*/ 263288 h 1162050"/>
                      <a:gd name="connsiteX428" fmla="*/ 1723690 w 2009775"/>
                      <a:gd name="connsiteY428" fmla="*/ 245804 h 1162050"/>
                      <a:gd name="connsiteX429" fmla="*/ 1730263 w 2009775"/>
                      <a:gd name="connsiteY429" fmla="*/ 242160 h 1162050"/>
                      <a:gd name="connsiteX430" fmla="*/ 1743235 w 2009775"/>
                      <a:gd name="connsiteY430" fmla="*/ 235566 h 1162050"/>
                      <a:gd name="connsiteX431" fmla="*/ 1751587 w 2009775"/>
                      <a:gd name="connsiteY431" fmla="*/ 231032 h 1162050"/>
                      <a:gd name="connsiteX432" fmla="*/ 1805731 w 2009775"/>
                      <a:gd name="connsiteY432" fmla="*/ 199838 h 1162050"/>
                      <a:gd name="connsiteX433" fmla="*/ 1810373 w 2009775"/>
                      <a:gd name="connsiteY433" fmla="*/ 196823 h 1162050"/>
                      <a:gd name="connsiteX434" fmla="*/ 1837098 w 2009775"/>
                      <a:gd name="connsiteY434" fmla="*/ 181725 h 1162050"/>
                      <a:gd name="connsiteX435" fmla="*/ 1846882 w 2009775"/>
                      <a:gd name="connsiteY435" fmla="*/ 175694 h 1162050"/>
                      <a:gd name="connsiteX436" fmla="*/ 1866925 w 2009775"/>
                      <a:gd name="connsiteY436" fmla="*/ 163894 h 1162050"/>
                      <a:gd name="connsiteX437" fmla="*/ 1882587 w 2009775"/>
                      <a:gd name="connsiteY437" fmla="*/ 155152 h 1162050"/>
                      <a:gd name="connsiteX438" fmla="*/ 1890157 w 2009775"/>
                      <a:gd name="connsiteY438" fmla="*/ 151355 h 1162050"/>
                      <a:gd name="connsiteX439" fmla="*/ 1892436 w 2009775"/>
                      <a:gd name="connsiteY439" fmla="*/ 153807 h 1162050"/>
                      <a:gd name="connsiteX440" fmla="*/ 1894236 w 2009775"/>
                      <a:gd name="connsiteY440" fmla="*/ 157321 h 1162050"/>
                      <a:gd name="connsiteX441" fmla="*/ 1895190 w 2009775"/>
                      <a:gd name="connsiteY441" fmla="*/ 163135 h 1162050"/>
                      <a:gd name="connsiteX442" fmla="*/ 1896687 w 2009775"/>
                      <a:gd name="connsiteY442" fmla="*/ 169295 h 1162050"/>
                      <a:gd name="connsiteX443" fmla="*/ 1896297 w 2009775"/>
                      <a:gd name="connsiteY443" fmla="*/ 170163 h 1162050"/>
                      <a:gd name="connsiteX444" fmla="*/ 1898097 w 2009775"/>
                      <a:gd name="connsiteY444" fmla="*/ 172288 h 1162050"/>
                      <a:gd name="connsiteX445" fmla="*/ 1899095 w 2009775"/>
                      <a:gd name="connsiteY445" fmla="*/ 174653 h 1162050"/>
                      <a:gd name="connsiteX446" fmla="*/ 1899875 w 2009775"/>
                      <a:gd name="connsiteY446" fmla="*/ 177972 h 1162050"/>
                      <a:gd name="connsiteX447" fmla="*/ 1899833 w 2009775"/>
                      <a:gd name="connsiteY447" fmla="*/ 179230 h 1162050"/>
                      <a:gd name="connsiteX448" fmla="*/ 1901394 w 2009775"/>
                      <a:gd name="connsiteY448" fmla="*/ 184436 h 1162050"/>
                      <a:gd name="connsiteX449" fmla="*/ 1929182 w 2009775"/>
                      <a:gd name="connsiteY449" fmla="*/ 179989 h 1162050"/>
                      <a:gd name="connsiteX450" fmla="*/ 1929899 w 2009775"/>
                      <a:gd name="connsiteY450" fmla="*/ 191378 h 1162050"/>
                      <a:gd name="connsiteX451" fmla="*/ 1931807 w 2009775"/>
                      <a:gd name="connsiteY451" fmla="*/ 206194 h 1162050"/>
                      <a:gd name="connsiteX452" fmla="*/ 1933478 w 2009775"/>
                      <a:gd name="connsiteY452" fmla="*/ 215847 h 1162050"/>
                      <a:gd name="connsiteX453" fmla="*/ 1936341 w 2009775"/>
                      <a:gd name="connsiteY453" fmla="*/ 235240 h 1162050"/>
                      <a:gd name="connsiteX454" fmla="*/ 1958793 w 2009775"/>
                      <a:gd name="connsiteY454" fmla="*/ 360818 h 1162050"/>
                      <a:gd name="connsiteX455" fmla="*/ 1984064 w 2009775"/>
                      <a:gd name="connsiteY455" fmla="*/ 504964 h 1162050"/>
                      <a:gd name="connsiteX456" fmla="*/ 1991614 w 2009775"/>
                      <a:gd name="connsiteY456" fmla="*/ 546961 h 1162050"/>
                      <a:gd name="connsiteX457" fmla="*/ 1996472 w 2009775"/>
                      <a:gd name="connsiteY457" fmla="*/ 571083 h 1162050"/>
                      <a:gd name="connsiteX458" fmla="*/ 1997080 w 2009775"/>
                      <a:gd name="connsiteY458" fmla="*/ 571408 h 1162050"/>
                      <a:gd name="connsiteX459" fmla="*/ 1998468 w 2009775"/>
                      <a:gd name="connsiteY459" fmla="*/ 577569 h 1162050"/>
                      <a:gd name="connsiteX460" fmla="*/ 1999140 w 2009775"/>
                      <a:gd name="connsiteY460" fmla="*/ 582580 h 1162050"/>
                      <a:gd name="connsiteX461" fmla="*/ 2002003 w 2009775"/>
                      <a:gd name="connsiteY461" fmla="*/ 594575 h 1162050"/>
                      <a:gd name="connsiteX462" fmla="*/ 2004000 w 2009775"/>
                      <a:gd name="connsiteY462" fmla="*/ 604620 h 1162050"/>
                      <a:gd name="connsiteX463" fmla="*/ 2005714 w 2009775"/>
                      <a:gd name="connsiteY463" fmla="*/ 615075 h 1162050"/>
                      <a:gd name="connsiteX464" fmla="*/ 2007492 w 2009775"/>
                      <a:gd name="connsiteY464" fmla="*/ 629783 h 116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Lst>
                    <a:rect l="l" t="t" r="r" b="b"/>
                    <a:pathLst>
                      <a:path w="2009775" h="1162050">
                        <a:moveTo>
                          <a:pt x="2007492" y="629783"/>
                        </a:moveTo>
                        <a:lnTo>
                          <a:pt x="1976277" y="629327"/>
                        </a:lnTo>
                        <a:lnTo>
                          <a:pt x="1960115" y="628763"/>
                        </a:lnTo>
                        <a:lnTo>
                          <a:pt x="1954216" y="628394"/>
                        </a:lnTo>
                        <a:lnTo>
                          <a:pt x="1943478" y="627397"/>
                        </a:lnTo>
                        <a:lnTo>
                          <a:pt x="1937231" y="626724"/>
                        </a:lnTo>
                        <a:lnTo>
                          <a:pt x="1927143" y="625314"/>
                        </a:lnTo>
                        <a:lnTo>
                          <a:pt x="1911742" y="622668"/>
                        </a:lnTo>
                        <a:lnTo>
                          <a:pt x="1902305" y="620628"/>
                        </a:lnTo>
                        <a:lnTo>
                          <a:pt x="1902110" y="620585"/>
                        </a:lnTo>
                        <a:lnTo>
                          <a:pt x="1902544" y="619738"/>
                        </a:lnTo>
                        <a:lnTo>
                          <a:pt x="1895754" y="618047"/>
                        </a:lnTo>
                        <a:lnTo>
                          <a:pt x="1889355" y="616225"/>
                        </a:lnTo>
                        <a:lnTo>
                          <a:pt x="1870656" y="610173"/>
                        </a:lnTo>
                        <a:lnTo>
                          <a:pt x="1864625" y="607722"/>
                        </a:lnTo>
                        <a:lnTo>
                          <a:pt x="1859723" y="606094"/>
                        </a:lnTo>
                        <a:lnTo>
                          <a:pt x="1849614" y="603317"/>
                        </a:lnTo>
                        <a:lnTo>
                          <a:pt x="1848812" y="605205"/>
                        </a:lnTo>
                        <a:lnTo>
                          <a:pt x="1841133" y="604966"/>
                        </a:lnTo>
                        <a:lnTo>
                          <a:pt x="1826816" y="604597"/>
                        </a:lnTo>
                        <a:lnTo>
                          <a:pt x="1815449" y="605378"/>
                        </a:lnTo>
                        <a:lnTo>
                          <a:pt x="1810329" y="605986"/>
                        </a:lnTo>
                        <a:lnTo>
                          <a:pt x="1806511" y="606659"/>
                        </a:lnTo>
                        <a:lnTo>
                          <a:pt x="1800351" y="608091"/>
                        </a:lnTo>
                        <a:lnTo>
                          <a:pt x="1795470" y="609478"/>
                        </a:lnTo>
                        <a:lnTo>
                          <a:pt x="1789548" y="611886"/>
                        </a:lnTo>
                        <a:lnTo>
                          <a:pt x="1781131" y="616485"/>
                        </a:lnTo>
                        <a:lnTo>
                          <a:pt x="1779895" y="617352"/>
                        </a:lnTo>
                        <a:lnTo>
                          <a:pt x="1776706" y="619869"/>
                        </a:lnTo>
                        <a:lnTo>
                          <a:pt x="1771499" y="625293"/>
                        </a:lnTo>
                        <a:lnTo>
                          <a:pt x="1765729" y="630499"/>
                        </a:lnTo>
                        <a:lnTo>
                          <a:pt x="1759721" y="635140"/>
                        </a:lnTo>
                        <a:lnTo>
                          <a:pt x="1755252" y="637657"/>
                        </a:lnTo>
                        <a:lnTo>
                          <a:pt x="1744709" y="642191"/>
                        </a:lnTo>
                        <a:lnTo>
                          <a:pt x="1739960" y="643948"/>
                        </a:lnTo>
                        <a:lnTo>
                          <a:pt x="1734558" y="645640"/>
                        </a:lnTo>
                        <a:lnTo>
                          <a:pt x="1729547" y="646833"/>
                        </a:lnTo>
                        <a:lnTo>
                          <a:pt x="1725186" y="647657"/>
                        </a:lnTo>
                        <a:lnTo>
                          <a:pt x="1720935" y="648394"/>
                        </a:lnTo>
                        <a:lnTo>
                          <a:pt x="1712648" y="649479"/>
                        </a:lnTo>
                        <a:lnTo>
                          <a:pt x="1711346" y="650043"/>
                        </a:lnTo>
                        <a:lnTo>
                          <a:pt x="1709481" y="651779"/>
                        </a:lnTo>
                        <a:lnTo>
                          <a:pt x="1708332" y="653449"/>
                        </a:lnTo>
                        <a:lnTo>
                          <a:pt x="1707160" y="657418"/>
                        </a:lnTo>
                        <a:lnTo>
                          <a:pt x="1705685" y="661150"/>
                        </a:lnTo>
                        <a:lnTo>
                          <a:pt x="1703798" y="664252"/>
                        </a:lnTo>
                        <a:lnTo>
                          <a:pt x="1699828" y="668829"/>
                        </a:lnTo>
                        <a:lnTo>
                          <a:pt x="1693233" y="674882"/>
                        </a:lnTo>
                        <a:lnTo>
                          <a:pt x="1654361" y="717940"/>
                        </a:lnTo>
                        <a:lnTo>
                          <a:pt x="1623340" y="715425"/>
                        </a:lnTo>
                        <a:lnTo>
                          <a:pt x="1621844" y="719069"/>
                        </a:lnTo>
                        <a:lnTo>
                          <a:pt x="1619935" y="722887"/>
                        </a:lnTo>
                        <a:lnTo>
                          <a:pt x="1613970" y="733711"/>
                        </a:lnTo>
                        <a:lnTo>
                          <a:pt x="1610542" y="738939"/>
                        </a:lnTo>
                        <a:lnTo>
                          <a:pt x="1610281" y="739720"/>
                        </a:lnTo>
                        <a:lnTo>
                          <a:pt x="1610195" y="753603"/>
                        </a:lnTo>
                        <a:lnTo>
                          <a:pt x="1610563" y="761261"/>
                        </a:lnTo>
                        <a:lnTo>
                          <a:pt x="1610434" y="767964"/>
                        </a:lnTo>
                        <a:lnTo>
                          <a:pt x="1610152" y="768441"/>
                        </a:lnTo>
                        <a:lnTo>
                          <a:pt x="1609154" y="768940"/>
                        </a:lnTo>
                        <a:lnTo>
                          <a:pt x="1607614" y="769417"/>
                        </a:lnTo>
                        <a:lnTo>
                          <a:pt x="1601258" y="768853"/>
                        </a:lnTo>
                        <a:lnTo>
                          <a:pt x="1596463" y="768874"/>
                        </a:lnTo>
                        <a:lnTo>
                          <a:pt x="1594034" y="769091"/>
                        </a:lnTo>
                        <a:lnTo>
                          <a:pt x="1591843" y="769395"/>
                        </a:lnTo>
                        <a:lnTo>
                          <a:pt x="1585661" y="771326"/>
                        </a:lnTo>
                        <a:lnTo>
                          <a:pt x="1580324" y="772476"/>
                        </a:lnTo>
                        <a:lnTo>
                          <a:pt x="1580324" y="775838"/>
                        </a:lnTo>
                        <a:lnTo>
                          <a:pt x="1580042" y="778397"/>
                        </a:lnTo>
                        <a:lnTo>
                          <a:pt x="1580368" y="783604"/>
                        </a:lnTo>
                        <a:lnTo>
                          <a:pt x="1579739" y="807205"/>
                        </a:lnTo>
                        <a:lnTo>
                          <a:pt x="1579891" y="808593"/>
                        </a:lnTo>
                        <a:lnTo>
                          <a:pt x="1579521" y="826034"/>
                        </a:lnTo>
                        <a:lnTo>
                          <a:pt x="1579153" y="831111"/>
                        </a:lnTo>
                        <a:lnTo>
                          <a:pt x="1579239" y="833735"/>
                        </a:lnTo>
                        <a:lnTo>
                          <a:pt x="1579934" y="836620"/>
                        </a:lnTo>
                        <a:lnTo>
                          <a:pt x="1579673" y="838355"/>
                        </a:lnTo>
                        <a:lnTo>
                          <a:pt x="1578979" y="839418"/>
                        </a:lnTo>
                        <a:lnTo>
                          <a:pt x="1569933" y="846143"/>
                        </a:lnTo>
                        <a:lnTo>
                          <a:pt x="1569522" y="846577"/>
                        </a:lnTo>
                        <a:lnTo>
                          <a:pt x="1569066" y="847770"/>
                        </a:lnTo>
                        <a:lnTo>
                          <a:pt x="1567265" y="849462"/>
                        </a:lnTo>
                        <a:lnTo>
                          <a:pt x="1557851" y="857553"/>
                        </a:lnTo>
                        <a:lnTo>
                          <a:pt x="1554792" y="859809"/>
                        </a:lnTo>
                        <a:lnTo>
                          <a:pt x="1551863" y="862630"/>
                        </a:lnTo>
                        <a:lnTo>
                          <a:pt x="1523577" y="886643"/>
                        </a:lnTo>
                        <a:lnTo>
                          <a:pt x="1515160" y="893975"/>
                        </a:lnTo>
                        <a:lnTo>
                          <a:pt x="1514445" y="894799"/>
                        </a:lnTo>
                        <a:lnTo>
                          <a:pt x="1513359" y="895255"/>
                        </a:lnTo>
                        <a:lnTo>
                          <a:pt x="1511169" y="894973"/>
                        </a:lnTo>
                        <a:lnTo>
                          <a:pt x="1508717" y="894929"/>
                        </a:lnTo>
                        <a:lnTo>
                          <a:pt x="1508002" y="896123"/>
                        </a:lnTo>
                        <a:lnTo>
                          <a:pt x="1506591" y="903498"/>
                        </a:lnTo>
                        <a:lnTo>
                          <a:pt x="1503858" y="903607"/>
                        </a:lnTo>
                        <a:lnTo>
                          <a:pt x="1503012" y="904170"/>
                        </a:lnTo>
                        <a:lnTo>
                          <a:pt x="1491559" y="914128"/>
                        </a:lnTo>
                        <a:lnTo>
                          <a:pt x="1485398" y="919117"/>
                        </a:lnTo>
                        <a:lnTo>
                          <a:pt x="1443271" y="916860"/>
                        </a:lnTo>
                        <a:lnTo>
                          <a:pt x="1432122" y="916687"/>
                        </a:lnTo>
                        <a:lnTo>
                          <a:pt x="1412164" y="915429"/>
                        </a:lnTo>
                        <a:lnTo>
                          <a:pt x="1396285" y="913953"/>
                        </a:lnTo>
                        <a:lnTo>
                          <a:pt x="1380580" y="912761"/>
                        </a:lnTo>
                        <a:lnTo>
                          <a:pt x="1348540" y="909681"/>
                        </a:lnTo>
                        <a:lnTo>
                          <a:pt x="1332878" y="908574"/>
                        </a:lnTo>
                        <a:lnTo>
                          <a:pt x="1270534" y="902239"/>
                        </a:lnTo>
                        <a:lnTo>
                          <a:pt x="1217236" y="896296"/>
                        </a:lnTo>
                        <a:lnTo>
                          <a:pt x="1182376" y="892023"/>
                        </a:lnTo>
                        <a:lnTo>
                          <a:pt x="1179318" y="895146"/>
                        </a:lnTo>
                        <a:lnTo>
                          <a:pt x="1173244" y="902348"/>
                        </a:lnTo>
                        <a:lnTo>
                          <a:pt x="1170944" y="904583"/>
                        </a:lnTo>
                        <a:lnTo>
                          <a:pt x="1169600" y="907208"/>
                        </a:lnTo>
                        <a:lnTo>
                          <a:pt x="1168883" y="907814"/>
                        </a:lnTo>
                        <a:lnTo>
                          <a:pt x="1165934" y="908899"/>
                        </a:lnTo>
                        <a:lnTo>
                          <a:pt x="1163091" y="910331"/>
                        </a:lnTo>
                        <a:lnTo>
                          <a:pt x="1159816" y="911589"/>
                        </a:lnTo>
                        <a:lnTo>
                          <a:pt x="1157127" y="912413"/>
                        </a:lnTo>
                        <a:lnTo>
                          <a:pt x="1153829" y="914106"/>
                        </a:lnTo>
                        <a:lnTo>
                          <a:pt x="1150791" y="915060"/>
                        </a:lnTo>
                        <a:lnTo>
                          <a:pt x="1142440" y="918465"/>
                        </a:lnTo>
                        <a:lnTo>
                          <a:pt x="1135433" y="921785"/>
                        </a:lnTo>
                        <a:lnTo>
                          <a:pt x="1127104" y="924517"/>
                        </a:lnTo>
                        <a:lnTo>
                          <a:pt x="1115976" y="929399"/>
                        </a:lnTo>
                        <a:lnTo>
                          <a:pt x="1108752" y="932305"/>
                        </a:lnTo>
                        <a:lnTo>
                          <a:pt x="1101724" y="935776"/>
                        </a:lnTo>
                        <a:lnTo>
                          <a:pt x="1089706" y="941243"/>
                        </a:lnTo>
                        <a:lnTo>
                          <a:pt x="1075259" y="946861"/>
                        </a:lnTo>
                        <a:lnTo>
                          <a:pt x="1047298" y="959269"/>
                        </a:lnTo>
                        <a:lnTo>
                          <a:pt x="1028012" y="968054"/>
                        </a:lnTo>
                        <a:lnTo>
                          <a:pt x="1022068" y="970462"/>
                        </a:lnTo>
                        <a:lnTo>
                          <a:pt x="1018165" y="972719"/>
                        </a:lnTo>
                        <a:lnTo>
                          <a:pt x="1001071" y="979335"/>
                        </a:lnTo>
                        <a:lnTo>
                          <a:pt x="996472" y="981894"/>
                        </a:lnTo>
                        <a:lnTo>
                          <a:pt x="992914" y="984779"/>
                        </a:lnTo>
                        <a:lnTo>
                          <a:pt x="969942" y="998814"/>
                        </a:lnTo>
                        <a:lnTo>
                          <a:pt x="964454" y="1001071"/>
                        </a:lnTo>
                        <a:lnTo>
                          <a:pt x="959703" y="1003457"/>
                        </a:lnTo>
                        <a:lnTo>
                          <a:pt x="958162" y="1004867"/>
                        </a:lnTo>
                        <a:lnTo>
                          <a:pt x="956666" y="1007470"/>
                        </a:lnTo>
                        <a:lnTo>
                          <a:pt x="956036" y="1007991"/>
                        </a:lnTo>
                        <a:lnTo>
                          <a:pt x="953455" y="1008641"/>
                        </a:lnTo>
                        <a:lnTo>
                          <a:pt x="950636" y="1009640"/>
                        </a:lnTo>
                        <a:lnTo>
                          <a:pt x="946058" y="1011787"/>
                        </a:lnTo>
                        <a:lnTo>
                          <a:pt x="941351" y="1014607"/>
                        </a:lnTo>
                        <a:lnTo>
                          <a:pt x="929290" y="1022329"/>
                        </a:lnTo>
                        <a:lnTo>
                          <a:pt x="918835" y="1029249"/>
                        </a:lnTo>
                        <a:lnTo>
                          <a:pt x="908877" y="1034759"/>
                        </a:lnTo>
                        <a:lnTo>
                          <a:pt x="903845" y="1037817"/>
                        </a:lnTo>
                        <a:lnTo>
                          <a:pt x="895146" y="1042525"/>
                        </a:lnTo>
                        <a:lnTo>
                          <a:pt x="889094" y="1046386"/>
                        </a:lnTo>
                        <a:lnTo>
                          <a:pt x="887380" y="1047709"/>
                        </a:lnTo>
                        <a:lnTo>
                          <a:pt x="886209" y="1048252"/>
                        </a:lnTo>
                        <a:lnTo>
                          <a:pt x="883909" y="1048989"/>
                        </a:lnTo>
                        <a:lnTo>
                          <a:pt x="883323" y="1049358"/>
                        </a:lnTo>
                        <a:lnTo>
                          <a:pt x="875927" y="1074478"/>
                        </a:lnTo>
                        <a:lnTo>
                          <a:pt x="876187" y="1077342"/>
                        </a:lnTo>
                        <a:lnTo>
                          <a:pt x="875818" y="1078274"/>
                        </a:lnTo>
                        <a:lnTo>
                          <a:pt x="872890" y="1081723"/>
                        </a:lnTo>
                        <a:lnTo>
                          <a:pt x="872239" y="1082721"/>
                        </a:lnTo>
                        <a:lnTo>
                          <a:pt x="870829" y="1086062"/>
                        </a:lnTo>
                        <a:lnTo>
                          <a:pt x="868291" y="1089468"/>
                        </a:lnTo>
                        <a:lnTo>
                          <a:pt x="867076" y="1091615"/>
                        </a:lnTo>
                        <a:lnTo>
                          <a:pt x="863671" y="1095802"/>
                        </a:lnTo>
                        <a:lnTo>
                          <a:pt x="862933" y="1097580"/>
                        </a:lnTo>
                        <a:lnTo>
                          <a:pt x="862369" y="1101182"/>
                        </a:lnTo>
                        <a:lnTo>
                          <a:pt x="861263" y="1102071"/>
                        </a:lnTo>
                        <a:lnTo>
                          <a:pt x="857770" y="1103698"/>
                        </a:lnTo>
                        <a:lnTo>
                          <a:pt x="853107" y="1107971"/>
                        </a:lnTo>
                        <a:lnTo>
                          <a:pt x="850503" y="1111051"/>
                        </a:lnTo>
                        <a:lnTo>
                          <a:pt x="847466" y="1115628"/>
                        </a:lnTo>
                        <a:lnTo>
                          <a:pt x="843344" y="1120335"/>
                        </a:lnTo>
                        <a:lnTo>
                          <a:pt x="838941" y="1125976"/>
                        </a:lnTo>
                        <a:lnTo>
                          <a:pt x="836815" y="1126431"/>
                        </a:lnTo>
                        <a:lnTo>
                          <a:pt x="835536" y="1125542"/>
                        </a:lnTo>
                        <a:lnTo>
                          <a:pt x="833106" y="1124370"/>
                        </a:lnTo>
                        <a:lnTo>
                          <a:pt x="820893" y="1119576"/>
                        </a:lnTo>
                        <a:lnTo>
                          <a:pt x="818441" y="1118406"/>
                        </a:lnTo>
                        <a:lnTo>
                          <a:pt x="816164" y="1117082"/>
                        </a:lnTo>
                        <a:lnTo>
                          <a:pt x="813279" y="1114826"/>
                        </a:lnTo>
                        <a:lnTo>
                          <a:pt x="811327" y="1112591"/>
                        </a:lnTo>
                        <a:lnTo>
                          <a:pt x="809699" y="1109511"/>
                        </a:lnTo>
                        <a:lnTo>
                          <a:pt x="809070" y="1106886"/>
                        </a:lnTo>
                        <a:lnTo>
                          <a:pt x="808637" y="1100010"/>
                        </a:lnTo>
                        <a:lnTo>
                          <a:pt x="808094" y="1097689"/>
                        </a:lnTo>
                        <a:lnTo>
                          <a:pt x="807422" y="1095867"/>
                        </a:lnTo>
                        <a:lnTo>
                          <a:pt x="806229" y="1095671"/>
                        </a:lnTo>
                        <a:lnTo>
                          <a:pt x="802195" y="1098730"/>
                        </a:lnTo>
                        <a:lnTo>
                          <a:pt x="798333" y="1102851"/>
                        </a:lnTo>
                        <a:lnTo>
                          <a:pt x="796337" y="1104370"/>
                        </a:lnTo>
                        <a:lnTo>
                          <a:pt x="794254" y="1105433"/>
                        </a:lnTo>
                        <a:lnTo>
                          <a:pt x="792085" y="1106214"/>
                        </a:lnTo>
                        <a:lnTo>
                          <a:pt x="787790" y="1107190"/>
                        </a:lnTo>
                        <a:lnTo>
                          <a:pt x="783777" y="1107928"/>
                        </a:lnTo>
                        <a:lnTo>
                          <a:pt x="777551" y="1108622"/>
                        </a:lnTo>
                        <a:lnTo>
                          <a:pt x="773907" y="1108665"/>
                        </a:lnTo>
                        <a:lnTo>
                          <a:pt x="764839" y="1108080"/>
                        </a:lnTo>
                        <a:lnTo>
                          <a:pt x="762670" y="1108080"/>
                        </a:lnTo>
                        <a:lnTo>
                          <a:pt x="757660" y="1108405"/>
                        </a:lnTo>
                        <a:lnTo>
                          <a:pt x="744579" y="1110119"/>
                        </a:lnTo>
                        <a:lnTo>
                          <a:pt x="741585" y="1110336"/>
                        </a:lnTo>
                        <a:lnTo>
                          <a:pt x="727724" y="1110726"/>
                        </a:lnTo>
                        <a:lnTo>
                          <a:pt x="724123" y="1111269"/>
                        </a:lnTo>
                        <a:lnTo>
                          <a:pt x="722778" y="1111637"/>
                        </a:lnTo>
                        <a:lnTo>
                          <a:pt x="721195" y="1112396"/>
                        </a:lnTo>
                        <a:lnTo>
                          <a:pt x="719655" y="1113351"/>
                        </a:lnTo>
                        <a:lnTo>
                          <a:pt x="718700" y="1114392"/>
                        </a:lnTo>
                        <a:lnTo>
                          <a:pt x="713190" y="1123156"/>
                        </a:lnTo>
                        <a:lnTo>
                          <a:pt x="707897" y="1134610"/>
                        </a:lnTo>
                        <a:lnTo>
                          <a:pt x="704925" y="1142029"/>
                        </a:lnTo>
                        <a:lnTo>
                          <a:pt x="701454" y="1148905"/>
                        </a:lnTo>
                        <a:lnTo>
                          <a:pt x="699676" y="1151768"/>
                        </a:lnTo>
                        <a:lnTo>
                          <a:pt x="695337" y="1156519"/>
                        </a:lnTo>
                        <a:lnTo>
                          <a:pt x="689003" y="1155065"/>
                        </a:lnTo>
                        <a:lnTo>
                          <a:pt x="682734" y="1153960"/>
                        </a:lnTo>
                        <a:lnTo>
                          <a:pt x="678937" y="1153417"/>
                        </a:lnTo>
                        <a:lnTo>
                          <a:pt x="671779" y="1152788"/>
                        </a:lnTo>
                        <a:lnTo>
                          <a:pt x="664946" y="1152615"/>
                        </a:lnTo>
                        <a:lnTo>
                          <a:pt x="647657" y="1153157"/>
                        </a:lnTo>
                        <a:lnTo>
                          <a:pt x="643492" y="1152875"/>
                        </a:lnTo>
                        <a:lnTo>
                          <a:pt x="638069" y="1151552"/>
                        </a:lnTo>
                        <a:lnTo>
                          <a:pt x="630108" y="1148601"/>
                        </a:lnTo>
                        <a:lnTo>
                          <a:pt x="624945" y="1147018"/>
                        </a:lnTo>
                        <a:lnTo>
                          <a:pt x="618004" y="1146128"/>
                        </a:lnTo>
                        <a:lnTo>
                          <a:pt x="610519" y="1145759"/>
                        </a:lnTo>
                        <a:lnTo>
                          <a:pt x="602471" y="1145738"/>
                        </a:lnTo>
                        <a:lnTo>
                          <a:pt x="597937" y="1146388"/>
                        </a:lnTo>
                        <a:lnTo>
                          <a:pt x="579998" y="1151226"/>
                        </a:lnTo>
                        <a:lnTo>
                          <a:pt x="569283" y="1153656"/>
                        </a:lnTo>
                        <a:lnTo>
                          <a:pt x="537156" y="1113199"/>
                        </a:lnTo>
                        <a:lnTo>
                          <a:pt x="495441" y="1063914"/>
                        </a:lnTo>
                        <a:lnTo>
                          <a:pt x="500929" y="1061940"/>
                        </a:lnTo>
                        <a:lnTo>
                          <a:pt x="405135" y="960224"/>
                        </a:lnTo>
                        <a:lnTo>
                          <a:pt x="390190" y="944107"/>
                        </a:lnTo>
                        <a:lnTo>
                          <a:pt x="377608" y="931177"/>
                        </a:lnTo>
                        <a:lnTo>
                          <a:pt x="378670" y="930787"/>
                        </a:lnTo>
                        <a:lnTo>
                          <a:pt x="308018" y="848855"/>
                        </a:lnTo>
                        <a:lnTo>
                          <a:pt x="222203" y="749460"/>
                        </a:lnTo>
                        <a:lnTo>
                          <a:pt x="175304" y="695098"/>
                        </a:lnTo>
                        <a:lnTo>
                          <a:pt x="176584" y="694578"/>
                        </a:lnTo>
                        <a:lnTo>
                          <a:pt x="174523" y="692105"/>
                        </a:lnTo>
                        <a:lnTo>
                          <a:pt x="152505" y="667310"/>
                        </a:lnTo>
                        <a:lnTo>
                          <a:pt x="127320" y="640933"/>
                        </a:lnTo>
                        <a:lnTo>
                          <a:pt x="128795" y="640369"/>
                        </a:lnTo>
                        <a:lnTo>
                          <a:pt x="111441" y="623644"/>
                        </a:lnTo>
                        <a:lnTo>
                          <a:pt x="101637" y="615748"/>
                        </a:lnTo>
                        <a:lnTo>
                          <a:pt x="91506" y="605986"/>
                        </a:lnTo>
                        <a:lnTo>
                          <a:pt x="80724" y="590606"/>
                        </a:lnTo>
                        <a:lnTo>
                          <a:pt x="75670" y="585986"/>
                        </a:lnTo>
                        <a:lnTo>
                          <a:pt x="58208" y="574055"/>
                        </a:lnTo>
                        <a:lnTo>
                          <a:pt x="32415" y="549369"/>
                        </a:lnTo>
                        <a:lnTo>
                          <a:pt x="27253" y="543577"/>
                        </a:lnTo>
                        <a:lnTo>
                          <a:pt x="10289" y="522231"/>
                        </a:lnTo>
                        <a:lnTo>
                          <a:pt x="17925" y="520040"/>
                        </a:lnTo>
                        <a:lnTo>
                          <a:pt x="9053" y="513229"/>
                        </a:lnTo>
                        <a:lnTo>
                          <a:pt x="19725" y="507285"/>
                        </a:lnTo>
                        <a:lnTo>
                          <a:pt x="7144" y="497980"/>
                        </a:lnTo>
                        <a:lnTo>
                          <a:pt x="13369" y="491883"/>
                        </a:lnTo>
                        <a:lnTo>
                          <a:pt x="21070" y="488022"/>
                        </a:lnTo>
                        <a:lnTo>
                          <a:pt x="28294" y="483879"/>
                        </a:lnTo>
                        <a:lnTo>
                          <a:pt x="23110" y="480474"/>
                        </a:lnTo>
                        <a:lnTo>
                          <a:pt x="31092" y="476026"/>
                        </a:lnTo>
                        <a:lnTo>
                          <a:pt x="57644" y="460342"/>
                        </a:lnTo>
                        <a:lnTo>
                          <a:pt x="73784" y="449996"/>
                        </a:lnTo>
                        <a:lnTo>
                          <a:pt x="111484" y="424854"/>
                        </a:lnTo>
                        <a:lnTo>
                          <a:pt x="154306" y="410169"/>
                        </a:lnTo>
                        <a:lnTo>
                          <a:pt x="159511" y="408367"/>
                        </a:lnTo>
                        <a:lnTo>
                          <a:pt x="135151" y="381794"/>
                        </a:lnTo>
                        <a:lnTo>
                          <a:pt x="210966" y="355720"/>
                        </a:lnTo>
                        <a:lnTo>
                          <a:pt x="211248" y="343897"/>
                        </a:lnTo>
                        <a:lnTo>
                          <a:pt x="209404" y="340384"/>
                        </a:lnTo>
                        <a:lnTo>
                          <a:pt x="197799" y="327715"/>
                        </a:lnTo>
                        <a:lnTo>
                          <a:pt x="196150" y="325026"/>
                        </a:lnTo>
                        <a:lnTo>
                          <a:pt x="234958" y="311706"/>
                        </a:lnTo>
                        <a:lnTo>
                          <a:pt x="238429" y="304093"/>
                        </a:lnTo>
                        <a:lnTo>
                          <a:pt x="244090" y="290382"/>
                        </a:lnTo>
                        <a:lnTo>
                          <a:pt x="245327" y="288235"/>
                        </a:lnTo>
                        <a:lnTo>
                          <a:pt x="245826" y="286065"/>
                        </a:lnTo>
                        <a:lnTo>
                          <a:pt x="229643" y="268321"/>
                        </a:lnTo>
                        <a:lnTo>
                          <a:pt x="243114" y="263679"/>
                        </a:lnTo>
                        <a:lnTo>
                          <a:pt x="261250" y="257475"/>
                        </a:lnTo>
                        <a:lnTo>
                          <a:pt x="249166" y="241727"/>
                        </a:lnTo>
                        <a:lnTo>
                          <a:pt x="246738" y="238234"/>
                        </a:lnTo>
                        <a:lnTo>
                          <a:pt x="243093" y="231553"/>
                        </a:lnTo>
                        <a:lnTo>
                          <a:pt x="240186" y="224220"/>
                        </a:lnTo>
                        <a:lnTo>
                          <a:pt x="238429" y="217778"/>
                        </a:lnTo>
                        <a:lnTo>
                          <a:pt x="237041" y="207235"/>
                        </a:lnTo>
                        <a:lnTo>
                          <a:pt x="233462" y="205218"/>
                        </a:lnTo>
                        <a:lnTo>
                          <a:pt x="229340" y="203417"/>
                        </a:lnTo>
                        <a:lnTo>
                          <a:pt x="226584" y="201964"/>
                        </a:lnTo>
                        <a:lnTo>
                          <a:pt x="219946" y="197409"/>
                        </a:lnTo>
                        <a:lnTo>
                          <a:pt x="215760" y="194914"/>
                        </a:lnTo>
                        <a:lnTo>
                          <a:pt x="208840" y="189816"/>
                        </a:lnTo>
                        <a:lnTo>
                          <a:pt x="206476" y="188427"/>
                        </a:lnTo>
                        <a:lnTo>
                          <a:pt x="203222" y="187647"/>
                        </a:lnTo>
                        <a:lnTo>
                          <a:pt x="200793" y="186302"/>
                        </a:lnTo>
                        <a:lnTo>
                          <a:pt x="195174" y="182810"/>
                        </a:lnTo>
                        <a:lnTo>
                          <a:pt x="190944" y="179057"/>
                        </a:lnTo>
                        <a:lnTo>
                          <a:pt x="186996" y="177647"/>
                        </a:lnTo>
                        <a:lnTo>
                          <a:pt x="192159" y="167668"/>
                        </a:lnTo>
                        <a:lnTo>
                          <a:pt x="194415" y="159793"/>
                        </a:lnTo>
                        <a:lnTo>
                          <a:pt x="200988" y="159316"/>
                        </a:lnTo>
                        <a:lnTo>
                          <a:pt x="207149" y="158341"/>
                        </a:lnTo>
                        <a:lnTo>
                          <a:pt x="208515" y="157776"/>
                        </a:lnTo>
                        <a:lnTo>
                          <a:pt x="210229" y="156258"/>
                        </a:lnTo>
                        <a:lnTo>
                          <a:pt x="223852" y="145629"/>
                        </a:lnTo>
                        <a:lnTo>
                          <a:pt x="224893" y="144327"/>
                        </a:lnTo>
                        <a:lnTo>
                          <a:pt x="226953" y="142635"/>
                        </a:lnTo>
                        <a:lnTo>
                          <a:pt x="235435" y="136605"/>
                        </a:lnTo>
                        <a:lnTo>
                          <a:pt x="235566" y="136670"/>
                        </a:lnTo>
                        <a:lnTo>
                          <a:pt x="236151" y="136279"/>
                        </a:lnTo>
                        <a:lnTo>
                          <a:pt x="238103" y="134544"/>
                        </a:lnTo>
                        <a:lnTo>
                          <a:pt x="246195" y="128709"/>
                        </a:lnTo>
                        <a:lnTo>
                          <a:pt x="249340" y="126063"/>
                        </a:lnTo>
                        <a:lnTo>
                          <a:pt x="279298" y="115758"/>
                        </a:lnTo>
                        <a:lnTo>
                          <a:pt x="404767" y="72677"/>
                        </a:lnTo>
                        <a:lnTo>
                          <a:pt x="513620" y="191877"/>
                        </a:lnTo>
                        <a:lnTo>
                          <a:pt x="564032" y="174501"/>
                        </a:lnTo>
                        <a:lnTo>
                          <a:pt x="563686" y="174110"/>
                        </a:lnTo>
                        <a:lnTo>
                          <a:pt x="564575" y="173786"/>
                        </a:lnTo>
                        <a:lnTo>
                          <a:pt x="564944" y="174198"/>
                        </a:lnTo>
                        <a:lnTo>
                          <a:pt x="567785" y="173265"/>
                        </a:lnTo>
                        <a:lnTo>
                          <a:pt x="602016" y="161486"/>
                        </a:lnTo>
                        <a:lnTo>
                          <a:pt x="726921" y="118296"/>
                        </a:lnTo>
                        <a:lnTo>
                          <a:pt x="836078" y="80942"/>
                        </a:lnTo>
                        <a:lnTo>
                          <a:pt x="872282" y="102092"/>
                        </a:lnTo>
                        <a:lnTo>
                          <a:pt x="880916" y="107840"/>
                        </a:lnTo>
                        <a:lnTo>
                          <a:pt x="894929" y="115390"/>
                        </a:lnTo>
                        <a:lnTo>
                          <a:pt x="899680" y="112829"/>
                        </a:lnTo>
                        <a:lnTo>
                          <a:pt x="908075" y="108535"/>
                        </a:lnTo>
                        <a:lnTo>
                          <a:pt x="910830" y="106777"/>
                        </a:lnTo>
                        <a:lnTo>
                          <a:pt x="913606" y="104717"/>
                        </a:lnTo>
                        <a:lnTo>
                          <a:pt x="915863" y="102352"/>
                        </a:lnTo>
                        <a:lnTo>
                          <a:pt x="918986" y="98295"/>
                        </a:lnTo>
                        <a:lnTo>
                          <a:pt x="928618" y="87124"/>
                        </a:lnTo>
                        <a:lnTo>
                          <a:pt x="936102" y="81853"/>
                        </a:lnTo>
                        <a:lnTo>
                          <a:pt x="963477" y="65410"/>
                        </a:lnTo>
                        <a:lnTo>
                          <a:pt x="976732" y="56018"/>
                        </a:lnTo>
                        <a:lnTo>
                          <a:pt x="987165" y="46906"/>
                        </a:lnTo>
                        <a:lnTo>
                          <a:pt x="994281" y="38468"/>
                        </a:lnTo>
                        <a:lnTo>
                          <a:pt x="997925" y="32806"/>
                        </a:lnTo>
                        <a:lnTo>
                          <a:pt x="1004520" y="20116"/>
                        </a:lnTo>
                        <a:lnTo>
                          <a:pt x="1011657" y="19140"/>
                        </a:lnTo>
                        <a:lnTo>
                          <a:pt x="1018729" y="18511"/>
                        </a:lnTo>
                        <a:lnTo>
                          <a:pt x="1027015" y="18207"/>
                        </a:lnTo>
                        <a:lnTo>
                          <a:pt x="1044195" y="18380"/>
                        </a:lnTo>
                        <a:lnTo>
                          <a:pt x="1061788" y="7144"/>
                        </a:lnTo>
                        <a:lnTo>
                          <a:pt x="1070465" y="8944"/>
                        </a:lnTo>
                        <a:lnTo>
                          <a:pt x="1101983" y="10550"/>
                        </a:lnTo>
                        <a:lnTo>
                          <a:pt x="1117385" y="15322"/>
                        </a:lnTo>
                        <a:lnTo>
                          <a:pt x="1121160" y="15799"/>
                        </a:lnTo>
                        <a:lnTo>
                          <a:pt x="1130943" y="15604"/>
                        </a:lnTo>
                        <a:lnTo>
                          <a:pt x="1142115" y="14845"/>
                        </a:lnTo>
                        <a:lnTo>
                          <a:pt x="1160987" y="14867"/>
                        </a:lnTo>
                        <a:lnTo>
                          <a:pt x="1179101" y="16103"/>
                        </a:lnTo>
                        <a:lnTo>
                          <a:pt x="1192355" y="17838"/>
                        </a:lnTo>
                        <a:lnTo>
                          <a:pt x="1203418" y="20073"/>
                        </a:lnTo>
                        <a:lnTo>
                          <a:pt x="1210208" y="21873"/>
                        </a:lnTo>
                        <a:lnTo>
                          <a:pt x="1213635" y="23023"/>
                        </a:lnTo>
                        <a:lnTo>
                          <a:pt x="1216932" y="24433"/>
                        </a:lnTo>
                        <a:lnTo>
                          <a:pt x="1221335" y="26689"/>
                        </a:lnTo>
                        <a:lnTo>
                          <a:pt x="1225587" y="29184"/>
                        </a:lnTo>
                        <a:lnTo>
                          <a:pt x="1244481" y="41006"/>
                        </a:lnTo>
                        <a:lnTo>
                          <a:pt x="1258755" y="51462"/>
                        </a:lnTo>
                        <a:lnTo>
                          <a:pt x="1264655" y="55518"/>
                        </a:lnTo>
                        <a:lnTo>
                          <a:pt x="1272226" y="59878"/>
                        </a:lnTo>
                        <a:lnTo>
                          <a:pt x="1293484" y="71006"/>
                        </a:lnTo>
                        <a:lnTo>
                          <a:pt x="1302553" y="76017"/>
                        </a:lnTo>
                        <a:lnTo>
                          <a:pt x="1305937" y="78382"/>
                        </a:lnTo>
                        <a:lnTo>
                          <a:pt x="1311836" y="82959"/>
                        </a:lnTo>
                        <a:lnTo>
                          <a:pt x="1314656" y="85518"/>
                        </a:lnTo>
                        <a:lnTo>
                          <a:pt x="1321923" y="92829"/>
                        </a:lnTo>
                        <a:lnTo>
                          <a:pt x="1335698" y="107363"/>
                        </a:lnTo>
                        <a:lnTo>
                          <a:pt x="1339429" y="111658"/>
                        </a:lnTo>
                        <a:lnTo>
                          <a:pt x="1341122" y="113979"/>
                        </a:lnTo>
                        <a:lnTo>
                          <a:pt x="1342575" y="115996"/>
                        </a:lnTo>
                        <a:lnTo>
                          <a:pt x="1346371" y="123480"/>
                        </a:lnTo>
                        <a:lnTo>
                          <a:pt x="1355959" y="146149"/>
                        </a:lnTo>
                        <a:lnTo>
                          <a:pt x="1359516" y="152982"/>
                        </a:lnTo>
                        <a:lnTo>
                          <a:pt x="1361556" y="156562"/>
                        </a:lnTo>
                        <a:lnTo>
                          <a:pt x="1368997" y="167516"/>
                        </a:lnTo>
                        <a:lnTo>
                          <a:pt x="1370320" y="168839"/>
                        </a:lnTo>
                        <a:lnTo>
                          <a:pt x="1379604" y="181205"/>
                        </a:lnTo>
                        <a:lnTo>
                          <a:pt x="1398237" y="206932"/>
                        </a:lnTo>
                        <a:lnTo>
                          <a:pt x="1414616" y="226910"/>
                        </a:lnTo>
                        <a:lnTo>
                          <a:pt x="1417393" y="231314"/>
                        </a:lnTo>
                        <a:lnTo>
                          <a:pt x="1428238" y="244437"/>
                        </a:lnTo>
                        <a:lnTo>
                          <a:pt x="1437262" y="257584"/>
                        </a:lnTo>
                        <a:lnTo>
                          <a:pt x="1442078" y="264200"/>
                        </a:lnTo>
                        <a:lnTo>
                          <a:pt x="1444291" y="266716"/>
                        </a:lnTo>
                        <a:lnTo>
                          <a:pt x="1450083" y="272312"/>
                        </a:lnTo>
                        <a:lnTo>
                          <a:pt x="1454096" y="277345"/>
                        </a:lnTo>
                        <a:lnTo>
                          <a:pt x="1457958" y="282681"/>
                        </a:lnTo>
                        <a:lnTo>
                          <a:pt x="1470344" y="297845"/>
                        </a:lnTo>
                        <a:lnTo>
                          <a:pt x="1472839" y="300382"/>
                        </a:lnTo>
                        <a:lnTo>
                          <a:pt x="1475550" y="303094"/>
                        </a:lnTo>
                        <a:lnTo>
                          <a:pt x="1478999" y="308778"/>
                        </a:lnTo>
                        <a:lnTo>
                          <a:pt x="1482144" y="316326"/>
                        </a:lnTo>
                        <a:lnTo>
                          <a:pt x="1482904" y="319385"/>
                        </a:lnTo>
                        <a:lnTo>
                          <a:pt x="1483121" y="321424"/>
                        </a:lnTo>
                        <a:lnTo>
                          <a:pt x="1482968" y="323203"/>
                        </a:lnTo>
                        <a:lnTo>
                          <a:pt x="1482513" y="324830"/>
                        </a:lnTo>
                        <a:lnTo>
                          <a:pt x="1480062" y="331273"/>
                        </a:lnTo>
                        <a:lnTo>
                          <a:pt x="1478847" y="335221"/>
                        </a:lnTo>
                        <a:lnTo>
                          <a:pt x="1478261" y="338040"/>
                        </a:lnTo>
                        <a:lnTo>
                          <a:pt x="1476656" y="360991"/>
                        </a:lnTo>
                        <a:lnTo>
                          <a:pt x="1477306" y="361881"/>
                        </a:lnTo>
                        <a:lnTo>
                          <a:pt x="1477675" y="364224"/>
                        </a:lnTo>
                        <a:lnTo>
                          <a:pt x="1477090" y="369495"/>
                        </a:lnTo>
                        <a:lnTo>
                          <a:pt x="1479281" y="373030"/>
                        </a:lnTo>
                        <a:lnTo>
                          <a:pt x="1481558" y="375135"/>
                        </a:lnTo>
                        <a:lnTo>
                          <a:pt x="1484986" y="374029"/>
                        </a:lnTo>
                        <a:lnTo>
                          <a:pt x="1487806" y="376068"/>
                        </a:lnTo>
                        <a:lnTo>
                          <a:pt x="1493750" y="379842"/>
                        </a:lnTo>
                        <a:lnTo>
                          <a:pt x="1498500" y="378627"/>
                        </a:lnTo>
                        <a:lnTo>
                          <a:pt x="1516396" y="367890"/>
                        </a:lnTo>
                        <a:lnTo>
                          <a:pt x="1532688" y="358605"/>
                        </a:lnTo>
                        <a:lnTo>
                          <a:pt x="1538003" y="355828"/>
                        </a:lnTo>
                        <a:lnTo>
                          <a:pt x="1548567" y="351034"/>
                        </a:lnTo>
                        <a:lnTo>
                          <a:pt x="1551863" y="349364"/>
                        </a:lnTo>
                        <a:lnTo>
                          <a:pt x="1561126" y="343919"/>
                        </a:lnTo>
                        <a:lnTo>
                          <a:pt x="1573383" y="337932"/>
                        </a:lnTo>
                        <a:lnTo>
                          <a:pt x="1588003" y="328843"/>
                        </a:lnTo>
                        <a:lnTo>
                          <a:pt x="1599912" y="321186"/>
                        </a:lnTo>
                        <a:lnTo>
                          <a:pt x="1614837" y="312205"/>
                        </a:lnTo>
                        <a:lnTo>
                          <a:pt x="1648786" y="289558"/>
                        </a:lnTo>
                        <a:lnTo>
                          <a:pt x="1652928" y="286586"/>
                        </a:lnTo>
                        <a:lnTo>
                          <a:pt x="1681671" y="269254"/>
                        </a:lnTo>
                        <a:lnTo>
                          <a:pt x="1687181" y="266239"/>
                        </a:lnTo>
                        <a:lnTo>
                          <a:pt x="1693320" y="263288"/>
                        </a:lnTo>
                        <a:lnTo>
                          <a:pt x="1723690" y="245804"/>
                        </a:lnTo>
                        <a:lnTo>
                          <a:pt x="1730263" y="242160"/>
                        </a:lnTo>
                        <a:lnTo>
                          <a:pt x="1743235" y="235566"/>
                        </a:lnTo>
                        <a:lnTo>
                          <a:pt x="1751587" y="231032"/>
                        </a:lnTo>
                        <a:lnTo>
                          <a:pt x="1805731" y="199838"/>
                        </a:lnTo>
                        <a:lnTo>
                          <a:pt x="1810373" y="196823"/>
                        </a:lnTo>
                        <a:lnTo>
                          <a:pt x="1837098" y="181725"/>
                        </a:lnTo>
                        <a:lnTo>
                          <a:pt x="1846882" y="175694"/>
                        </a:lnTo>
                        <a:lnTo>
                          <a:pt x="1866925" y="163894"/>
                        </a:lnTo>
                        <a:lnTo>
                          <a:pt x="1882587" y="155152"/>
                        </a:lnTo>
                        <a:lnTo>
                          <a:pt x="1890157" y="151355"/>
                        </a:lnTo>
                        <a:lnTo>
                          <a:pt x="1892436" y="153807"/>
                        </a:lnTo>
                        <a:lnTo>
                          <a:pt x="1894236" y="157321"/>
                        </a:lnTo>
                        <a:lnTo>
                          <a:pt x="1895190" y="163135"/>
                        </a:lnTo>
                        <a:lnTo>
                          <a:pt x="1896687" y="169295"/>
                        </a:lnTo>
                        <a:lnTo>
                          <a:pt x="1896297" y="170163"/>
                        </a:lnTo>
                        <a:lnTo>
                          <a:pt x="1898097" y="172288"/>
                        </a:lnTo>
                        <a:lnTo>
                          <a:pt x="1899095" y="174653"/>
                        </a:lnTo>
                        <a:lnTo>
                          <a:pt x="1899875" y="177972"/>
                        </a:lnTo>
                        <a:lnTo>
                          <a:pt x="1899833" y="179230"/>
                        </a:lnTo>
                        <a:lnTo>
                          <a:pt x="1901394" y="184436"/>
                        </a:lnTo>
                        <a:lnTo>
                          <a:pt x="1929182" y="179989"/>
                        </a:lnTo>
                        <a:lnTo>
                          <a:pt x="1929899" y="191378"/>
                        </a:lnTo>
                        <a:lnTo>
                          <a:pt x="1931807" y="206194"/>
                        </a:lnTo>
                        <a:lnTo>
                          <a:pt x="1933478" y="215847"/>
                        </a:lnTo>
                        <a:lnTo>
                          <a:pt x="1936341" y="235240"/>
                        </a:lnTo>
                        <a:lnTo>
                          <a:pt x="1958793" y="360818"/>
                        </a:lnTo>
                        <a:lnTo>
                          <a:pt x="1984064" y="504964"/>
                        </a:lnTo>
                        <a:lnTo>
                          <a:pt x="1991614" y="546961"/>
                        </a:lnTo>
                        <a:lnTo>
                          <a:pt x="1996472" y="571083"/>
                        </a:lnTo>
                        <a:lnTo>
                          <a:pt x="1997080" y="571408"/>
                        </a:lnTo>
                        <a:lnTo>
                          <a:pt x="1998468" y="577569"/>
                        </a:lnTo>
                        <a:lnTo>
                          <a:pt x="1999140" y="582580"/>
                        </a:lnTo>
                        <a:lnTo>
                          <a:pt x="2002003" y="594575"/>
                        </a:lnTo>
                        <a:lnTo>
                          <a:pt x="2004000" y="604620"/>
                        </a:lnTo>
                        <a:lnTo>
                          <a:pt x="2005714" y="615075"/>
                        </a:lnTo>
                        <a:lnTo>
                          <a:pt x="2007492" y="629783"/>
                        </a:lnTo>
                        <a:close/>
                      </a:path>
                    </a:pathLst>
                  </a:custGeom>
                  <a:solidFill>
                    <a:srgbClr val="CBCBCB"/>
                  </a:solidFill>
                  <a:ln w="12700">
                    <a:solidFill>
                      <a:schemeClr val="bg1"/>
                    </a:solidFill>
                  </a:ln>
                  <a:effectLst/>
                  <a:scene3d>
                    <a:camera prst="orthographicFront"/>
                    <a:lightRig rig="threePt" dir="tl"/>
                  </a:scene3d>
                  <a:sp3d/>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sz="1600">
                      <a:ln w="9525">
                        <a:solidFill>
                          <a:srgbClr val="FF0000"/>
                        </a:solidFill>
                      </a:ln>
                      <a:solidFill>
                        <a:srgbClr val="002060"/>
                      </a:solidFill>
                      <a:latin typeface="+mn-lt"/>
                      <a:cs typeface="+mn-cs"/>
                    </a:endParaRPr>
                  </a:p>
                </p:txBody>
              </p:sp>
            </p:grpSp>
          </p:grpSp>
          <p:sp>
            <p:nvSpPr>
              <p:cNvPr id="69" name="Freeform: Shape 68">
                <a:extLst>
                  <a:ext uri="{FF2B5EF4-FFF2-40B4-BE49-F238E27FC236}">
                    <a16:creationId xmlns:a16="http://schemas.microsoft.com/office/drawing/2014/main" id="{221F2500-0A63-4D0E-B453-6502A233ACEB}"/>
                  </a:ext>
                </a:extLst>
              </p:cNvPr>
              <p:cNvSpPr/>
              <p:nvPr/>
            </p:nvSpPr>
            <p:spPr>
              <a:xfrm>
                <a:off x="7065924" y="2920581"/>
                <a:ext cx="1300200" cy="1752390"/>
              </a:xfrm>
              <a:custGeom>
                <a:avLst/>
                <a:gdLst>
                  <a:gd name="connsiteX0" fmla="*/ 47644 w 1300181"/>
                  <a:gd name="connsiteY0" fmla="*/ 0 h 1748797"/>
                  <a:gd name="connsiteX1" fmla="*/ 19 w 1300181"/>
                  <a:gd name="connsiteY1" fmla="*/ 76200 h 1748797"/>
                  <a:gd name="connsiteX2" fmla="*/ 52406 w 1300181"/>
                  <a:gd name="connsiteY2" fmla="*/ 142875 h 1748797"/>
                  <a:gd name="connsiteX3" fmla="*/ 52406 w 1300181"/>
                  <a:gd name="connsiteY3" fmla="*/ 142875 h 1748797"/>
                  <a:gd name="connsiteX4" fmla="*/ 785831 w 1300181"/>
                  <a:gd name="connsiteY4" fmla="*/ 1604963 h 1748797"/>
                  <a:gd name="connsiteX5" fmla="*/ 1300181 w 1300181"/>
                  <a:gd name="connsiteY5" fmla="*/ 1614488 h 1748797"/>
                  <a:gd name="connsiteX0" fmla="*/ 40586 w 1300310"/>
                  <a:gd name="connsiteY0" fmla="*/ 0 h 1759577"/>
                  <a:gd name="connsiteX1" fmla="*/ 148 w 1300310"/>
                  <a:gd name="connsiteY1" fmla="*/ 86980 h 1759577"/>
                  <a:gd name="connsiteX2" fmla="*/ 52535 w 1300310"/>
                  <a:gd name="connsiteY2" fmla="*/ 153655 h 1759577"/>
                  <a:gd name="connsiteX3" fmla="*/ 52535 w 1300310"/>
                  <a:gd name="connsiteY3" fmla="*/ 153655 h 1759577"/>
                  <a:gd name="connsiteX4" fmla="*/ 785960 w 1300310"/>
                  <a:gd name="connsiteY4" fmla="*/ 1615743 h 1759577"/>
                  <a:gd name="connsiteX5" fmla="*/ 1300310 w 1300310"/>
                  <a:gd name="connsiteY5" fmla="*/ 1625268 h 1759577"/>
                  <a:gd name="connsiteX0" fmla="*/ 54815 w 1300165"/>
                  <a:gd name="connsiteY0" fmla="*/ 0 h 1750594"/>
                  <a:gd name="connsiteX1" fmla="*/ 3 w 1300165"/>
                  <a:gd name="connsiteY1" fmla="*/ 77997 h 1750594"/>
                  <a:gd name="connsiteX2" fmla="*/ 52390 w 1300165"/>
                  <a:gd name="connsiteY2" fmla="*/ 144672 h 1750594"/>
                  <a:gd name="connsiteX3" fmla="*/ 52390 w 1300165"/>
                  <a:gd name="connsiteY3" fmla="*/ 144672 h 1750594"/>
                  <a:gd name="connsiteX4" fmla="*/ 785815 w 1300165"/>
                  <a:gd name="connsiteY4" fmla="*/ 1606760 h 1750594"/>
                  <a:gd name="connsiteX5" fmla="*/ 1300165 w 1300165"/>
                  <a:gd name="connsiteY5" fmla="*/ 1616285 h 1750594"/>
                  <a:gd name="connsiteX0" fmla="*/ 49429 w 1300169"/>
                  <a:gd name="connsiteY0" fmla="*/ 0 h 1752390"/>
                  <a:gd name="connsiteX1" fmla="*/ 7 w 1300169"/>
                  <a:gd name="connsiteY1" fmla="*/ 79793 h 1752390"/>
                  <a:gd name="connsiteX2" fmla="*/ 52394 w 1300169"/>
                  <a:gd name="connsiteY2" fmla="*/ 146468 h 1752390"/>
                  <a:gd name="connsiteX3" fmla="*/ 52394 w 1300169"/>
                  <a:gd name="connsiteY3" fmla="*/ 146468 h 1752390"/>
                  <a:gd name="connsiteX4" fmla="*/ 785819 w 1300169"/>
                  <a:gd name="connsiteY4" fmla="*/ 1608556 h 1752390"/>
                  <a:gd name="connsiteX5" fmla="*/ 1300169 w 1300169"/>
                  <a:gd name="connsiteY5" fmla="*/ 1618081 h 1752390"/>
                  <a:gd name="connsiteX0" fmla="*/ 45866 w 1300199"/>
                  <a:gd name="connsiteY0" fmla="*/ 0 h 1752390"/>
                  <a:gd name="connsiteX1" fmla="*/ 37 w 1300199"/>
                  <a:gd name="connsiteY1" fmla="*/ 79793 h 1752390"/>
                  <a:gd name="connsiteX2" fmla="*/ 52424 w 1300199"/>
                  <a:gd name="connsiteY2" fmla="*/ 146468 h 1752390"/>
                  <a:gd name="connsiteX3" fmla="*/ 52424 w 1300199"/>
                  <a:gd name="connsiteY3" fmla="*/ 146468 h 1752390"/>
                  <a:gd name="connsiteX4" fmla="*/ 785849 w 1300199"/>
                  <a:gd name="connsiteY4" fmla="*/ 1608556 h 1752390"/>
                  <a:gd name="connsiteX5" fmla="*/ 1300199 w 1300199"/>
                  <a:gd name="connsiteY5" fmla="*/ 1618081 h 17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0199" h="1752390">
                    <a:moveTo>
                      <a:pt x="45866" y="0"/>
                    </a:moveTo>
                    <a:cubicBezTo>
                      <a:pt x="21656" y="26194"/>
                      <a:pt x="-1056" y="55382"/>
                      <a:pt x="37" y="79793"/>
                    </a:cubicBezTo>
                    <a:cubicBezTo>
                      <a:pt x="1130" y="104204"/>
                      <a:pt x="52424" y="146468"/>
                      <a:pt x="52424" y="146468"/>
                    </a:cubicBezTo>
                    <a:lnTo>
                      <a:pt x="52424" y="146468"/>
                    </a:lnTo>
                    <a:cubicBezTo>
                      <a:pt x="174662" y="390149"/>
                      <a:pt x="577887" y="1363287"/>
                      <a:pt x="785849" y="1608556"/>
                    </a:cubicBezTo>
                    <a:cubicBezTo>
                      <a:pt x="993811" y="1853825"/>
                      <a:pt x="1147005" y="1735953"/>
                      <a:pt x="1300199" y="1618081"/>
                    </a:cubicBezTo>
                  </a:path>
                </a:pathLst>
              </a:custGeom>
              <a:noFill/>
              <a:ln w="63500">
                <a:solidFill>
                  <a:schemeClr val="bg1">
                    <a:lumMod val="50000"/>
                  </a:schemeClr>
                </a:solidFill>
              </a:ln>
            </p:spPr>
            <p:txBody>
              <a:bodyPr rtlCol="0" anchor="ctr"/>
              <a:lstStyle/>
              <a:p>
                <a:pPr algn="ctr"/>
                <a:endParaRPr lang="nl-NL"/>
              </a:p>
            </p:txBody>
          </p:sp>
          <p:sp>
            <p:nvSpPr>
              <p:cNvPr id="70" name="Freeform: Shape 69">
                <a:extLst>
                  <a:ext uri="{FF2B5EF4-FFF2-40B4-BE49-F238E27FC236}">
                    <a16:creationId xmlns:a16="http://schemas.microsoft.com/office/drawing/2014/main" id="{B017B239-9225-488B-BAB4-CB7DE581E31C}"/>
                  </a:ext>
                </a:extLst>
              </p:cNvPr>
              <p:cNvSpPr/>
              <p:nvPr/>
            </p:nvSpPr>
            <p:spPr>
              <a:xfrm>
                <a:off x="7588249" y="4015933"/>
                <a:ext cx="666750" cy="346516"/>
              </a:xfrm>
              <a:custGeom>
                <a:avLst/>
                <a:gdLst>
                  <a:gd name="connsiteX0" fmla="*/ 0 w 666750"/>
                  <a:gd name="connsiteY0" fmla="*/ 60766 h 346516"/>
                  <a:gd name="connsiteX1" fmla="*/ 38100 w 666750"/>
                  <a:gd name="connsiteY1" fmla="*/ 133791 h 346516"/>
                  <a:gd name="connsiteX2" fmla="*/ 95250 w 666750"/>
                  <a:gd name="connsiteY2" fmla="*/ 127441 h 346516"/>
                  <a:gd name="connsiteX3" fmla="*/ 412750 w 666750"/>
                  <a:gd name="connsiteY3" fmla="*/ 441 h 346516"/>
                  <a:gd name="connsiteX4" fmla="*/ 498475 w 666750"/>
                  <a:gd name="connsiteY4" fmla="*/ 95691 h 346516"/>
                  <a:gd name="connsiteX5" fmla="*/ 666750 w 666750"/>
                  <a:gd name="connsiteY5" fmla="*/ 346516 h 346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750" h="346516">
                    <a:moveTo>
                      <a:pt x="0" y="60766"/>
                    </a:moveTo>
                    <a:cubicBezTo>
                      <a:pt x="11112" y="91722"/>
                      <a:pt x="22225" y="122679"/>
                      <a:pt x="38100" y="133791"/>
                    </a:cubicBezTo>
                    <a:cubicBezTo>
                      <a:pt x="53975" y="144904"/>
                      <a:pt x="32808" y="149666"/>
                      <a:pt x="95250" y="127441"/>
                    </a:cubicBezTo>
                    <a:cubicBezTo>
                      <a:pt x="157692" y="105216"/>
                      <a:pt x="345546" y="5733"/>
                      <a:pt x="412750" y="441"/>
                    </a:cubicBezTo>
                    <a:cubicBezTo>
                      <a:pt x="479954" y="-4851"/>
                      <a:pt x="456142" y="38012"/>
                      <a:pt x="498475" y="95691"/>
                    </a:cubicBezTo>
                    <a:cubicBezTo>
                      <a:pt x="540808" y="153370"/>
                      <a:pt x="603779" y="249943"/>
                      <a:pt x="666750" y="346516"/>
                    </a:cubicBezTo>
                  </a:path>
                </a:pathLst>
              </a:custGeom>
              <a:noFill/>
              <a:ln w="63500">
                <a:solidFill>
                  <a:schemeClr val="bg1">
                    <a:lumMod val="50000"/>
                  </a:schemeClr>
                </a:solidFill>
              </a:ln>
            </p:spPr>
            <p:txBody>
              <a:bodyPr rtlCol="0" anchor="ctr"/>
              <a:lstStyle/>
              <a:p>
                <a:pPr algn="ctr"/>
                <a:endParaRPr lang="nl-NL"/>
              </a:p>
            </p:txBody>
          </p:sp>
          <p:sp>
            <p:nvSpPr>
              <p:cNvPr id="9" name="Freeform: Shape 8">
                <a:extLst>
                  <a:ext uri="{FF2B5EF4-FFF2-40B4-BE49-F238E27FC236}">
                    <a16:creationId xmlns:a16="http://schemas.microsoft.com/office/drawing/2014/main" id="{E20A8366-DC79-4A2A-AE5D-20C56C85F590}"/>
                  </a:ext>
                </a:extLst>
              </p:cNvPr>
              <p:cNvSpPr/>
              <p:nvPr/>
            </p:nvSpPr>
            <p:spPr>
              <a:xfrm>
                <a:off x="6462266" y="2449646"/>
                <a:ext cx="656084" cy="474531"/>
              </a:xfrm>
              <a:custGeom>
                <a:avLst/>
                <a:gdLst>
                  <a:gd name="connsiteX0" fmla="*/ 0 w 622300"/>
                  <a:gd name="connsiteY0" fmla="*/ 0 h 466725"/>
                  <a:gd name="connsiteX1" fmla="*/ 622300 w 622300"/>
                  <a:gd name="connsiteY1" fmla="*/ 466725 h 466725"/>
                </a:gdLst>
                <a:ahLst/>
                <a:cxnLst>
                  <a:cxn ang="0">
                    <a:pos x="connsiteX0" y="connsiteY0"/>
                  </a:cxn>
                  <a:cxn ang="0">
                    <a:pos x="connsiteX1" y="connsiteY1"/>
                  </a:cxn>
                </a:cxnLst>
                <a:rect l="l" t="t" r="r" b="b"/>
                <a:pathLst>
                  <a:path w="622300" h="466725">
                    <a:moveTo>
                      <a:pt x="0" y="0"/>
                    </a:moveTo>
                    <a:lnTo>
                      <a:pt x="622300" y="466725"/>
                    </a:lnTo>
                  </a:path>
                </a:pathLst>
              </a:custGeom>
              <a:noFill/>
              <a:ln w="63500">
                <a:solidFill>
                  <a:schemeClr val="accent2"/>
                </a:solidFill>
                <a:prstDash val="sysDot"/>
              </a:ln>
            </p:spPr>
            <p:txBody>
              <a:bodyPr rtlCol="0" anchor="ctr"/>
              <a:lstStyle/>
              <a:p>
                <a:pPr algn="ctr"/>
                <a:endParaRPr lang="nl-NL"/>
              </a:p>
            </p:txBody>
          </p:sp>
          <p:sp>
            <p:nvSpPr>
              <p:cNvPr id="10" name="Freeform: Shape 9">
                <a:extLst>
                  <a:ext uri="{FF2B5EF4-FFF2-40B4-BE49-F238E27FC236}">
                    <a16:creationId xmlns:a16="http://schemas.microsoft.com/office/drawing/2014/main" id="{EE0AC020-2337-49F9-8224-899DEC5FF397}"/>
                  </a:ext>
                </a:extLst>
              </p:cNvPr>
              <p:cNvSpPr/>
              <p:nvPr/>
            </p:nvSpPr>
            <p:spPr>
              <a:xfrm>
                <a:off x="6119552" y="2400099"/>
                <a:ext cx="1347815" cy="1500447"/>
              </a:xfrm>
              <a:custGeom>
                <a:avLst/>
                <a:gdLst>
                  <a:gd name="connsiteX0" fmla="*/ 1321588 w 1346002"/>
                  <a:gd name="connsiteY0" fmla="*/ 1549911 h 1638947"/>
                  <a:gd name="connsiteX1" fmla="*/ 1343813 w 1346002"/>
                  <a:gd name="connsiteY1" fmla="*/ 1610236 h 1638947"/>
                  <a:gd name="connsiteX2" fmla="*/ 1273963 w 1346002"/>
                  <a:gd name="connsiteY2" fmla="*/ 1629286 h 1638947"/>
                  <a:gd name="connsiteX3" fmla="*/ 988213 w 1346002"/>
                  <a:gd name="connsiteY3" fmla="*/ 1457836 h 1638947"/>
                  <a:gd name="connsiteX4" fmla="*/ 845338 w 1346002"/>
                  <a:gd name="connsiteY4" fmla="*/ 1426086 h 1638947"/>
                  <a:gd name="connsiteX5" fmla="*/ 162713 w 1346002"/>
                  <a:gd name="connsiteY5" fmla="*/ 1324486 h 1638947"/>
                  <a:gd name="connsiteX6" fmla="*/ 67463 w 1346002"/>
                  <a:gd name="connsiteY6" fmla="*/ 1045086 h 1638947"/>
                  <a:gd name="connsiteX7" fmla="*/ 10313 w 1346002"/>
                  <a:gd name="connsiteY7" fmla="*/ 108461 h 1638947"/>
                  <a:gd name="connsiteX8" fmla="*/ 283363 w 1346002"/>
                  <a:gd name="connsiteY8" fmla="*/ 57661 h 1638947"/>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845338 w 1346002"/>
                  <a:gd name="connsiteY4" fmla="*/ 142608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46002"/>
                  <a:gd name="connsiteY0" fmla="*/ 1549911 h 1641478"/>
                  <a:gd name="connsiteX1" fmla="*/ 1343813 w 1346002"/>
                  <a:gd name="connsiteY1" fmla="*/ 1610236 h 1641478"/>
                  <a:gd name="connsiteX2" fmla="*/ 1273963 w 1346002"/>
                  <a:gd name="connsiteY2" fmla="*/ 1629286 h 1641478"/>
                  <a:gd name="connsiteX3" fmla="*/ 943763 w 1346002"/>
                  <a:gd name="connsiteY3" fmla="*/ 1422911 h 1641478"/>
                  <a:gd name="connsiteX4" fmla="*/ 762788 w 1346002"/>
                  <a:gd name="connsiteY4" fmla="*/ 1394336 h 1641478"/>
                  <a:gd name="connsiteX5" fmla="*/ 162713 w 1346002"/>
                  <a:gd name="connsiteY5" fmla="*/ 1324486 h 1641478"/>
                  <a:gd name="connsiteX6" fmla="*/ 67463 w 1346002"/>
                  <a:gd name="connsiteY6" fmla="*/ 1045086 h 1641478"/>
                  <a:gd name="connsiteX7" fmla="*/ 10313 w 1346002"/>
                  <a:gd name="connsiteY7" fmla="*/ 108461 h 1641478"/>
                  <a:gd name="connsiteX8" fmla="*/ 283363 w 1346002"/>
                  <a:gd name="connsiteY8" fmla="*/ 57661 h 1641478"/>
                  <a:gd name="connsiteX0" fmla="*/ 1321588 w 1355485"/>
                  <a:gd name="connsiteY0" fmla="*/ 1549911 h 1641478"/>
                  <a:gd name="connsiteX1" fmla="*/ 1343813 w 1355485"/>
                  <a:gd name="connsiteY1" fmla="*/ 1610236 h 1641478"/>
                  <a:gd name="connsiteX2" fmla="*/ 1137438 w 1355485"/>
                  <a:gd name="connsiteY2" fmla="*/ 1629286 h 1641478"/>
                  <a:gd name="connsiteX3" fmla="*/ 943763 w 1355485"/>
                  <a:gd name="connsiteY3" fmla="*/ 1422911 h 1641478"/>
                  <a:gd name="connsiteX4" fmla="*/ 762788 w 1355485"/>
                  <a:gd name="connsiteY4" fmla="*/ 1394336 h 1641478"/>
                  <a:gd name="connsiteX5" fmla="*/ 162713 w 1355485"/>
                  <a:gd name="connsiteY5" fmla="*/ 1324486 h 1641478"/>
                  <a:gd name="connsiteX6" fmla="*/ 67463 w 1355485"/>
                  <a:gd name="connsiteY6" fmla="*/ 1045086 h 1641478"/>
                  <a:gd name="connsiteX7" fmla="*/ 10313 w 1355485"/>
                  <a:gd name="connsiteY7" fmla="*/ 108461 h 1641478"/>
                  <a:gd name="connsiteX8" fmla="*/ 283363 w 1355485"/>
                  <a:gd name="connsiteY8" fmla="*/ 57661 h 1641478"/>
                  <a:gd name="connsiteX0" fmla="*/ 1331113 w 1358225"/>
                  <a:gd name="connsiteY0" fmla="*/ 1534036 h 1641946"/>
                  <a:gd name="connsiteX1" fmla="*/ 1343813 w 1358225"/>
                  <a:gd name="connsiteY1" fmla="*/ 1610236 h 1641946"/>
                  <a:gd name="connsiteX2" fmla="*/ 1137438 w 1358225"/>
                  <a:gd name="connsiteY2" fmla="*/ 1629286 h 1641946"/>
                  <a:gd name="connsiteX3" fmla="*/ 943763 w 1358225"/>
                  <a:gd name="connsiteY3" fmla="*/ 1422911 h 1641946"/>
                  <a:gd name="connsiteX4" fmla="*/ 762788 w 1358225"/>
                  <a:gd name="connsiteY4" fmla="*/ 1394336 h 1641946"/>
                  <a:gd name="connsiteX5" fmla="*/ 162713 w 1358225"/>
                  <a:gd name="connsiteY5" fmla="*/ 1324486 h 1641946"/>
                  <a:gd name="connsiteX6" fmla="*/ 67463 w 1358225"/>
                  <a:gd name="connsiteY6" fmla="*/ 1045086 h 1641946"/>
                  <a:gd name="connsiteX7" fmla="*/ 10313 w 1358225"/>
                  <a:gd name="connsiteY7" fmla="*/ 108461 h 1641946"/>
                  <a:gd name="connsiteX8" fmla="*/ 283363 w 1358225"/>
                  <a:gd name="connsiteY8" fmla="*/ 57661 h 1641946"/>
                  <a:gd name="connsiteX0" fmla="*/ 1315238 w 1353973"/>
                  <a:gd name="connsiteY0" fmla="*/ 1540386 h 1641755"/>
                  <a:gd name="connsiteX1" fmla="*/ 1343813 w 1353973"/>
                  <a:gd name="connsiteY1" fmla="*/ 1610236 h 1641755"/>
                  <a:gd name="connsiteX2" fmla="*/ 1137438 w 1353973"/>
                  <a:gd name="connsiteY2" fmla="*/ 1629286 h 1641755"/>
                  <a:gd name="connsiteX3" fmla="*/ 943763 w 1353973"/>
                  <a:gd name="connsiteY3" fmla="*/ 1422911 h 1641755"/>
                  <a:gd name="connsiteX4" fmla="*/ 762788 w 1353973"/>
                  <a:gd name="connsiteY4" fmla="*/ 1394336 h 1641755"/>
                  <a:gd name="connsiteX5" fmla="*/ 162713 w 1353973"/>
                  <a:gd name="connsiteY5" fmla="*/ 1324486 h 1641755"/>
                  <a:gd name="connsiteX6" fmla="*/ 67463 w 1353973"/>
                  <a:gd name="connsiteY6" fmla="*/ 1045086 h 1641755"/>
                  <a:gd name="connsiteX7" fmla="*/ 10313 w 1353973"/>
                  <a:gd name="connsiteY7" fmla="*/ 108461 h 1641755"/>
                  <a:gd name="connsiteX8" fmla="*/ 283363 w 1353973"/>
                  <a:gd name="connsiteY8" fmla="*/ 57661 h 1641755"/>
                  <a:gd name="connsiteX0" fmla="*/ 1321588 w 1355485"/>
                  <a:gd name="connsiteY0" fmla="*/ 1534036 h 1641946"/>
                  <a:gd name="connsiteX1" fmla="*/ 1343813 w 1355485"/>
                  <a:gd name="connsiteY1" fmla="*/ 1610236 h 1641946"/>
                  <a:gd name="connsiteX2" fmla="*/ 1137438 w 1355485"/>
                  <a:gd name="connsiteY2" fmla="*/ 1629286 h 1641946"/>
                  <a:gd name="connsiteX3" fmla="*/ 943763 w 1355485"/>
                  <a:gd name="connsiteY3" fmla="*/ 1422911 h 1641946"/>
                  <a:gd name="connsiteX4" fmla="*/ 762788 w 1355485"/>
                  <a:gd name="connsiteY4" fmla="*/ 1394336 h 1641946"/>
                  <a:gd name="connsiteX5" fmla="*/ 162713 w 1355485"/>
                  <a:gd name="connsiteY5" fmla="*/ 1324486 h 1641946"/>
                  <a:gd name="connsiteX6" fmla="*/ 67463 w 1355485"/>
                  <a:gd name="connsiteY6" fmla="*/ 1045086 h 1641946"/>
                  <a:gd name="connsiteX7" fmla="*/ 10313 w 1355485"/>
                  <a:gd name="connsiteY7" fmla="*/ 108461 h 1641946"/>
                  <a:gd name="connsiteX8" fmla="*/ 283363 w 1355485"/>
                  <a:gd name="connsiteY8" fmla="*/ 57661 h 1641946"/>
                  <a:gd name="connsiteX0" fmla="*/ 1333495 w 1359016"/>
                  <a:gd name="connsiteY0" fmla="*/ 1555467 h 1641320"/>
                  <a:gd name="connsiteX1" fmla="*/ 1343813 w 1359016"/>
                  <a:gd name="connsiteY1" fmla="*/ 1610236 h 1641320"/>
                  <a:gd name="connsiteX2" fmla="*/ 1137438 w 1359016"/>
                  <a:gd name="connsiteY2" fmla="*/ 1629286 h 1641320"/>
                  <a:gd name="connsiteX3" fmla="*/ 943763 w 1359016"/>
                  <a:gd name="connsiteY3" fmla="*/ 1422911 h 1641320"/>
                  <a:gd name="connsiteX4" fmla="*/ 762788 w 1359016"/>
                  <a:gd name="connsiteY4" fmla="*/ 1394336 h 1641320"/>
                  <a:gd name="connsiteX5" fmla="*/ 162713 w 1359016"/>
                  <a:gd name="connsiteY5" fmla="*/ 1324486 h 1641320"/>
                  <a:gd name="connsiteX6" fmla="*/ 67463 w 1359016"/>
                  <a:gd name="connsiteY6" fmla="*/ 1045086 h 1641320"/>
                  <a:gd name="connsiteX7" fmla="*/ 10313 w 1359016"/>
                  <a:gd name="connsiteY7" fmla="*/ 108461 h 1641320"/>
                  <a:gd name="connsiteX8" fmla="*/ 283363 w 1359016"/>
                  <a:gd name="connsiteY8" fmla="*/ 57661 h 1641320"/>
                  <a:gd name="connsiteX0" fmla="*/ 1333495 w 1359016"/>
                  <a:gd name="connsiteY0" fmla="*/ 1516775 h 1602628"/>
                  <a:gd name="connsiteX1" fmla="*/ 1343813 w 1359016"/>
                  <a:gd name="connsiteY1" fmla="*/ 1571544 h 1602628"/>
                  <a:gd name="connsiteX2" fmla="*/ 1137438 w 1359016"/>
                  <a:gd name="connsiteY2" fmla="*/ 1590594 h 1602628"/>
                  <a:gd name="connsiteX3" fmla="*/ 943763 w 1359016"/>
                  <a:gd name="connsiteY3" fmla="*/ 1384219 h 1602628"/>
                  <a:gd name="connsiteX4" fmla="*/ 762788 w 1359016"/>
                  <a:gd name="connsiteY4" fmla="*/ 1355644 h 1602628"/>
                  <a:gd name="connsiteX5" fmla="*/ 162713 w 1359016"/>
                  <a:gd name="connsiteY5" fmla="*/ 1285794 h 1602628"/>
                  <a:gd name="connsiteX6" fmla="*/ 67463 w 1359016"/>
                  <a:gd name="connsiteY6" fmla="*/ 1006394 h 1602628"/>
                  <a:gd name="connsiteX7" fmla="*/ 10313 w 1359016"/>
                  <a:gd name="connsiteY7" fmla="*/ 200738 h 1602628"/>
                  <a:gd name="connsiteX8" fmla="*/ 283363 w 1359016"/>
                  <a:gd name="connsiteY8" fmla="*/ 18969 h 1602628"/>
                  <a:gd name="connsiteX0" fmla="*/ 1337729 w 1363250"/>
                  <a:gd name="connsiteY0" fmla="*/ 1412283 h 1498136"/>
                  <a:gd name="connsiteX1" fmla="*/ 1348047 w 1363250"/>
                  <a:gd name="connsiteY1" fmla="*/ 1467052 h 1498136"/>
                  <a:gd name="connsiteX2" fmla="*/ 1141672 w 1363250"/>
                  <a:gd name="connsiteY2" fmla="*/ 1486102 h 1498136"/>
                  <a:gd name="connsiteX3" fmla="*/ 947997 w 1363250"/>
                  <a:gd name="connsiteY3" fmla="*/ 1279727 h 1498136"/>
                  <a:gd name="connsiteX4" fmla="*/ 767022 w 1363250"/>
                  <a:gd name="connsiteY4" fmla="*/ 1251152 h 1498136"/>
                  <a:gd name="connsiteX5" fmla="*/ 166947 w 1363250"/>
                  <a:gd name="connsiteY5" fmla="*/ 1181302 h 1498136"/>
                  <a:gd name="connsiteX6" fmla="*/ 71697 w 1363250"/>
                  <a:gd name="connsiteY6" fmla="*/ 901902 h 1498136"/>
                  <a:gd name="connsiteX7" fmla="*/ 14547 w 1363250"/>
                  <a:gd name="connsiteY7" fmla="*/ 96246 h 1498136"/>
                  <a:gd name="connsiteX8" fmla="*/ 351890 w 1363250"/>
                  <a:gd name="connsiteY8" fmla="*/ 52590 h 1498136"/>
                  <a:gd name="connsiteX0" fmla="*/ 1337729 w 1347815"/>
                  <a:gd name="connsiteY0" fmla="*/ 1412283 h 1500196"/>
                  <a:gd name="connsiteX1" fmla="*/ 1321097 w 1347815"/>
                  <a:gd name="connsiteY1" fmla="*/ 1474239 h 1500196"/>
                  <a:gd name="connsiteX2" fmla="*/ 1141672 w 1347815"/>
                  <a:gd name="connsiteY2" fmla="*/ 1486102 h 1500196"/>
                  <a:gd name="connsiteX3" fmla="*/ 947997 w 1347815"/>
                  <a:gd name="connsiteY3" fmla="*/ 1279727 h 1500196"/>
                  <a:gd name="connsiteX4" fmla="*/ 767022 w 1347815"/>
                  <a:gd name="connsiteY4" fmla="*/ 1251152 h 1500196"/>
                  <a:gd name="connsiteX5" fmla="*/ 166947 w 1347815"/>
                  <a:gd name="connsiteY5" fmla="*/ 1181302 h 1500196"/>
                  <a:gd name="connsiteX6" fmla="*/ 71697 w 1347815"/>
                  <a:gd name="connsiteY6" fmla="*/ 901902 h 1500196"/>
                  <a:gd name="connsiteX7" fmla="*/ 14547 w 1347815"/>
                  <a:gd name="connsiteY7" fmla="*/ 96246 h 1500196"/>
                  <a:gd name="connsiteX8" fmla="*/ 351890 w 1347815"/>
                  <a:gd name="connsiteY8" fmla="*/ 52590 h 1500196"/>
                  <a:gd name="connsiteX0" fmla="*/ 1344915 w 1352986"/>
                  <a:gd name="connsiteY0" fmla="*/ 1408690 h 1500321"/>
                  <a:gd name="connsiteX1" fmla="*/ 1321097 w 1352986"/>
                  <a:gd name="connsiteY1" fmla="*/ 1474239 h 1500321"/>
                  <a:gd name="connsiteX2" fmla="*/ 1141672 w 1352986"/>
                  <a:gd name="connsiteY2" fmla="*/ 1486102 h 1500321"/>
                  <a:gd name="connsiteX3" fmla="*/ 947997 w 1352986"/>
                  <a:gd name="connsiteY3" fmla="*/ 1279727 h 1500321"/>
                  <a:gd name="connsiteX4" fmla="*/ 767022 w 1352986"/>
                  <a:gd name="connsiteY4" fmla="*/ 1251152 h 1500321"/>
                  <a:gd name="connsiteX5" fmla="*/ 166947 w 1352986"/>
                  <a:gd name="connsiteY5" fmla="*/ 1181302 h 1500321"/>
                  <a:gd name="connsiteX6" fmla="*/ 71697 w 1352986"/>
                  <a:gd name="connsiteY6" fmla="*/ 901902 h 1500321"/>
                  <a:gd name="connsiteX7" fmla="*/ 14547 w 1352986"/>
                  <a:gd name="connsiteY7" fmla="*/ 96246 h 1500321"/>
                  <a:gd name="connsiteX8" fmla="*/ 351890 w 1352986"/>
                  <a:gd name="connsiteY8" fmla="*/ 52590 h 1500321"/>
                  <a:gd name="connsiteX0" fmla="*/ 1339525 w 1349050"/>
                  <a:gd name="connsiteY0" fmla="*/ 1408690 h 1500321"/>
                  <a:gd name="connsiteX1" fmla="*/ 1321097 w 1349050"/>
                  <a:gd name="connsiteY1" fmla="*/ 1474239 h 1500321"/>
                  <a:gd name="connsiteX2" fmla="*/ 1141672 w 1349050"/>
                  <a:gd name="connsiteY2" fmla="*/ 1486102 h 1500321"/>
                  <a:gd name="connsiteX3" fmla="*/ 947997 w 1349050"/>
                  <a:gd name="connsiteY3" fmla="*/ 1279727 h 1500321"/>
                  <a:gd name="connsiteX4" fmla="*/ 767022 w 1349050"/>
                  <a:gd name="connsiteY4" fmla="*/ 1251152 h 1500321"/>
                  <a:gd name="connsiteX5" fmla="*/ 166947 w 1349050"/>
                  <a:gd name="connsiteY5" fmla="*/ 1181302 h 1500321"/>
                  <a:gd name="connsiteX6" fmla="*/ 71697 w 1349050"/>
                  <a:gd name="connsiteY6" fmla="*/ 901902 h 1500321"/>
                  <a:gd name="connsiteX7" fmla="*/ 14547 w 1349050"/>
                  <a:gd name="connsiteY7" fmla="*/ 96246 h 1500321"/>
                  <a:gd name="connsiteX8" fmla="*/ 351890 w 1349050"/>
                  <a:gd name="connsiteY8" fmla="*/ 52590 h 1500321"/>
                  <a:gd name="connsiteX0" fmla="*/ 1337729 w 1347815"/>
                  <a:gd name="connsiteY0" fmla="*/ 1405097 h 1500447"/>
                  <a:gd name="connsiteX1" fmla="*/ 1321097 w 1347815"/>
                  <a:gd name="connsiteY1" fmla="*/ 1474239 h 1500447"/>
                  <a:gd name="connsiteX2" fmla="*/ 1141672 w 1347815"/>
                  <a:gd name="connsiteY2" fmla="*/ 1486102 h 1500447"/>
                  <a:gd name="connsiteX3" fmla="*/ 947997 w 1347815"/>
                  <a:gd name="connsiteY3" fmla="*/ 1279727 h 1500447"/>
                  <a:gd name="connsiteX4" fmla="*/ 767022 w 1347815"/>
                  <a:gd name="connsiteY4" fmla="*/ 1251152 h 1500447"/>
                  <a:gd name="connsiteX5" fmla="*/ 166947 w 1347815"/>
                  <a:gd name="connsiteY5" fmla="*/ 1181302 h 1500447"/>
                  <a:gd name="connsiteX6" fmla="*/ 71697 w 1347815"/>
                  <a:gd name="connsiteY6" fmla="*/ 901902 h 1500447"/>
                  <a:gd name="connsiteX7" fmla="*/ 14547 w 1347815"/>
                  <a:gd name="connsiteY7" fmla="*/ 96246 h 1500447"/>
                  <a:gd name="connsiteX8" fmla="*/ 351890 w 1347815"/>
                  <a:gd name="connsiteY8" fmla="*/ 52590 h 1500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7815" h="1500447">
                    <a:moveTo>
                      <a:pt x="1337729" y="1405097"/>
                    </a:moveTo>
                    <a:cubicBezTo>
                      <a:pt x="1352810" y="1428645"/>
                      <a:pt x="1353773" y="1460738"/>
                      <a:pt x="1321097" y="1474239"/>
                    </a:cubicBezTo>
                    <a:cubicBezTo>
                      <a:pt x="1288421" y="1487740"/>
                      <a:pt x="1203855" y="1518521"/>
                      <a:pt x="1141672" y="1486102"/>
                    </a:cubicBezTo>
                    <a:cubicBezTo>
                      <a:pt x="1079489" y="1453683"/>
                      <a:pt x="1010439" y="1318885"/>
                      <a:pt x="947997" y="1279727"/>
                    </a:cubicBezTo>
                    <a:cubicBezTo>
                      <a:pt x="885555" y="1240569"/>
                      <a:pt x="906722" y="1254856"/>
                      <a:pt x="767022" y="1251152"/>
                    </a:cubicBezTo>
                    <a:cubicBezTo>
                      <a:pt x="627322" y="1247448"/>
                      <a:pt x="282834" y="1239510"/>
                      <a:pt x="166947" y="1181302"/>
                    </a:cubicBezTo>
                    <a:cubicBezTo>
                      <a:pt x="51060" y="1123094"/>
                      <a:pt x="97097" y="1082745"/>
                      <a:pt x="71697" y="901902"/>
                    </a:cubicBezTo>
                    <a:cubicBezTo>
                      <a:pt x="46297" y="721059"/>
                      <a:pt x="-32152" y="237798"/>
                      <a:pt x="14547" y="96246"/>
                    </a:cubicBezTo>
                    <a:cubicBezTo>
                      <a:pt x="61246" y="-45306"/>
                      <a:pt x="233356" y="-4296"/>
                      <a:pt x="351890" y="52590"/>
                    </a:cubicBezTo>
                  </a:path>
                </a:pathLst>
              </a:custGeom>
              <a:noFill/>
              <a:ln w="63500">
                <a:solidFill>
                  <a:schemeClr val="bg1">
                    <a:lumMod val="50000"/>
                  </a:schemeClr>
                </a:solidFill>
              </a:ln>
            </p:spPr>
            <p:txBody>
              <a:bodyPr rtlCol="0" anchor="ctr"/>
              <a:lstStyle/>
              <a:p>
                <a:pPr algn="ctr"/>
                <a:endParaRPr lang="nl-NL"/>
              </a:p>
            </p:txBody>
          </p:sp>
          <p:sp>
            <p:nvSpPr>
              <p:cNvPr id="12" name="Freeform: Shape 11">
                <a:extLst>
                  <a:ext uri="{FF2B5EF4-FFF2-40B4-BE49-F238E27FC236}">
                    <a16:creationId xmlns:a16="http://schemas.microsoft.com/office/drawing/2014/main" id="{1F2CD985-13CF-47DC-879D-5D105B3CE5D5}"/>
                  </a:ext>
                </a:extLst>
              </p:cNvPr>
              <p:cNvSpPr/>
              <p:nvPr/>
            </p:nvSpPr>
            <p:spPr>
              <a:xfrm>
                <a:off x="6894654" y="2918203"/>
                <a:ext cx="217481" cy="729033"/>
              </a:xfrm>
              <a:custGeom>
                <a:avLst/>
                <a:gdLst>
                  <a:gd name="connsiteX0" fmla="*/ 50155 w 128736"/>
                  <a:gd name="connsiteY0" fmla="*/ 738187 h 762256"/>
                  <a:gd name="connsiteX1" fmla="*/ 90636 w 128736"/>
                  <a:gd name="connsiteY1" fmla="*/ 707231 h 762256"/>
                  <a:gd name="connsiteX2" fmla="*/ 31105 w 128736"/>
                  <a:gd name="connsiteY2" fmla="*/ 254794 h 762256"/>
                  <a:gd name="connsiteX3" fmla="*/ 4911 w 128736"/>
                  <a:gd name="connsiteY3" fmla="*/ 52387 h 762256"/>
                  <a:gd name="connsiteX4" fmla="*/ 128736 w 128736"/>
                  <a:gd name="connsiteY4" fmla="*/ 0 h 762256"/>
                  <a:gd name="connsiteX0" fmla="*/ 57109 w 236304"/>
                  <a:gd name="connsiteY0" fmla="*/ 707241 h 731310"/>
                  <a:gd name="connsiteX1" fmla="*/ 97590 w 236304"/>
                  <a:gd name="connsiteY1" fmla="*/ 676285 h 731310"/>
                  <a:gd name="connsiteX2" fmla="*/ 38059 w 236304"/>
                  <a:gd name="connsiteY2" fmla="*/ 223848 h 731310"/>
                  <a:gd name="connsiteX3" fmla="*/ 11865 w 236304"/>
                  <a:gd name="connsiteY3" fmla="*/ 21441 h 731310"/>
                  <a:gd name="connsiteX4" fmla="*/ 236303 w 236304"/>
                  <a:gd name="connsiteY4" fmla="*/ 2592 h 731310"/>
                  <a:gd name="connsiteX0" fmla="*/ 56877 w 236072"/>
                  <a:gd name="connsiteY0" fmla="*/ 707241 h 718450"/>
                  <a:gd name="connsiteX1" fmla="*/ 87776 w 236072"/>
                  <a:gd name="connsiteY1" fmla="*/ 637956 h 718450"/>
                  <a:gd name="connsiteX2" fmla="*/ 37827 w 236072"/>
                  <a:gd name="connsiteY2" fmla="*/ 223848 h 718450"/>
                  <a:gd name="connsiteX3" fmla="*/ 11633 w 236072"/>
                  <a:gd name="connsiteY3" fmla="*/ 21441 h 718450"/>
                  <a:gd name="connsiteX4" fmla="*/ 236071 w 236072"/>
                  <a:gd name="connsiteY4" fmla="*/ 2592 h 718450"/>
                  <a:gd name="connsiteX0" fmla="*/ 56202 w 225814"/>
                  <a:gd name="connsiteY0" fmla="*/ 709953 h 721162"/>
                  <a:gd name="connsiteX1" fmla="*/ 87101 w 225814"/>
                  <a:gd name="connsiteY1" fmla="*/ 640668 h 721162"/>
                  <a:gd name="connsiteX2" fmla="*/ 37152 w 225814"/>
                  <a:gd name="connsiteY2" fmla="*/ 226560 h 721162"/>
                  <a:gd name="connsiteX3" fmla="*/ 10958 w 225814"/>
                  <a:gd name="connsiteY3" fmla="*/ 24153 h 721162"/>
                  <a:gd name="connsiteX4" fmla="*/ 225814 w 225814"/>
                  <a:gd name="connsiteY4" fmla="*/ 513 h 721162"/>
                  <a:gd name="connsiteX0" fmla="*/ 55194 w 210433"/>
                  <a:gd name="connsiteY0" fmla="*/ 714231 h 725440"/>
                  <a:gd name="connsiteX1" fmla="*/ 86093 w 210433"/>
                  <a:gd name="connsiteY1" fmla="*/ 644946 h 725440"/>
                  <a:gd name="connsiteX2" fmla="*/ 36144 w 210433"/>
                  <a:gd name="connsiteY2" fmla="*/ 230838 h 725440"/>
                  <a:gd name="connsiteX3" fmla="*/ 9950 w 210433"/>
                  <a:gd name="connsiteY3" fmla="*/ 28431 h 725440"/>
                  <a:gd name="connsiteX4" fmla="*/ 210433 w 210433"/>
                  <a:gd name="connsiteY4" fmla="*/ 0 h 725440"/>
                  <a:gd name="connsiteX0" fmla="*/ 54526 w 200183"/>
                  <a:gd name="connsiteY0" fmla="*/ 728604 h 739813"/>
                  <a:gd name="connsiteX1" fmla="*/ 85425 w 200183"/>
                  <a:gd name="connsiteY1" fmla="*/ 659319 h 739813"/>
                  <a:gd name="connsiteX2" fmla="*/ 35476 w 200183"/>
                  <a:gd name="connsiteY2" fmla="*/ 245211 h 739813"/>
                  <a:gd name="connsiteX3" fmla="*/ 9282 w 200183"/>
                  <a:gd name="connsiteY3" fmla="*/ 42804 h 739813"/>
                  <a:gd name="connsiteX4" fmla="*/ 200183 w 200183"/>
                  <a:gd name="connsiteY4" fmla="*/ 0 h 739813"/>
                  <a:gd name="connsiteX0" fmla="*/ 55654 w 217482"/>
                  <a:gd name="connsiteY0" fmla="*/ 709590 h 720799"/>
                  <a:gd name="connsiteX1" fmla="*/ 86553 w 217482"/>
                  <a:gd name="connsiteY1" fmla="*/ 640305 h 720799"/>
                  <a:gd name="connsiteX2" fmla="*/ 36604 w 217482"/>
                  <a:gd name="connsiteY2" fmla="*/ 226197 h 720799"/>
                  <a:gd name="connsiteX3" fmla="*/ 10410 w 217482"/>
                  <a:gd name="connsiteY3" fmla="*/ 23790 h 720799"/>
                  <a:gd name="connsiteX4" fmla="*/ 217482 w 217482"/>
                  <a:gd name="connsiteY4" fmla="*/ 749 h 720799"/>
                  <a:gd name="connsiteX0" fmla="*/ 55654 w 217482"/>
                  <a:gd name="connsiteY0" fmla="*/ 717824 h 729033"/>
                  <a:gd name="connsiteX1" fmla="*/ 86553 w 217482"/>
                  <a:gd name="connsiteY1" fmla="*/ 648539 h 729033"/>
                  <a:gd name="connsiteX2" fmla="*/ 36604 w 217482"/>
                  <a:gd name="connsiteY2" fmla="*/ 234431 h 729033"/>
                  <a:gd name="connsiteX3" fmla="*/ 10410 w 217482"/>
                  <a:gd name="connsiteY3" fmla="*/ 32024 h 729033"/>
                  <a:gd name="connsiteX4" fmla="*/ 217482 w 217482"/>
                  <a:gd name="connsiteY4" fmla="*/ 0 h 729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7482" h="729033">
                    <a:moveTo>
                      <a:pt x="55654" y="717824"/>
                    </a:moveTo>
                    <a:cubicBezTo>
                      <a:pt x="77482" y="742628"/>
                      <a:pt x="89728" y="729104"/>
                      <a:pt x="86553" y="648539"/>
                    </a:cubicBezTo>
                    <a:cubicBezTo>
                      <a:pt x="83378" y="567974"/>
                      <a:pt x="49295" y="337184"/>
                      <a:pt x="36604" y="234431"/>
                    </a:cubicBezTo>
                    <a:cubicBezTo>
                      <a:pt x="23914" y="131679"/>
                      <a:pt x="-19736" y="71096"/>
                      <a:pt x="10410" y="32024"/>
                    </a:cubicBezTo>
                    <a:cubicBezTo>
                      <a:pt x="40556" y="-7048"/>
                      <a:pt x="163705" y="4960"/>
                      <a:pt x="217482" y="0"/>
                    </a:cubicBezTo>
                  </a:path>
                </a:pathLst>
              </a:custGeom>
              <a:noFill/>
              <a:ln w="63500">
                <a:solidFill>
                  <a:schemeClr val="bg1">
                    <a:lumMod val="50000"/>
                  </a:schemeClr>
                </a:solidFill>
              </a:ln>
            </p:spPr>
            <p:txBody>
              <a:bodyPr rtlCol="0" anchor="ctr"/>
              <a:lstStyle/>
              <a:p>
                <a:pPr algn="ctr"/>
                <a:endParaRPr lang="nl-NL"/>
              </a:p>
            </p:txBody>
          </p:sp>
          <p:sp>
            <p:nvSpPr>
              <p:cNvPr id="14" name="Freeform: Shape 13">
                <a:extLst>
                  <a:ext uri="{FF2B5EF4-FFF2-40B4-BE49-F238E27FC236}">
                    <a16:creationId xmlns:a16="http://schemas.microsoft.com/office/drawing/2014/main" id="{4A035DFA-EB18-4AEE-A714-714FB33984A1}"/>
                  </a:ext>
                </a:extLst>
              </p:cNvPr>
              <p:cNvSpPr/>
              <p:nvPr/>
            </p:nvSpPr>
            <p:spPr>
              <a:xfrm>
                <a:off x="4616676" y="3582288"/>
                <a:ext cx="2109352" cy="983860"/>
              </a:xfrm>
              <a:custGeom>
                <a:avLst/>
                <a:gdLst>
                  <a:gd name="connsiteX0" fmla="*/ 2328862 w 2328862"/>
                  <a:gd name="connsiteY0" fmla="*/ 66513 h 871376"/>
                  <a:gd name="connsiteX1" fmla="*/ 1909762 w 2328862"/>
                  <a:gd name="connsiteY1" fmla="*/ 18888 h 871376"/>
                  <a:gd name="connsiteX2" fmla="*/ 1724025 w 2328862"/>
                  <a:gd name="connsiteY2" fmla="*/ 14126 h 871376"/>
                  <a:gd name="connsiteX3" fmla="*/ 1443037 w 2328862"/>
                  <a:gd name="connsiteY3" fmla="*/ 199863 h 871376"/>
                  <a:gd name="connsiteX4" fmla="*/ 1081087 w 2328862"/>
                  <a:gd name="connsiteY4" fmla="*/ 723738 h 871376"/>
                  <a:gd name="connsiteX5" fmla="*/ 0 w 2328862"/>
                  <a:gd name="connsiteY5" fmla="*/ 871376 h 871376"/>
                  <a:gd name="connsiteX0" fmla="*/ 2259194 w 2259194"/>
                  <a:gd name="connsiteY0" fmla="*/ 66513 h 993296"/>
                  <a:gd name="connsiteX1" fmla="*/ 1840094 w 2259194"/>
                  <a:gd name="connsiteY1" fmla="*/ 18888 h 993296"/>
                  <a:gd name="connsiteX2" fmla="*/ 1654357 w 2259194"/>
                  <a:gd name="connsiteY2" fmla="*/ 14126 h 993296"/>
                  <a:gd name="connsiteX3" fmla="*/ 1373369 w 2259194"/>
                  <a:gd name="connsiteY3" fmla="*/ 199863 h 993296"/>
                  <a:gd name="connsiteX4" fmla="*/ 1011419 w 2259194"/>
                  <a:gd name="connsiteY4" fmla="*/ 723738 h 993296"/>
                  <a:gd name="connsiteX5" fmla="*/ 0 w 2259194"/>
                  <a:gd name="connsiteY5" fmla="*/ 993296 h 993296"/>
                  <a:gd name="connsiteX0" fmla="*/ 2259194 w 2259194"/>
                  <a:gd name="connsiteY0" fmla="*/ 66513 h 993296"/>
                  <a:gd name="connsiteX1" fmla="*/ 1840094 w 2259194"/>
                  <a:gd name="connsiteY1" fmla="*/ 18888 h 993296"/>
                  <a:gd name="connsiteX2" fmla="*/ 1654357 w 2259194"/>
                  <a:gd name="connsiteY2" fmla="*/ 14126 h 993296"/>
                  <a:gd name="connsiteX3" fmla="*/ 1373369 w 2259194"/>
                  <a:gd name="connsiteY3" fmla="*/ 199863 h 993296"/>
                  <a:gd name="connsiteX4" fmla="*/ 1011419 w 2259194"/>
                  <a:gd name="connsiteY4" fmla="*/ 723738 h 993296"/>
                  <a:gd name="connsiteX5" fmla="*/ 0 w 2259194"/>
                  <a:gd name="connsiteY5" fmla="*/ 993296 h 993296"/>
                  <a:gd name="connsiteX0" fmla="*/ 2111149 w 2111149"/>
                  <a:gd name="connsiteY0" fmla="*/ 66513 h 984587"/>
                  <a:gd name="connsiteX1" fmla="*/ 1692049 w 2111149"/>
                  <a:gd name="connsiteY1" fmla="*/ 18888 h 984587"/>
                  <a:gd name="connsiteX2" fmla="*/ 1506312 w 2111149"/>
                  <a:gd name="connsiteY2" fmla="*/ 14126 h 984587"/>
                  <a:gd name="connsiteX3" fmla="*/ 1225324 w 2111149"/>
                  <a:gd name="connsiteY3" fmla="*/ 199863 h 984587"/>
                  <a:gd name="connsiteX4" fmla="*/ 863374 w 2111149"/>
                  <a:gd name="connsiteY4" fmla="*/ 723738 h 984587"/>
                  <a:gd name="connsiteX5" fmla="*/ 0 w 2111149"/>
                  <a:gd name="connsiteY5" fmla="*/ 984587 h 984587"/>
                  <a:gd name="connsiteX0" fmla="*/ 2111149 w 2111149"/>
                  <a:gd name="connsiteY0" fmla="*/ 66513 h 984587"/>
                  <a:gd name="connsiteX1" fmla="*/ 1692049 w 2111149"/>
                  <a:gd name="connsiteY1" fmla="*/ 18888 h 984587"/>
                  <a:gd name="connsiteX2" fmla="*/ 1506312 w 2111149"/>
                  <a:gd name="connsiteY2" fmla="*/ 14126 h 984587"/>
                  <a:gd name="connsiteX3" fmla="*/ 1225324 w 2111149"/>
                  <a:gd name="connsiteY3" fmla="*/ 199863 h 984587"/>
                  <a:gd name="connsiteX4" fmla="*/ 863374 w 2111149"/>
                  <a:gd name="connsiteY4" fmla="*/ 723738 h 984587"/>
                  <a:gd name="connsiteX5" fmla="*/ 0 w 2111149"/>
                  <a:gd name="connsiteY5" fmla="*/ 984587 h 984587"/>
                  <a:gd name="connsiteX0" fmla="*/ 2111149 w 2111149"/>
                  <a:gd name="connsiteY0" fmla="*/ 65529 h 983603"/>
                  <a:gd name="connsiteX1" fmla="*/ 1878429 w 2111149"/>
                  <a:gd name="connsiteY1" fmla="*/ 39039 h 983603"/>
                  <a:gd name="connsiteX2" fmla="*/ 1692049 w 2111149"/>
                  <a:gd name="connsiteY2" fmla="*/ 17904 h 983603"/>
                  <a:gd name="connsiteX3" fmla="*/ 1506312 w 2111149"/>
                  <a:gd name="connsiteY3" fmla="*/ 13142 h 983603"/>
                  <a:gd name="connsiteX4" fmla="*/ 1225324 w 2111149"/>
                  <a:gd name="connsiteY4" fmla="*/ 198879 h 983603"/>
                  <a:gd name="connsiteX5" fmla="*/ 863374 w 2111149"/>
                  <a:gd name="connsiteY5" fmla="*/ 722754 h 983603"/>
                  <a:gd name="connsiteX6" fmla="*/ 0 w 2111149"/>
                  <a:gd name="connsiteY6" fmla="*/ 983603 h 983603"/>
                  <a:gd name="connsiteX0" fmla="*/ 2111149 w 2111149"/>
                  <a:gd name="connsiteY0" fmla="*/ 65916 h 983990"/>
                  <a:gd name="connsiteX1" fmla="*/ 1878429 w 2111149"/>
                  <a:gd name="connsiteY1" fmla="*/ 50205 h 983990"/>
                  <a:gd name="connsiteX2" fmla="*/ 1692049 w 2111149"/>
                  <a:gd name="connsiteY2" fmla="*/ 18291 h 983990"/>
                  <a:gd name="connsiteX3" fmla="*/ 1506312 w 2111149"/>
                  <a:gd name="connsiteY3" fmla="*/ 13529 h 983990"/>
                  <a:gd name="connsiteX4" fmla="*/ 1225324 w 2111149"/>
                  <a:gd name="connsiteY4" fmla="*/ 199266 h 983990"/>
                  <a:gd name="connsiteX5" fmla="*/ 863374 w 2111149"/>
                  <a:gd name="connsiteY5" fmla="*/ 723141 h 983990"/>
                  <a:gd name="connsiteX6" fmla="*/ 0 w 2111149"/>
                  <a:gd name="connsiteY6" fmla="*/ 983990 h 983990"/>
                  <a:gd name="connsiteX0" fmla="*/ 2111149 w 2111149"/>
                  <a:gd name="connsiteY0" fmla="*/ 65721 h 983795"/>
                  <a:gd name="connsiteX1" fmla="*/ 1878429 w 2111149"/>
                  <a:gd name="connsiteY1" fmla="*/ 44620 h 983795"/>
                  <a:gd name="connsiteX2" fmla="*/ 1692049 w 2111149"/>
                  <a:gd name="connsiteY2" fmla="*/ 18096 h 983795"/>
                  <a:gd name="connsiteX3" fmla="*/ 1506312 w 2111149"/>
                  <a:gd name="connsiteY3" fmla="*/ 13334 h 983795"/>
                  <a:gd name="connsiteX4" fmla="*/ 1225324 w 2111149"/>
                  <a:gd name="connsiteY4" fmla="*/ 199071 h 983795"/>
                  <a:gd name="connsiteX5" fmla="*/ 863374 w 2111149"/>
                  <a:gd name="connsiteY5" fmla="*/ 722946 h 983795"/>
                  <a:gd name="connsiteX6" fmla="*/ 0 w 2111149"/>
                  <a:gd name="connsiteY6" fmla="*/ 983795 h 983795"/>
                  <a:gd name="connsiteX0" fmla="*/ 2111149 w 2111149"/>
                  <a:gd name="connsiteY0" fmla="*/ 65850 h 983924"/>
                  <a:gd name="connsiteX1" fmla="*/ 1878429 w 2111149"/>
                  <a:gd name="connsiteY1" fmla="*/ 48343 h 983924"/>
                  <a:gd name="connsiteX2" fmla="*/ 1692049 w 2111149"/>
                  <a:gd name="connsiteY2" fmla="*/ 18225 h 983924"/>
                  <a:gd name="connsiteX3" fmla="*/ 1506312 w 2111149"/>
                  <a:gd name="connsiteY3" fmla="*/ 13463 h 983924"/>
                  <a:gd name="connsiteX4" fmla="*/ 1225324 w 2111149"/>
                  <a:gd name="connsiteY4" fmla="*/ 199200 h 983924"/>
                  <a:gd name="connsiteX5" fmla="*/ 863374 w 2111149"/>
                  <a:gd name="connsiteY5" fmla="*/ 723075 h 983924"/>
                  <a:gd name="connsiteX6" fmla="*/ 0 w 2111149"/>
                  <a:gd name="connsiteY6" fmla="*/ 983924 h 983924"/>
                  <a:gd name="connsiteX0" fmla="*/ 2109352 w 2109352"/>
                  <a:gd name="connsiteY0" fmla="*/ 62256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5850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4053 h 983924"/>
                  <a:gd name="connsiteX1" fmla="*/ 1878429 w 2109352"/>
                  <a:gd name="connsiteY1" fmla="*/ 48343 h 983924"/>
                  <a:gd name="connsiteX2" fmla="*/ 1692049 w 2109352"/>
                  <a:gd name="connsiteY2" fmla="*/ 18225 h 983924"/>
                  <a:gd name="connsiteX3" fmla="*/ 1506312 w 2109352"/>
                  <a:gd name="connsiteY3" fmla="*/ 13463 h 983924"/>
                  <a:gd name="connsiteX4" fmla="*/ 1225324 w 2109352"/>
                  <a:gd name="connsiteY4" fmla="*/ 199200 h 983924"/>
                  <a:gd name="connsiteX5" fmla="*/ 863374 w 2109352"/>
                  <a:gd name="connsiteY5" fmla="*/ 723075 h 983924"/>
                  <a:gd name="connsiteX6" fmla="*/ 0 w 2109352"/>
                  <a:gd name="connsiteY6" fmla="*/ 983924 h 983924"/>
                  <a:gd name="connsiteX0" fmla="*/ 2109352 w 2109352"/>
                  <a:gd name="connsiteY0" fmla="*/ 63859 h 983730"/>
                  <a:gd name="connsiteX1" fmla="*/ 1878429 w 2109352"/>
                  <a:gd name="connsiteY1" fmla="*/ 42760 h 983730"/>
                  <a:gd name="connsiteX2" fmla="*/ 1692049 w 2109352"/>
                  <a:gd name="connsiteY2" fmla="*/ 18031 h 983730"/>
                  <a:gd name="connsiteX3" fmla="*/ 1506312 w 2109352"/>
                  <a:gd name="connsiteY3" fmla="*/ 13269 h 983730"/>
                  <a:gd name="connsiteX4" fmla="*/ 1225324 w 2109352"/>
                  <a:gd name="connsiteY4" fmla="*/ 199006 h 983730"/>
                  <a:gd name="connsiteX5" fmla="*/ 863374 w 2109352"/>
                  <a:gd name="connsiteY5" fmla="*/ 722881 h 983730"/>
                  <a:gd name="connsiteX6" fmla="*/ 0 w 2109352"/>
                  <a:gd name="connsiteY6" fmla="*/ 983730 h 983730"/>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 name="connsiteX0" fmla="*/ 2109352 w 2109352"/>
                  <a:gd name="connsiteY0" fmla="*/ 63988 h 983859"/>
                  <a:gd name="connsiteX1" fmla="*/ 1878429 w 2109352"/>
                  <a:gd name="connsiteY1" fmla="*/ 46482 h 983859"/>
                  <a:gd name="connsiteX2" fmla="*/ 1692049 w 2109352"/>
                  <a:gd name="connsiteY2" fmla="*/ 18160 h 983859"/>
                  <a:gd name="connsiteX3" fmla="*/ 1506312 w 2109352"/>
                  <a:gd name="connsiteY3" fmla="*/ 13398 h 983859"/>
                  <a:gd name="connsiteX4" fmla="*/ 1225324 w 2109352"/>
                  <a:gd name="connsiteY4" fmla="*/ 199135 h 983859"/>
                  <a:gd name="connsiteX5" fmla="*/ 863374 w 2109352"/>
                  <a:gd name="connsiteY5" fmla="*/ 723010 h 983859"/>
                  <a:gd name="connsiteX6" fmla="*/ 0 w 2109352"/>
                  <a:gd name="connsiteY6" fmla="*/ 983859 h 983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09352" h="983859">
                    <a:moveTo>
                      <a:pt x="2109352" y="63988"/>
                    </a:moveTo>
                    <a:cubicBezTo>
                      <a:pt x="2032378" y="58153"/>
                      <a:pt x="1955403" y="55911"/>
                      <a:pt x="1878429" y="46482"/>
                    </a:cubicBezTo>
                    <a:cubicBezTo>
                      <a:pt x="1816302" y="41233"/>
                      <a:pt x="1754069" y="23674"/>
                      <a:pt x="1692049" y="18160"/>
                    </a:cubicBezTo>
                    <a:cubicBezTo>
                      <a:pt x="1630029" y="12646"/>
                      <a:pt x="1584099" y="-16765"/>
                      <a:pt x="1506312" y="13398"/>
                    </a:cubicBezTo>
                    <a:cubicBezTo>
                      <a:pt x="1428524" y="43560"/>
                      <a:pt x="1332480" y="80866"/>
                      <a:pt x="1225324" y="199135"/>
                    </a:cubicBezTo>
                    <a:cubicBezTo>
                      <a:pt x="1118168" y="317404"/>
                      <a:pt x="1067594" y="592223"/>
                      <a:pt x="863374" y="723010"/>
                    </a:cubicBezTo>
                    <a:cubicBezTo>
                      <a:pt x="659154" y="853797"/>
                      <a:pt x="263535" y="965999"/>
                      <a:pt x="0" y="983859"/>
                    </a:cubicBezTo>
                  </a:path>
                </a:pathLst>
              </a:custGeom>
              <a:noFill/>
              <a:ln w="63500">
                <a:solidFill>
                  <a:schemeClr val="accent2"/>
                </a:solidFill>
                <a:prstDash val="sysDot"/>
              </a:ln>
            </p:spPr>
            <p:txBody>
              <a:bodyPr rtlCol="0" anchor="ctr"/>
              <a:lstStyle/>
              <a:p>
                <a:pPr algn="ctr"/>
                <a:endParaRPr lang="nl-NL"/>
              </a:p>
            </p:txBody>
          </p:sp>
          <p:sp>
            <p:nvSpPr>
              <p:cNvPr id="15" name="Freeform: Shape 14">
                <a:extLst>
                  <a:ext uri="{FF2B5EF4-FFF2-40B4-BE49-F238E27FC236}">
                    <a16:creationId xmlns:a16="http://schemas.microsoft.com/office/drawing/2014/main" id="{F0FEA742-1341-44C8-B89A-B401D819F1B4}"/>
                  </a:ext>
                </a:extLst>
              </p:cNvPr>
              <p:cNvSpPr/>
              <p:nvPr/>
            </p:nvSpPr>
            <p:spPr>
              <a:xfrm>
                <a:off x="7108826" y="2384425"/>
                <a:ext cx="615950" cy="536575"/>
              </a:xfrm>
              <a:custGeom>
                <a:avLst/>
                <a:gdLst>
                  <a:gd name="connsiteX0" fmla="*/ 0 w 615950"/>
                  <a:gd name="connsiteY0" fmla="*/ 536575 h 536575"/>
                  <a:gd name="connsiteX1" fmla="*/ 457200 w 615950"/>
                  <a:gd name="connsiteY1" fmla="*/ 273050 h 536575"/>
                  <a:gd name="connsiteX2" fmla="*/ 615950 w 615950"/>
                  <a:gd name="connsiteY2" fmla="*/ 0 h 536575"/>
                </a:gdLst>
                <a:ahLst/>
                <a:cxnLst>
                  <a:cxn ang="0">
                    <a:pos x="connsiteX0" y="connsiteY0"/>
                  </a:cxn>
                  <a:cxn ang="0">
                    <a:pos x="connsiteX1" y="connsiteY1"/>
                  </a:cxn>
                  <a:cxn ang="0">
                    <a:pos x="connsiteX2" y="connsiteY2"/>
                  </a:cxn>
                </a:cxnLst>
                <a:rect l="l" t="t" r="r" b="b"/>
                <a:pathLst>
                  <a:path w="615950" h="536575">
                    <a:moveTo>
                      <a:pt x="0" y="536575"/>
                    </a:moveTo>
                    <a:cubicBezTo>
                      <a:pt x="177271" y="449527"/>
                      <a:pt x="354542" y="362479"/>
                      <a:pt x="457200" y="273050"/>
                    </a:cubicBezTo>
                    <a:cubicBezTo>
                      <a:pt x="559858" y="183621"/>
                      <a:pt x="587904" y="91810"/>
                      <a:pt x="615950" y="0"/>
                    </a:cubicBezTo>
                  </a:path>
                </a:pathLst>
              </a:custGeom>
              <a:noFill/>
              <a:ln w="63500">
                <a:solidFill>
                  <a:schemeClr val="bg1">
                    <a:lumMod val="50000"/>
                  </a:schemeClr>
                </a:solidFill>
              </a:ln>
            </p:spPr>
            <p:txBody>
              <a:bodyPr rtlCol="0" anchor="ctr"/>
              <a:lstStyle/>
              <a:p>
                <a:pPr algn="ctr"/>
                <a:endParaRPr lang="nl-NL" dirty="0"/>
              </a:p>
            </p:txBody>
          </p:sp>
        </p:grpSp>
        <p:grpSp>
          <p:nvGrpSpPr>
            <p:cNvPr id="6" name="Group 5">
              <a:extLst>
                <a:ext uri="{FF2B5EF4-FFF2-40B4-BE49-F238E27FC236}">
                  <a16:creationId xmlns:a16="http://schemas.microsoft.com/office/drawing/2014/main" id="{9F0A47F3-A047-4492-9242-9947A3E85F50}"/>
                </a:ext>
              </a:extLst>
            </p:cNvPr>
            <p:cNvGrpSpPr/>
            <p:nvPr/>
          </p:nvGrpSpPr>
          <p:grpSpPr>
            <a:xfrm>
              <a:off x="-618352" y="1634668"/>
              <a:ext cx="5459490" cy="4674055"/>
              <a:chOff x="-319524" y="1450832"/>
              <a:chExt cx="7206415" cy="6169657"/>
            </a:xfrm>
          </p:grpSpPr>
          <p:sp>
            <p:nvSpPr>
              <p:cNvPr id="138" name="Oval 137">
                <a:extLst>
                  <a:ext uri="{FF2B5EF4-FFF2-40B4-BE49-F238E27FC236}">
                    <a16:creationId xmlns:a16="http://schemas.microsoft.com/office/drawing/2014/main" id="{6736F937-8DCD-455C-BB63-D4D6FEDB815E}"/>
                  </a:ext>
                </a:extLst>
              </p:cNvPr>
              <p:cNvSpPr/>
              <p:nvPr/>
            </p:nvSpPr>
            <p:spPr>
              <a:xfrm>
                <a:off x="2337824" y="5326552"/>
                <a:ext cx="180000" cy="180000"/>
              </a:xfrm>
              <a:prstGeom prst="ellipse">
                <a:avLst/>
              </a:prstGeom>
              <a:solidFill>
                <a:schemeClr val="accent2"/>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39" name="Oval 138">
                <a:extLst>
                  <a:ext uri="{FF2B5EF4-FFF2-40B4-BE49-F238E27FC236}">
                    <a16:creationId xmlns:a16="http://schemas.microsoft.com/office/drawing/2014/main" id="{696E9301-4F92-49AF-B916-38207D5B1CE4}"/>
                  </a:ext>
                </a:extLst>
              </p:cNvPr>
              <p:cNvSpPr/>
              <p:nvPr/>
            </p:nvSpPr>
            <p:spPr>
              <a:xfrm>
                <a:off x="3534359" y="4890635"/>
                <a:ext cx="180000" cy="180000"/>
              </a:xfrm>
              <a:prstGeom prst="ellipse">
                <a:avLst/>
              </a:prstGeom>
              <a:solidFill>
                <a:schemeClr val="accent2"/>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79" name="Rectangle 178">
                <a:extLst>
                  <a:ext uri="{FF2B5EF4-FFF2-40B4-BE49-F238E27FC236}">
                    <a16:creationId xmlns:a16="http://schemas.microsoft.com/office/drawing/2014/main" id="{1CD23DF6-88E4-4E96-B928-2D9ED72643F6}"/>
                  </a:ext>
                </a:extLst>
              </p:cNvPr>
              <p:cNvSpPr/>
              <p:nvPr/>
            </p:nvSpPr>
            <p:spPr>
              <a:xfrm>
                <a:off x="4423505" y="5820599"/>
                <a:ext cx="1702999" cy="615827"/>
              </a:xfrm>
              <a:prstGeom prst="rect">
                <a:avLst/>
              </a:prstGeom>
              <a:noFill/>
            </p:spPr>
            <p:txBody>
              <a:bodyPr lIns="72000" tIns="180000" rIns="72000" rtlCol="0" anchor="t" anchorCtr="0">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pSp>
            <p:nvGrpSpPr>
              <p:cNvPr id="5" name="Group 4">
                <a:extLst>
                  <a:ext uri="{FF2B5EF4-FFF2-40B4-BE49-F238E27FC236}">
                    <a16:creationId xmlns:a16="http://schemas.microsoft.com/office/drawing/2014/main" id="{0B5FF798-5D5A-4FDB-B1C3-557B992321E7}"/>
                  </a:ext>
                </a:extLst>
              </p:cNvPr>
              <p:cNvGrpSpPr/>
              <p:nvPr/>
            </p:nvGrpSpPr>
            <p:grpSpPr>
              <a:xfrm>
                <a:off x="3556416" y="6028257"/>
                <a:ext cx="3330475" cy="710704"/>
                <a:chOff x="4644516" y="6133032"/>
                <a:chExt cx="3330475" cy="710704"/>
              </a:xfrm>
            </p:grpSpPr>
            <p:cxnSp>
              <p:nvCxnSpPr>
                <p:cNvPr id="181" name="Straight Connector 180">
                  <a:extLst>
                    <a:ext uri="{FF2B5EF4-FFF2-40B4-BE49-F238E27FC236}">
                      <a16:creationId xmlns:a16="http://schemas.microsoft.com/office/drawing/2014/main" id="{73803A4F-2125-44BD-B177-919D42D04F4D}"/>
                    </a:ext>
                  </a:extLst>
                </p:cNvPr>
                <p:cNvCxnSpPr>
                  <a:cxnSpLocks/>
                </p:cNvCxnSpPr>
                <p:nvPr/>
              </p:nvCxnSpPr>
              <p:spPr>
                <a:xfrm flipV="1">
                  <a:off x="6345502" y="6277506"/>
                  <a:ext cx="292673" cy="2"/>
                </a:xfrm>
                <a:prstGeom prst="line">
                  <a:avLst/>
                </a:prstGeom>
                <a:noFill/>
                <a:ln w="63500">
                  <a:solidFill>
                    <a:schemeClr val="accent2"/>
                  </a:solidFill>
                  <a:prstDash val="sysDot"/>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782CE9A0-983F-4F21-8AC7-8329871218FC}"/>
                    </a:ext>
                  </a:extLst>
                </p:cNvPr>
                <p:cNvCxnSpPr>
                  <a:cxnSpLocks/>
                </p:cNvCxnSpPr>
                <p:nvPr/>
              </p:nvCxnSpPr>
              <p:spPr>
                <a:xfrm>
                  <a:off x="4644516" y="6276828"/>
                  <a:ext cx="292130" cy="0"/>
                </a:xfrm>
                <a:prstGeom prst="line">
                  <a:avLst/>
                </a:prstGeom>
                <a:noFill/>
                <a:ln w="635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87" name="TextBox 186">
                  <a:extLst>
                    <a:ext uri="{FF2B5EF4-FFF2-40B4-BE49-F238E27FC236}">
                      <a16:creationId xmlns:a16="http://schemas.microsoft.com/office/drawing/2014/main" id="{5D57E69F-486D-43F3-92B2-9AE9E1017295}"/>
                    </a:ext>
                  </a:extLst>
                </p:cNvPr>
                <p:cNvSpPr txBox="1"/>
                <p:nvPr/>
              </p:nvSpPr>
              <p:spPr>
                <a:xfrm>
                  <a:off x="4906667" y="6133032"/>
                  <a:ext cx="1368426" cy="710414"/>
                </a:xfrm>
                <a:prstGeom prst="rect">
                  <a:avLst/>
                </a:prstGeom>
                <a:noFill/>
              </p:spPr>
              <p:txBody>
                <a:bodyPr vert="horz" wrap="square" lIns="91440" tIns="45720" rIns="0" bIns="45720" rtlCol="0">
                  <a:noAutofit/>
                </a:bodyPr>
                <a:lstStyle/>
                <a:p>
                  <a:pPr marL="0" indent="0" algn="l">
                    <a:buNone/>
                  </a:pPr>
                  <a:r>
                    <a:rPr lang="nl-NL" sz="1100" noProof="0" dirty="0">
                      <a:latin typeface="+mn-lt"/>
                    </a:rPr>
                    <a:t>Huidige metrolij</a:t>
                  </a:r>
                  <a:r>
                    <a:rPr lang="x-none" sz="1100" noProof="0" dirty="0">
                      <a:latin typeface="+mn-lt"/>
                    </a:rPr>
                    <a:t>n</a:t>
                  </a:r>
                  <a:endParaRPr lang="nl-NL" sz="1100" noProof="0" dirty="0">
                    <a:latin typeface="+mn-lt"/>
                  </a:endParaRPr>
                </a:p>
              </p:txBody>
            </p:sp>
            <p:sp>
              <p:nvSpPr>
                <p:cNvPr id="143" name="TextBox 142">
                  <a:extLst>
                    <a:ext uri="{FF2B5EF4-FFF2-40B4-BE49-F238E27FC236}">
                      <a16:creationId xmlns:a16="http://schemas.microsoft.com/office/drawing/2014/main" id="{27791879-0272-4DE6-BE1F-1D5AADC63E5C}"/>
                    </a:ext>
                  </a:extLst>
                </p:cNvPr>
                <p:cNvSpPr txBox="1"/>
                <p:nvPr/>
              </p:nvSpPr>
              <p:spPr>
                <a:xfrm>
                  <a:off x="6606565" y="6133322"/>
                  <a:ext cx="1368426" cy="710414"/>
                </a:xfrm>
                <a:prstGeom prst="rect">
                  <a:avLst/>
                </a:prstGeom>
                <a:noFill/>
              </p:spPr>
              <p:txBody>
                <a:bodyPr vert="horz" wrap="square" lIns="91440" tIns="45720" rIns="0" bIns="45720" rtlCol="0">
                  <a:noAutofit/>
                </a:bodyPr>
                <a:lstStyle/>
                <a:p>
                  <a:pPr marL="0" indent="0" algn="l">
                    <a:buNone/>
                  </a:pPr>
                  <a:r>
                    <a:rPr lang="x-none" sz="1100" noProof="0" dirty="0">
                      <a:latin typeface="+mn-lt"/>
                    </a:rPr>
                    <a:t>M</a:t>
                  </a:r>
                  <a:r>
                    <a:rPr lang="nl-NL" sz="1100" noProof="0" dirty="0">
                      <a:latin typeface="+mn-lt"/>
                    </a:rPr>
                    <a:t>o</a:t>
                  </a:r>
                  <a:r>
                    <a:rPr lang="x-none" sz="1100" noProof="0" dirty="0">
                      <a:latin typeface="+mn-lt"/>
                    </a:rPr>
                    <a:t>g</a:t>
                  </a:r>
                  <a:r>
                    <a:rPr lang="nl-NL" sz="1100" noProof="0" dirty="0">
                      <a:latin typeface="+mn-lt"/>
                    </a:rPr>
                    <a:t>e</a:t>
                  </a:r>
                  <a:r>
                    <a:rPr lang="x-none" sz="1100" noProof="0" dirty="0">
                      <a:latin typeface="+mn-lt"/>
                    </a:rPr>
                    <a:t>l</a:t>
                  </a:r>
                  <a:r>
                    <a:rPr lang="nl-NL" sz="1100" noProof="0" dirty="0">
                      <a:latin typeface="+mn-lt"/>
                    </a:rPr>
                    <a:t>i</a:t>
                  </a:r>
                  <a:r>
                    <a:rPr lang="x-none" sz="1100" noProof="0" dirty="0">
                      <a:latin typeface="+mn-lt"/>
                    </a:rPr>
                    <a:t>j</a:t>
                  </a:r>
                  <a:r>
                    <a:rPr lang="nl-NL" sz="1100" noProof="0" dirty="0">
                      <a:latin typeface="+mn-lt"/>
                    </a:rPr>
                    <a:t>k</a:t>
                  </a:r>
                  <a:r>
                    <a:rPr lang="x-none" sz="1100" noProof="0" dirty="0">
                      <a:latin typeface="+mn-lt"/>
                    </a:rPr>
                    <a:t>e</a:t>
                  </a:r>
                  <a:r>
                    <a:rPr lang="nl-NL" sz="1100" noProof="0" dirty="0">
                      <a:latin typeface="+mn-lt"/>
                    </a:rPr>
                    <a:t> uitbreiding</a:t>
                  </a:r>
                </a:p>
              </p:txBody>
            </p:sp>
          </p:grpSp>
          <p:sp>
            <p:nvSpPr>
              <p:cNvPr id="61" name="Rectangle 60">
                <a:extLst>
                  <a:ext uri="{FF2B5EF4-FFF2-40B4-BE49-F238E27FC236}">
                    <a16:creationId xmlns:a16="http://schemas.microsoft.com/office/drawing/2014/main" id="{7C92D597-E696-48A8-8167-8A8EBFC49348}"/>
                  </a:ext>
                </a:extLst>
              </p:cNvPr>
              <p:cNvSpPr/>
              <p:nvPr/>
            </p:nvSpPr>
            <p:spPr>
              <a:xfrm>
                <a:off x="-319524" y="1450832"/>
                <a:ext cx="2163203" cy="6169657"/>
              </a:xfrm>
              <a:prstGeom prst="rect">
                <a:avLst/>
              </a:prstGeom>
              <a:solidFill>
                <a:srgbClr val="FFFFFF"/>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18" name="Freeform 14">
                <a:extLst>
                  <a:ext uri="{FF2B5EF4-FFF2-40B4-BE49-F238E27FC236}">
                    <a16:creationId xmlns:a16="http://schemas.microsoft.com/office/drawing/2014/main" id="{7F53B296-67AF-43E9-88BB-BE0BAE84E9BF}"/>
                  </a:ext>
                </a:extLst>
              </p:cNvPr>
              <p:cNvSpPr>
                <a:spLocks/>
              </p:cNvSpPr>
              <p:nvPr/>
            </p:nvSpPr>
            <p:spPr bwMode="auto">
              <a:xfrm>
                <a:off x="3725322" y="4317057"/>
                <a:ext cx="424632" cy="219820"/>
              </a:xfrm>
              <a:custGeom>
                <a:avLst/>
                <a:gdLst>
                  <a:gd name="T0" fmla="*/ 1653 w 2064"/>
                  <a:gd name="T1" fmla="*/ 299 h 874"/>
                  <a:gd name="T2" fmla="*/ 1023 w 2064"/>
                  <a:gd name="T3" fmla="*/ 0 h 874"/>
                  <a:gd name="T4" fmla="*/ 402 w 2064"/>
                  <a:gd name="T5" fmla="*/ 299 h 874"/>
                  <a:gd name="T6" fmla="*/ 0 w 2064"/>
                  <a:gd name="T7" fmla="*/ 874 h 874"/>
                  <a:gd name="T8" fmla="*/ 82 w 2064"/>
                  <a:gd name="T9" fmla="*/ 874 h 874"/>
                  <a:gd name="T10" fmla="*/ 577 w 2064"/>
                  <a:gd name="T11" fmla="*/ 874 h 874"/>
                  <a:gd name="T12" fmla="*/ 577 w 2064"/>
                  <a:gd name="T13" fmla="*/ 862 h 874"/>
                  <a:gd name="T14" fmla="*/ 1023 w 2064"/>
                  <a:gd name="T15" fmla="*/ 417 h 874"/>
                  <a:gd name="T16" fmla="*/ 1469 w 2064"/>
                  <a:gd name="T17" fmla="*/ 862 h 874"/>
                  <a:gd name="T18" fmla="*/ 1468 w 2064"/>
                  <a:gd name="T19" fmla="*/ 874 h 874"/>
                  <a:gd name="T20" fmla="*/ 1981 w 2064"/>
                  <a:gd name="T21" fmla="*/ 874 h 874"/>
                  <a:gd name="T22" fmla="*/ 2064 w 2064"/>
                  <a:gd name="T23" fmla="*/ 874 h 874"/>
                  <a:gd name="T24" fmla="*/ 1653 w 2064"/>
                  <a:gd name="T25" fmla="*/ 29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4" h="874">
                    <a:moveTo>
                      <a:pt x="1653" y="299"/>
                    </a:moveTo>
                    <a:cubicBezTo>
                      <a:pt x="1441" y="106"/>
                      <a:pt x="1217" y="0"/>
                      <a:pt x="1023" y="0"/>
                    </a:cubicBezTo>
                    <a:cubicBezTo>
                      <a:pt x="829" y="0"/>
                      <a:pt x="609" y="106"/>
                      <a:pt x="402" y="299"/>
                    </a:cubicBezTo>
                    <a:cubicBezTo>
                      <a:pt x="222" y="466"/>
                      <a:pt x="73" y="680"/>
                      <a:pt x="0" y="874"/>
                    </a:cubicBezTo>
                    <a:cubicBezTo>
                      <a:pt x="82" y="874"/>
                      <a:pt x="82" y="874"/>
                      <a:pt x="82" y="874"/>
                    </a:cubicBezTo>
                    <a:cubicBezTo>
                      <a:pt x="577" y="874"/>
                      <a:pt x="577" y="874"/>
                      <a:pt x="577" y="874"/>
                    </a:cubicBezTo>
                    <a:cubicBezTo>
                      <a:pt x="577" y="870"/>
                      <a:pt x="577" y="866"/>
                      <a:pt x="577" y="862"/>
                    </a:cubicBezTo>
                    <a:cubicBezTo>
                      <a:pt x="577" y="616"/>
                      <a:pt x="777" y="417"/>
                      <a:pt x="1023" y="417"/>
                    </a:cubicBezTo>
                    <a:cubicBezTo>
                      <a:pt x="1269" y="417"/>
                      <a:pt x="1469" y="616"/>
                      <a:pt x="1469" y="862"/>
                    </a:cubicBezTo>
                    <a:cubicBezTo>
                      <a:pt x="1469" y="866"/>
                      <a:pt x="1468" y="870"/>
                      <a:pt x="1468" y="874"/>
                    </a:cubicBezTo>
                    <a:cubicBezTo>
                      <a:pt x="1981" y="874"/>
                      <a:pt x="1981" y="874"/>
                      <a:pt x="1981" y="874"/>
                    </a:cubicBezTo>
                    <a:cubicBezTo>
                      <a:pt x="2064" y="874"/>
                      <a:pt x="2064" y="874"/>
                      <a:pt x="2064" y="874"/>
                    </a:cubicBezTo>
                    <a:cubicBezTo>
                      <a:pt x="1992" y="682"/>
                      <a:pt x="1838" y="468"/>
                      <a:pt x="1653" y="299"/>
                    </a:cubicBezTo>
                    <a:close/>
                  </a:path>
                </a:pathLst>
              </a:custGeom>
              <a:solidFill>
                <a:srgbClr val="22777B"/>
              </a:solidFill>
              <a:ln>
                <a:noFill/>
              </a:ln>
            </p:spPr>
            <p:txBody>
              <a:bodyPr vert="horz" wrap="square" lIns="84406" tIns="42203" rIns="84406" bIns="42203" numCol="1" anchor="t" anchorCtr="0" compatLnSpc="1">
                <a:prstTxWarp prst="textNoShape">
                  <a:avLst/>
                </a:prstTxWarp>
              </a:bodyPr>
              <a:lstStyle/>
              <a:p>
                <a:pPr defTabSz="1179015"/>
                <a:endParaRPr lang="nl-NL" sz="2400" dirty="0">
                  <a:solidFill>
                    <a:srgbClr val="000000"/>
                  </a:solidFill>
                  <a:sym typeface="+mn-lt"/>
                </a:endParaRPr>
              </a:p>
            </p:txBody>
          </p:sp>
          <p:pic>
            <p:nvPicPr>
              <p:cNvPr id="106" name="Graphic 105" descr="Group">
                <a:extLst>
                  <a:ext uri="{FF2B5EF4-FFF2-40B4-BE49-F238E27FC236}">
                    <a16:creationId xmlns:a16="http://schemas.microsoft.com/office/drawing/2014/main" id="{DB49D911-7CB6-40D6-AEC9-7F84978871D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00101" y="5116241"/>
                <a:ext cx="529841" cy="529841"/>
              </a:xfrm>
              <a:prstGeom prst="rect">
                <a:avLst/>
              </a:prstGeom>
            </p:spPr>
          </p:pic>
          <p:sp>
            <p:nvSpPr>
              <p:cNvPr id="120" name="Oval 119">
                <a:extLst>
                  <a:ext uri="{FF2B5EF4-FFF2-40B4-BE49-F238E27FC236}">
                    <a16:creationId xmlns:a16="http://schemas.microsoft.com/office/drawing/2014/main" id="{9D051568-9921-4A8F-8710-9AE78D1DC192}"/>
                  </a:ext>
                </a:extLst>
              </p:cNvPr>
              <p:cNvSpPr/>
              <p:nvPr/>
            </p:nvSpPr>
            <p:spPr>
              <a:xfrm>
                <a:off x="4076385" y="4125467"/>
                <a:ext cx="180000" cy="180000"/>
              </a:xfrm>
              <a:prstGeom prst="ellipse">
                <a:avLst/>
              </a:prstGeom>
              <a:solidFill>
                <a:schemeClr val="accent2"/>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8" name="Graphic 7" descr="City">
                <a:extLst>
                  <a:ext uri="{FF2B5EF4-FFF2-40B4-BE49-F238E27FC236}">
                    <a16:creationId xmlns:a16="http://schemas.microsoft.com/office/drawing/2014/main" id="{2DA0AECE-F3EF-4BED-8D80-B78CA4311D5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54651" y="2058261"/>
                <a:ext cx="565317" cy="565317"/>
              </a:xfrm>
              <a:prstGeom prst="rect">
                <a:avLst/>
              </a:prstGeom>
            </p:spPr>
          </p:pic>
          <p:pic>
            <p:nvPicPr>
              <p:cNvPr id="111" name="Graphic 110" descr="City">
                <a:extLst>
                  <a:ext uri="{FF2B5EF4-FFF2-40B4-BE49-F238E27FC236}">
                    <a16:creationId xmlns:a16="http://schemas.microsoft.com/office/drawing/2014/main" id="{84F2EFDB-87BD-4B70-9639-A2413F68008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80985" y="3419981"/>
                <a:ext cx="565317" cy="565317"/>
              </a:xfrm>
              <a:prstGeom prst="rect">
                <a:avLst/>
              </a:prstGeom>
            </p:spPr>
          </p:pic>
          <p:pic>
            <p:nvPicPr>
              <p:cNvPr id="112" name="Graphic 111" descr="City">
                <a:extLst>
                  <a:ext uri="{FF2B5EF4-FFF2-40B4-BE49-F238E27FC236}">
                    <a16:creationId xmlns:a16="http://schemas.microsoft.com/office/drawing/2014/main" id="{B1F7A866-E4ED-45E4-9F23-14030BE7FA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49638" y="4813409"/>
                <a:ext cx="565317" cy="565317"/>
              </a:xfrm>
              <a:prstGeom prst="rect">
                <a:avLst/>
              </a:prstGeom>
            </p:spPr>
          </p:pic>
          <p:pic>
            <p:nvPicPr>
              <p:cNvPr id="113" name="Graphic 112" descr="City">
                <a:extLst>
                  <a:ext uri="{FF2B5EF4-FFF2-40B4-BE49-F238E27FC236}">
                    <a16:creationId xmlns:a16="http://schemas.microsoft.com/office/drawing/2014/main" id="{15D45798-0823-4B92-A521-F7355CD296D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82973" y="4305845"/>
                <a:ext cx="565317" cy="565317"/>
              </a:xfrm>
              <a:prstGeom prst="rect">
                <a:avLst/>
              </a:prstGeom>
            </p:spPr>
          </p:pic>
          <p:pic>
            <p:nvPicPr>
              <p:cNvPr id="119" name="Graphic 118" descr="Connections">
                <a:extLst>
                  <a:ext uri="{FF2B5EF4-FFF2-40B4-BE49-F238E27FC236}">
                    <a16:creationId xmlns:a16="http://schemas.microsoft.com/office/drawing/2014/main" id="{23D35509-43F9-44F7-B8A0-E57468929F7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097366" y="4589020"/>
                <a:ext cx="430595" cy="430595"/>
              </a:xfrm>
              <a:prstGeom prst="rect">
                <a:avLst/>
              </a:prstGeom>
            </p:spPr>
          </p:pic>
        </p:grpSp>
      </p:grpSp>
      <p:sp>
        <p:nvSpPr>
          <p:cNvPr id="64" name="RBContent28">
            <a:extLst>
              <a:ext uri="{FF2B5EF4-FFF2-40B4-BE49-F238E27FC236}">
                <a16:creationId xmlns:a16="http://schemas.microsoft.com/office/drawing/2014/main" id="{F0EECF20-479E-4FA2-A09C-211BF6E2C869}"/>
              </a:ext>
            </a:extLst>
          </p:cNvPr>
          <p:cNvSpPr txBox="1">
            <a:spLocks/>
          </p:cNvSpPr>
          <p:nvPr/>
        </p:nvSpPr>
        <p:spPr>
          <a:xfrm>
            <a:off x="1343088" y="1942968"/>
            <a:ext cx="1652193" cy="692497"/>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a:solidFill>
                  <a:srgbClr val="000000"/>
                </a:solidFill>
                <a:latin typeface="+mn-lt"/>
              </a:rPr>
              <a:t>Realiseert meer capaciteit om  </a:t>
            </a:r>
            <a:r>
              <a:rPr lang="nl-NL" sz="1000" b="1" dirty="0">
                <a:solidFill>
                  <a:srgbClr val="000000"/>
                </a:solidFill>
                <a:latin typeface="+mn-lt"/>
              </a:rPr>
              <a:t>transferveiligheid op Station Schiphol </a:t>
            </a:r>
            <a:r>
              <a:rPr lang="nl-NL" sz="1000" dirty="0">
                <a:solidFill>
                  <a:srgbClr val="000000"/>
                </a:solidFill>
                <a:latin typeface="+mn-lt"/>
              </a:rPr>
              <a:t>te garanderen en toekomstige groei op te vangen</a:t>
            </a:r>
          </a:p>
        </p:txBody>
      </p:sp>
      <p:sp>
        <p:nvSpPr>
          <p:cNvPr id="75" name="RBContent28">
            <a:extLst>
              <a:ext uri="{FF2B5EF4-FFF2-40B4-BE49-F238E27FC236}">
                <a16:creationId xmlns:a16="http://schemas.microsoft.com/office/drawing/2014/main" id="{CF91F446-68C5-44D2-BDFC-E2CBC86B72BC}"/>
              </a:ext>
            </a:extLst>
          </p:cNvPr>
          <p:cNvSpPr txBox="1">
            <a:spLocks/>
          </p:cNvSpPr>
          <p:nvPr/>
        </p:nvSpPr>
        <p:spPr>
          <a:xfrm>
            <a:off x="1343087" y="4924365"/>
            <a:ext cx="1652195" cy="415498"/>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a:solidFill>
                  <a:srgbClr val="000000"/>
                </a:solidFill>
                <a:latin typeface="+mn-lt"/>
              </a:rPr>
              <a:t>Verhoogt </a:t>
            </a:r>
            <a:r>
              <a:rPr lang="nl-NL" sz="1000" b="1" dirty="0">
                <a:solidFill>
                  <a:srgbClr val="000000"/>
                </a:solidFill>
                <a:latin typeface="+mn-lt"/>
              </a:rPr>
              <a:t>totale OV-capaciteit in de regio na 2030 (schaalsprong) en autoluw</a:t>
            </a:r>
          </a:p>
        </p:txBody>
      </p:sp>
      <p:sp>
        <p:nvSpPr>
          <p:cNvPr id="77" name="Rectangle 62">
            <a:extLst>
              <a:ext uri="{FF2B5EF4-FFF2-40B4-BE49-F238E27FC236}">
                <a16:creationId xmlns:a16="http://schemas.microsoft.com/office/drawing/2014/main" id="{986E7236-D666-47D9-A9D9-C643D8E4DDB2}"/>
              </a:ext>
            </a:extLst>
          </p:cNvPr>
          <p:cNvSpPr/>
          <p:nvPr/>
        </p:nvSpPr>
        <p:spPr>
          <a:xfrm>
            <a:off x="716824" y="4634977"/>
            <a:ext cx="385355" cy="3365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6462" tIns="66462" rIns="66462" bIns="66462" numCol="1" spcCol="0" rtlCol="0" fromWordArt="0" anchor="t" anchorCtr="0" forceAA="0" compatLnSpc="1">
            <a:prstTxWarp prst="textNoShape">
              <a:avLst/>
            </a:prstTxWarp>
            <a:noAutofit/>
          </a:bodyPr>
          <a:lstStyle/>
          <a:p>
            <a:pPr algn="ctr" defTabSz="1179015"/>
            <a:endParaRPr lang="nl-NL" sz="1200" dirty="0" err="1">
              <a:solidFill>
                <a:srgbClr val="000000"/>
              </a:solidFill>
            </a:endParaRPr>
          </a:p>
        </p:txBody>
      </p:sp>
      <p:sp>
        <p:nvSpPr>
          <p:cNvPr id="80" name="RBContent28">
            <a:extLst>
              <a:ext uri="{FF2B5EF4-FFF2-40B4-BE49-F238E27FC236}">
                <a16:creationId xmlns:a16="http://schemas.microsoft.com/office/drawing/2014/main" id="{A99DE857-5D5F-4D2E-BCEE-75FA42AA29E7}"/>
              </a:ext>
            </a:extLst>
          </p:cNvPr>
          <p:cNvSpPr txBox="1">
            <a:spLocks/>
          </p:cNvSpPr>
          <p:nvPr/>
        </p:nvSpPr>
        <p:spPr>
          <a:xfrm>
            <a:off x="1343087" y="3433665"/>
            <a:ext cx="1652194" cy="553998"/>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a:solidFill>
                  <a:srgbClr val="000000"/>
                </a:solidFill>
                <a:latin typeface="+mn-lt"/>
              </a:rPr>
              <a:t>Ontsluit </a:t>
            </a:r>
            <a:r>
              <a:rPr lang="nl-NL" sz="1000" b="1" dirty="0" err="1">
                <a:solidFill>
                  <a:srgbClr val="000000"/>
                </a:solidFill>
                <a:latin typeface="+mn-lt"/>
              </a:rPr>
              <a:t>Haven-Stad</a:t>
            </a:r>
            <a:r>
              <a:rPr lang="nl-NL" sz="1000" dirty="0">
                <a:solidFill>
                  <a:srgbClr val="000000"/>
                </a:solidFill>
                <a:latin typeface="+mn-lt"/>
              </a:rPr>
              <a:t> en andere gebiedsontwikkeling zodat </a:t>
            </a:r>
            <a:r>
              <a:rPr lang="nl-NL" sz="1000" b="1" dirty="0">
                <a:solidFill>
                  <a:srgbClr val="000000"/>
                </a:solidFill>
                <a:latin typeface="+mn-lt"/>
              </a:rPr>
              <a:t>meer woningen </a:t>
            </a:r>
            <a:r>
              <a:rPr lang="nl-NL" sz="1000" dirty="0">
                <a:solidFill>
                  <a:srgbClr val="000000"/>
                </a:solidFill>
                <a:latin typeface="+mn-lt"/>
              </a:rPr>
              <a:t>en kantoren gebouwd kunnen worden</a:t>
            </a:r>
          </a:p>
        </p:txBody>
      </p:sp>
      <p:sp>
        <p:nvSpPr>
          <p:cNvPr id="91" name="RBContent28">
            <a:extLst>
              <a:ext uri="{FF2B5EF4-FFF2-40B4-BE49-F238E27FC236}">
                <a16:creationId xmlns:a16="http://schemas.microsoft.com/office/drawing/2014/main" id="{501D83BE-9678-4673-AA74-B027C7677386}"/>
              </a:ext>
            </a:extLst>
          </p:cNvPr>
          <p:cNvSpPr txBox="1">
            <a:spLocks/>
          </p:cNvSpPr>
          <p:nvPr/>
        </p:nvSpPr>
        <p:spPr>
          <a:xfrm>
            <a:off x="1343087" y="2722940"/>
            <a:ext cx="1652193" cy="553998"/>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a:solidFill>
                  <a:srgbClr val="000000"/>
                </a:solidFill>
                <a:latin typeface="+mn-lt"/>
              </a:rPr>
              <a:t>Lost </a:t>
            </a:r>
            <a:r>
              <a:rPr lang="nl-NL" sz="1000" b="1" dirty="0">
                <a:solidFill>
                  <a:srgbClr val="000000"/>
                </a:solidFill>
                <a:latin typeface="+mn-lt"/>
              </a:rPr>
              <a:t>kwetsbaar punt (Schipholtunnel) in het landelijke treinnetwerk</a:t>
            </a:r>
            <a:r>
              <a:rPr lang="nl-NL" sz="1000" dirty="0">
                <a:solidFill>
                  <a:srgbClr val="000000"/>
                </a:solidFill>
                <a:latin typeface="+mn-lt"/>
              </a:rPr>
              <a:t> op (metro als </a:t>
            </a:r>
            <a:r>
              <a:rPr lang="nl-NL" sz="1000" dirty="0" err="1">
                <a:solidFill>
                  <a:srgbClr val="000000"/>
                </a:solidFill>
                <a:latin typeface="+mn-lt"/>
              </a:rPr>
              <a:t>by-pass</a:t>
            </a:r>
            <a:r>
              <a:rPr lang="nl-NL" sz="1000" dirty="0">
                <a:solidFill>
                  <a:srgbClr val="000000"/>
                </a:solidFill>
                <a:latin typeface="+mn-lt"/>
              </a:rPr>
              <a:t>)</a:t>
            </a:r>
          </a:p>
        </p:txBody>
      </p:sp>
      <p:sp>
        <p:nvSpPr>
          <p:cNvPr id="96" name="Freeform 14">
            <a:extLst>
              <a:ext uri="{FF2B5EF4-FFF2-40B4-BE49-F238E27FC236}">
                <a16:creationId xmlns:a16="http://schemas.microsoft.com/office/drawing/2014/main" id="{E3255C30-555D-4254-A051-F87BFDE0DBCB}"/>
              </a:ext>
            </a:extLst>
          </p:cNvPr>
          <p:cNvSpPr>
            <a:spLocks/>
          </p:cNvSpPr>
          <p:nvPr/>
        </p:nvSpPr>
        <p:spPr bwMode="auto">
          <a:xfrm>
            <a:off x="744333" y="2907213"/>
            <a:ext cx="420993" cy="219820"/>
          </a:xfrm>
          <a:custGeom>
            <a:avLst/>
            <a:gdLst>
              <a:gd name="T0" fmla="*/ 1653 w 2064"/>
              <a:gd name="T1" fmla="*/ 299 h 874"/>
              <a:gd name="T2" fmla="*/ 1023 w 2064"/>
              <a:gd name="T3" fmla="*/ 0 h 874"/>
              <a:gd name="T4" fmla="*/ 402 w 2064"/>
              <a:gd name="T5" fmla="*/ 299 h 874"/>
              <a:gd name="T6" fmla="*/ 0 w 2064"/>
              <a:gd name="T7" fmla="*/ 874 h 874"/>
              <a:gd name="T8" fmla="*/ 82 w 2064"/>
              <a:gd name="T9" fmla="*/ 874 h 874"/>
              <a:gd name="T10" fmla="*/ 577 w 2064"/>
              <a:gd name="T11" fmla="*/ 874 h 874"/>
              <a:gd name="T12" fmla="*/ 577 w 2064"/>
              <a:gd name="T13" fmla="*/ 862 h 874"/>
              <a:gd name="T14" fmla="*/ 1023 w 2064"/>
              <a:gd name="T15" fmla="*/ 417 h 874"/>
              <a:gd name="T16" fmla="*/ 1469 w 2064"/>
              <a:gd name="T17" fmla="*/ 862 h 874"/>
              <a:gd name="T18" fmla="*/ 1468 w 2064"/>
              <a:gd name="T19" fmla="*/ 874 h 874"/>
              <a:gd name="T20" fmla="*/ 1981 w 2064"/>
              <a:gd name="T21" fmla="*/ 874 h 874"/>
              <a:gd name="T22" fmla="*/ 2064 w 2064"/>
              <a:gd name="T23" fmla="*/ 874 h 874"/>
              <a:gd name="T24" fmla="*/ 1653 w 2064"/>
              <a:gd name="T25" fmla="*/ 299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4" h="874">
                <a:moveTo>
                  <a:pt x="1653" y="299"/>
                </a:moveTo>
                <a:cubicBezTo>
                  <a:pt x="1441" y="106"/>
                  <a:pt x="1217" y="0"/>
                  <a:pt x="1023" y="0"/>
                </a:cubicBezTo>
                <a:cubicBezTo>
                  <a:pt x="829" y="0"/>
                  <a:pt x="609" y="106"/>
                  <a:pt x="402" y="299"/>
                </a:cubicBezTo>
                <a:cubicBezTo>
                  <a:pt x="222" y="466"/>
                  <a:pt x="73" y="680"/>
                  <a:pt x="0" y="874"/>
                </a:cubicBezTo>
                <a:cubicBezTo>
                  <a:pt x="82" y="874"/>
                  <a:pt x="82" y="874"/>
                  <a:pt x="82" y="874"/>
                </a:cubicBezTo>
                <a:cubicBezTo>
                  <a:pt x="577" y="874"/>
                  <a:pt x="577" y="874"/>
                  <a:pt x="577" y="874"/>
                </a:cubicBezTo>
                <a:cubicBezTo>
                  <a:pt x="577" y="870"/>
                  <a:pt x="577" y="866"/>
                  <a:pt x="577" y="862"/>
                </a:cubicBezTo>
                <a:cubicBezTo>
                  <a:pt x="577" y="616"/>
                  <a:pt x="777" y="417"/>
                  <a:pt x="1023" y="417"/>
                </a:cubicBezTo>
                <a:cubicBezTo>
                  <a:pt x="1269" y="417"/>
                  <a:pt x="1469" y="616"/>
                  <a:pt x="1469" y="862"/>
                </a:cubicBezTo>
                <a:cubicBezTo>
                  <a:pt x="1469" y="866"/>
                  <a:pt x="1468" y="870"/>
                  <a:pt x="1468" y="874"/>
                </a:cubicBezTo>
                <a:cubicBezTo>
                  <a:pt x="1981" y="874"/>
                  <a:pt x="1981" y="874"/>
                  <a:pt x="1981" y="874"/>
                </a:cubicBezTo>
                <a:cubicBezTo>
                  <a:pt x="2064" y="874"/>
                  <a:pt x="2064" y="874"/>
                  <a:pt x="2064" y="874"/>
                </a:cubicBezTo>
                <a:cubicBezTo>
                  <a:pt x="1992" y="682"/>
                  <a:pt x="1838" y="468"/>
                  <a:pt x="1653" y="299"/>
                </a:cubicBezTo>
                <a:close/>
              </a:path>
            </a:pathLst>
          </a:custGeom>
          <a:solidFill>
            <a:srgbClr val="22777B"/>
          </a:solidFill>
          <a:ln>
            <a:noFill/>
          </a:ln>
        </p:spPr>
        <p:txBody>
          <a:bodyPr vert="horz" wrap="square" lIns="84406" tIns="42203" rIns="84406" bIns="42203" numCol="1" anchor="t" anchorCtr="0" compatLnSpc="1">
            <a:prstTxWarp prst="textNoShape">
              <a:avLst/>
            </a:prstTxWarp>
          </a:bodyPr>
          <a:lstStyle/>
          <a:p>
            <a:pPr defTabSz="1179015"/>
            <a:endParaRPr lang="nl-NL" sz="2400" dirty="0">
              <a:solidFill>
                <a:srgbClr val="000000"/>
              </a:solidFill>
              <a:sym typeface="+mn-lt"/>
            </a:endParaRPr>
          </a:p>
        </p:txBody>
      </p:sp>
      <p:sp>
        <p:nvSpPr>
          <p:cNvPr id="98" name="RBContent28">
            <a:extLst>
              <a:ext uri="{FF2B5EF4-FFF2-40B4-BE49-F238E27FC236}">
                <a16:creationId xmlns:a16="http://schemas.microsoft.com/office/drawing/2014/main" id="{653BF962-C579-424F-A352-F0ACAD945F55}"/>
              </a:ext>
            </a:extLst>
          </p:cNvPr>
          <p:cNvSpPr txBox="1">
            <a:spLocks/>
          </p:cNvSpPr>
          <p:nvPr/>
        </p:nvSpPr>
        <p:spPr>
          <a:xfrm>
            <a:off x="1343087" y="4075140"/>
            <a:ext cx="1555279" cy="692497"/>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a:solidFill>
                  <a:srgbClr val="000000"/>
                </a:solidFill>
                <a:latin typeface="+mn-lt"/>
              </a:rPr>
              <a:t>Realiseert betere bereikbaarheid voor gebiedsontwikkeling</a:t>
            </a:r>
            <a:r>
              <a:rPr lang="nl-NL" sz="1000" b="1" dirty="0">
                <a:solidFill>
                  <a:srgbClr val="000000"/>
                </a:solidFill>
                <a:latin typeface="+mn-lt"/>
              </a:rPr>
              <a:t> Kerncorridor (Schinkel, Schiphol, Haarlemmermeer)</a:t>
            </a:r>
          </a:p>
        </p:txBody>
      </p:sp>
      <p:sp>
        <p:nvSpPr>
          <p:cNvPr id="99" name="RBContent28">
            <a:extLst>
              <a:ext uri="{FF2B5EF4-FFF2-40B4-BE49-F238E27FC236}">
                <a16:creationId xmlns:a16="http://schemas.microsoft.com/office/drawing/2014/main" id="{AADC2318-4EF2-4A07-A84D-730BFFA23AD0}"/>
              </a:ext>
            </a:extLst>
          </p:cNvPr>
          <p:cNvSpPr txBox="1">
            <a:spLocks/>
          </p:cNvSpPr>
          <p:nvPr/>
        </p:nvSpPr>
        <p:spPr>
          <a:xfrm>
            <a:off x="1343087" y="5565841"/>
            <a:ext cx="1652194" cy="553998"/>
          </a:xfrm>
          <a:prstGeom prst="rect">
            <a:avLst/>
          </a:prstGeom>
          <a:noFill/>
        </p:spPr>
        <p:txBody>
          <a:bodyPr vert="horz" wrap="square" lIns="0" tIns="0" rIns="0" bIns="0" rtlCol="0" anchor="ctr">
            <a:spAutoFit/>
          </a:bodyPr>
          <a:lstStyle/>
          <a:p>
            <a:pPr marL="0" indent="0" defTabSz="1179015">
              <a:lnSpc>
                <a:spcPct val="90000"/>
              </a:lnSpc>
              <a:spcBef>
                <a:spcPts val="1662"/>
              </a:spcBef>
              <a:buClr>
                <a:srgbClr val="000000"/>
              </a:buClr>
              <a:buSzPct val="100000"/>
              <a:buNone/>
            </a:pPr>
            <a:r>
              <a:rPr lang="nl-NL" sz="1000" dirty="0" err="1">
                <a:solidFill>
                  <a:srgbClr val="000000"/>
                </a:solidFill>
                <a:latin typeface="+mn-lt"/>
              </a:rPr>
              <a:t>Modal</a:t>
            </a:r>
            <a:r>
              <a:rPr lang="nl-NL" sz="1000" dirty="0">
                <a:solidFill>
                  <a:srgbClr val="000000"/>
                </a:solidFill>
                <a:latin typeface="+mn-lt"/>
              </a:rPr>
              <a:t> shift: </a:t>
            </a:r>
            <a:r>
              <a:rPr lang="nl-NL" sz="1000" b="1" dirty="0">
                <a:solidFill>
                  <a:srgbClr val="000000"/>
                </a:solidFill>
                <a:latin typeface="+mn-lt"/>
              </a:rPr>
              <a:t>substitutie </a:t>
            </a:r>
            <a:r>
              <a:rPr lang="nl-NL" sz="1000" dirty="0">
                <a:solidFill>
                  <a:srgbClr val="000000"/>
                </a:solidFill>
                <a:latin typeface="+mn-lt"/>
              </a:rPr>
              <a:t>van korte afstandsvluchten binnen Europa naar trein en substitutie van auto naar metro</a:t>
            </a:r>
            <a:endParaRPr lang="nl-NL" sz="1000" b="1" dirty="0">
              <a:solidFill>
                <a:srgbClr val="000000"/>
              </a:solidFill>
              <a:latin typeface="+mn-lt"/>
            </a:endParaRPr>
          </a:p>
        </p:txBody>
      </p:sp>
      <p:grpSp>
        <p:nvGrpSpPr>
          <p:cNvPr id="21" name="Group 20">
            <a:extLst>
              <a:ext uri="{FF2B5EF4-FFF2-40B4-BE49-F238E27FC236}">
                <a16:creationId xmlns:a16="http://schemas.microsoft.com/office/drawing/2014/main" id="{9EF338EA-00C8-4400-A744-8128B1D8C107}"/>
              </a:ext>
            </a:extLst>
          </p:cNvPr>
          <p:cNvGrpSpPr/>
          <p:nvPr/>
        </p:nvGrpSpPr>
        <p:grpSpPr>
          <a:xfrm>
            <a:off x="685127" y="2644578"/>
            <a:ext cx="5734097" cy="2842898"/>
            <a:chOff x="5743177" y="2644578"/>
            <a:chExt cx="3492000" cy="2842898"/>
          </a:xfrm>
        </p:grpSpPr>
        <p:cxnSp>
          <p:nvCxnSpPr>
            <p:cNvPr id="68" name="Straight Connector 87">
              <a:extLst>
                <a:ext uri="{FF2B5EF4-FFF2-40B4-BE49-F238E27FC236}">
                  <a16:creationId xmlns:a16="http://schemas.microsoft.com/office/drawing/2014/main" id="{2681AC00-FDAD-4B58-842C-765E24117431}"/>
                </a:ext>
              </a:extLst>
            </p:cNvPr>
            <p:cNvCxnSpPr>
              <a:cxnSpLocks/>
            </p:cNvCxnSpPr>
            <p:nvPr/>
          </p:nvCxnSpPr>
          <p:spPr>
            <a:xfrm flipH="1">
              <a:off x="5743177" y="4066026"/>
              <a:ext cx="349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88">
              <a:extLst>
                <a:ext uri="{FF2B5EF4-FFF2-40B4-BE49-F238E27FC236}">
                  <a16:creationId xmlns:a16="http://schemas.microsoft.com/office/drawing/2014/main" id="{7BAD2ED1-D5F6-472C-87E9-84F15302240F}"/>
                </a:ext>
              </a:extLst>
            </p:cNvPr>
            <p:cNvCxnSpPr>
              <a:cxnSpLocks/>
            </p:cNvCxnSpPr>
            <p:nvPr/>
          </p:nvCxnSpPr>
          <p:spPr>
            <a:xfrm flipH="1" flipV="1">
              <a:off x="5743177" y="4776750"/>
              <a:ext cx="3492000" cy="2"/>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88">
              <a:extLst>
                <a:ext uri="{FF2B5EF4-FFF2-40B4-BE49-F238E27FC236}">
                  <a16:creationId xmlns:a16="http://schemas.microsoft.com/office/drawing/2014/main" id="{37CF9A4F-4EE4-4AA5-8694-6B19D83F5D23}"/>
                </a:ext>
              </a:extLst>
            </p:cNvPr>
            <p:cNvCxnSpPr>
              <a:cxnSpLocks/>
            </p:cNvCxnSpPr>
            <p:nvPr/>
          </p:nvCxnSpPr>
          <p:spPr>
            <a:xfrm flipH="1">
              <a:off x="5743177" y="5487476"/>
              <a:ext cx="349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86">
              <a:extLst>
                <a:ext uri="{FF2B5EF4-FFF2-40B4-BE49-F238E27FC236}">
                  <a16:creationId xmlns:a16="http://schemas.microsoft.com/office/drawing/2014/main" id="{577AAB5D-1ABB-4364-AD43-AD5292AD5130}"/>
                </a:ext>
              </a:extLst>
            </p:cNvPr>
            <p:cNvCxnSpPr>
              <a:cxnSpLocks/>
            </p:cNvCxnSpPr>
            <p:nvPr/>
          </p:nvCxnSpPr>
          <p:spPr>
            <a:xfrm flipH="1">
              <a:off x="5743177" y="3355302"/>
              <a:ext cx="349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84">
              <a:extLst>
                <a:ext uri="{FF2B5EF4-FFF2-40B4-BE49-F238E27FC236}">
                  <a16:creationId xmlns:a16="http://schemas.microsoft.com/office/drawing/2014/main" id="{1B5356AB-E00B-429B-999E-3539EDCF956A}"/>
                </a:ext>
              </a:extLst>
            </p:cNvPr>
            <p:cNvCxnSpPr>
              <a:cxnSpLocks/>
            </p:cNvCxnSpPr>
            <p:nvPr/>
          </p:nvCxnSpPr>
          <p:spPr>
            <a:xfrm flipH="1">
              <a:off x="5743177" y="2644578"/>
              <a:ext cx="3492000"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pic>
        <p:nvPicPr>
          <p:cNvPr id="28" name="Graphic 27" descr="Group">
            <a:extLst>
              <a:ext uri="{FF2B5EF4-FFF2-40B4-BE49-F238E27FC236}">
                <a16:creationId xmlns:a16="http://schemas.microsoft.com/office/drawing/2014/main" id="{E2699CC3-A911-4975-A153-7E1C30B0DD4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19536" y="1987361"/>
            <a:ext cx="470589" cy="474657"/>
          </a:xfrm>
          <a:prstGeom prst="rect">
            <a:avLst/>
          </a:prstGeom>
        </p:spPr>
      </p:pic>
      <p:pic>
        <p:nvPicPr>
          <p:cNvPr id="114" name="Graphic 113" descr="City">
            <a:extLst>
              <a:ext uri="{FF2B5EF4-FFF2-40B4-BE49-F238E27FC236}">
                <a16:creationId xmlns:a16="http://schemas.microsoft.com/office/drawing/2014/main" id="{6B15380A-AD25-4E07-985A-8AB69FE9F7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41618" y="3475194"/>
            <a:ext cx="425676" cy="429356"/>
          </a:xfrm>
          <a:prstGeom prst="rect">
            <a:avLst/>
          </a:prstGeom>
        </p:spPr>
      </p:pic>
      <p:pic>
        <p:nvPicPr>
          <p:cNvPr id="16" name="Graphic 15" descr="Connections">
            <a:extLst>
              <a:ext uri="{FF2B5EF4-FFF2-40B4-BE49-F238E27FC236}">
                <a16:creationId xmlns:a16="http://schemas.microsoft.com/office/drawing/2014/main" id="{3D943486-2F16-4EDD-A86C-B9C36B5BE3A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63220" y="4211089"/>
            <a:ext cx="426905" cy="430595"/>
          </a:xfrm>
          <a:prstGeom prst="rect">
            <a:avLst/>
          </a:prstGeom>
        </p:spPr>
      </p:pic>
      <p:pic>
        <p:nvPicPr>
          <p:cNvPr id="22" name="Graphic 21">
            <a:extLst>
              <a:ext uri="{FF2B5EF4-FFF2-40B4-BE49-F238E27FC236}">
                <a16:creationId xmlns:a16="http://schemas.microsoft.com/office/drawing/2014/main" id="{ADCE499B-599E-4B96-8562-619B560B475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857968" y="5016534"/>
            <a:ext cx="237407" cy="239459"/>
          </a:xfrm>
          <a:prstGeom prst="rect">
            <a:avLst/>
          </a:prstGeom>
        </p:spPr>
      </p:pic>
      <p:pic>
        <p:nvPicPr>
          <p:cNvPr id="11" name="Graphic 10">
            <a:extLst>
              <a:ext uri="{FF2B5EF4-FFF2-40B4-BE49-F238E27FC236}">
                <a16:creationId xmlns:a16="http://schemas.microsoft.com/office/drawing/2014/main" id="{02675208-9A9A-45E1-B3D8-FEA1377406D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17699" y="5622831"/>
            <a:ext cx="340939" cy="343886"/>
          </a:xfrm>
          <a:prstGeom prst="rect">
            <a:avLst/>
          </a:prstGeom>
        </p:spPr>
      </p:pic>
      <p:grpSp>
        <p:nvGrpSpPr>
          <p:cNvPr id="76" name="Group 75">
            <a:extLst>
              <a:ext uri="{FF2B5EF4-FFF2-40B4-BE49-F238E27FC236}">
                <a16:creationId xmlns:a16="http://schemas.microsoft.com/office/drawing/2014/main" id="{A8B22F7F-C2B0-4FE1-B134-2C9FD8950366}"/>
              </a:ext>
            </a:extLst>
          </p:cNvPr>
          <p:cNvGrpSpPr/>
          <p:nvPr/>
        </p:nvGrpSpPr>
        <p:grpSpPr>
          <a:xfrm>
            <a:off x="685127" y="1617434"/>
            <a:ext cx="2426410" cy="168876"/>
            <a:chOff x="8353531" y="1539107"/>
            <a:chExt cx="1104027" cy="195966"/>
          </a:xfrm>
        </p:grpSpPr>
        <p:cxnSp>
          <p:nvCxnSpPr>
            <p:cNvPr id="78" name="Straight Connector 77">
              <a:extLst>
                <a:ext uri="{FF2B5EF4-FFF2-40B4-BE49-F238E27FC236}">
                  <a16:creationId xmlns:a16="http://schemas.microsoft.com/office/drawing/2014/main" id="{DC9DB9FF-6E2C-407B-A9DC-81DB39169673}"/>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8F6D700A-5DC6-4502-9061-9B5D98FAEA39}"/>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b="1" dirty="0">
                  <a:sym typeface="Corbel" panose="020B0503020204020204" pitchFamily="34" charset="0"/>
                </a:rPr>
                <a:t>Kwalitatieve argumenten</a:t>
              </a:r>
              <a:endParaRPr kumimoji="0" lang="nl-NL" sz="1000" b="1" i="0" u="none" strike="noStrike" kern="1200" cap="none" spc="0" normalizeH="0" baseline="0" noProof="0" dirty="0">
                <a:ln>
                  <a:noFill/>
                </a:ln>
                <a:effectLst/>
                <a:uLnTx/>
                <a:uFillTx/>
                <a:sym typeface="Corbel" panose="020B0503020204020204" pitchFamily="34" charset="0"/>
              </a:endParaRPr>
            </a:p>
          </p:txBody>
        </p:sp>
      </p:grpSp>
      <p:grpSp>
        <p:nvGrpSpPr>
          <p:cNvPr id="82" name="Group 81">
            <a:extLst>
              <a:ext uri="{FF2B5EF4-FFF2-40B4-BE49-F238E27FC236}">
                <a16:creationId xmlns:a16="http://schemas.microsoft.com/office/drawing/2014/main" id="{BE84C3D9-E59A-4F4B-A163-666F2045492D}"/>
              </a:ext>
            </a:extLst>
          </p:cNvPr>
          <p:cNvGrpSpPr/>
          <p:nvPr/>
        </p:nvGrpSpPr>
        <p:grpSpPr>
          <a:xfrm>
            <a:off x="3218018" y="1617434"/>
            <a:ext cx="3207497" cy="168876"/>
            <a:chOff x="8353531" y="1539107"/>
            <a:chExt cx="1104027" cy="195966"/>
          </a:xfrm>
        </p:grpSpPr>
        <p:cxnSp>
          <p:nvCxnSpPr>
            <p:cNvPr id="85" name="Straight Connector 84">
              <a:extLst>
                <a:ext uri="{FF2B5EF4-FFF2-40B4-BE49-F238E27FC236}">
                  <a16:creationId xmlns:a16="http://schemas.microsoft.com/office/drawing/2014/main" id="{8B9A2103-F793-4654-A523-5C058DE8E2F0}"/>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CADD2CF6-9E56-4B61-8544-F26301F718DB}"/>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marL="0" indent="0">
                <a:buClr>
                  <a:schemeClr val="tx2"/>
                </a:buClr>
                <a:buNone/>
              </a:pPr>
              <a:r>
                <a:rPr lang="nl-NL" sz="1000" b="1" dirty="0">
                  <a:sym typeface="Corbel" panose="020B0503020204020204" pitchFamily="34" charset="0"/>
                </a:rPr>
                <a:t>Monetarisatie </a:t>
              </a:r>
              <a:r>
                <a:rPr lang="nl-NL" sz="1000" i="1" dirty="0">
                  <a:sym typeface="Corbel" panose="020B0503020204020204" pitchFamily="34" charset="0"/>
                </a:rPr>
                <a:t>(niet uitputtende voorbeelden)</a:t>
              </a:r>
              <a:endParaRPr kumimoji="0" lang="nl-NL" sz="1000" i="1" u="none" strike="noStrike" kern="1200" cap="none" spc="0" normalizeH="0" baseline="0" noProof="0" dirty="0">
                <a:ln>
                  <a:noFill/>
                </a:ln>
                <a:effectLst/>
                <a:uLnTx/>
                <a:uFillTx/>
                <a:sym typeface="Corbel" panose="020B0503020204020204" pitchFamily="34" charset="0"/>
              </a:endParaRPr>
            </a:p>
          </p:txBody>
        </p:sp>
      </p:grpSp>
      <p:grpSp>
        <p:nvGrpSpPr>
          <p:cNvPr id="94" name="Group 93">
            <a:extLst>
              <a:ext uri="{FF2B5EF4-FFF2-40B4-BE49-F238E27FC236}">
                <a16:creationId xmlns:a16="http://schemas.microsoft.com/office/drawing/2014/main" id="{33DE7409-E7CC-4704-B8E3-5694300617CE}"/>
              </a:ext>
            </a:extLst>
          </p:cNvPr>
          <p:cNvGrpSpPr/>
          <p:nvPr/>
        </p:nvGrpSpPr>
        <p:grpSpPr>
          <a:xfrm>
            <a:off x="6761472" y="1617434"/>
            <a:ext cx="4771715" cy="168876"/>
            <a:chOff x="8353531" y="1539107"/>
            <a:chExt cx="1104027" cy="195966"/>
          </a:xfrm>
        </p:grpSpPr>
        <p:cxnSp>
          <p:nvCxnSpPr>
            <p:cNvPr id="95" name="Straight Connector 94">
              <a:extLst>
                <a:ext uri="{FF2B5EF4-FFF2-40B4-BE49-F238E27FC236}">
                  <a16:creationId xmlns:a16="http://schemas.microsoft.com/office/drawing/2014/main" id="{F0160DE9-E2C5-4C3D-99D5-39B3727CD521}"/>
                </a:ext>
              </a:extLst>
            </p:cNvPr>
            <p:cNvCxnSpPr/>
            <p:nvPr/>
          </p:nvCxnSpPr>
          <p:spPr>
            <a:xfrm>
              <a:off x="8353531" y="1735073"/>
              <a:ext cx="1104027"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2E4F9966-8DB0-47AA-9BC9-E5F01E26C9F2}"/>
                </a:ext>
              </a:extLst>
            </p:cNvPr>
            <p:cNvSpPr/>
            <p:nvPr/>
          </p:nvSpPr>
          <p:spPr>
            <a:xfrm>
              <a:off x="8353531" y="1539107"/>
              <a:ext cx="1104027" cy="193504"/>
            </a:xfrm>
            <a:prstGeom prst="rect">
              <a:avLst/>
            </a:prstGeom>
            <a:noFill/>
            <a:ln w="9525">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7F7F7F"/>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Clr>
                  <a:schemeClr val="tx2"/>
                </a:buClr>
                <a:buNone/>
              </a:pPr>
              <a:r>
                <a:rPr lang="nl-NL" sz="1000" b="1" dirty="0">
                  <a:sym typeface="Corbel" panose="020B0503020204020204" pitchFamily="34" charset="0"/>
                </a:rPr>
                <a:t>Visualisatie </a:t>
              </a:r>
              <a:endParaRPr kumimoji="0" lang="nl-NL" sz="1000" b="1" i="0" u="none" strike="noStrike" kern="1200" cap="none" spc="0" normalizeH="0" baseline="0" noProof="0" dirty="0">
                <a:ln>
                  <a:noFill/>
                </a:ln>
                <a:effectLst/>
                <a:uLnTx/>
                <a:uFillTx/>
                <a:sym typeface="Corbel" panose="020B0503020204020204" pitchFamily="34" charset="0"/>
              </a:endParaRPr>
            </a:p>
          </p:txBody>
        </p:sp>
      </p:grpSp>
      <p:sp>
        <p:nvSpPr>
          <p:cNvPr id="101" name="RBContent28">
            <a:extLst>
              <a:ext uri="{FF2B5EF4-FFF2-40B4-BE49-F238E27FC236}">
                <a16:creationId xmlns:a16="http://schemas.microsoft.com/office/drawing/2014/main" id="{0A39A9F4-B190-4760-A5B1-D9074CC0DF7A}"/>
              </a:ext>
            </a:extLst>
          </p:cNvPr>
          <p:cNvSpPr txBox="1">
            <a:spLocks/>
          </p:cNvSpPr>
          <p:nvPr/>
        </p:nvSpPr>
        <p:spPr>
          <a:xfrm>
            <a:off x="3220694" y="2219966"/>
            <a:ext cx="3198530" cy="138499"/>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Vermeden investeringen in </a:t>
            </a:r>
            <a:r>
              <a:rPr lang="nl-NL" dirty="0" err="1"/>
              <a:t>Schipholplaza</a:t>
            </a:r>
            <a:r>
              <a:rPr lang="nl-NL" dirty="0"/>
              <a:t> (€ totaal)</a:t>
            </a:r>
          </a:p>
        </p:txBody>
      </p:sp>
      <p:sp>
        <p:nvSpPr>
          <p:cNvPr id="104" name="RBContent28">
            <a:extLst>
              <a:ext uri="{FF2B5EF4-FFF2-40B4-BE49-F238E27FC236}">
                <a16:creationId xmlns:a16="http://schemas.microsoft.com/office/drawing/2014/main" id="{FB9CFECD-AE85-44E9-B8C5-868C3DC290C0}"/>
              </a:ext>
            </a:extLst>
          </p:cNvPr>
          <p:cNvSpPr txBox="1">
            <a:spLocks/>
          </p:cNvSpPr>
          <p:nvPr/>
        </p:nvSpPr>
        <p:spPr>
          <a:xfrm>
            <a:off x="3220693" y="4993614"/>
            <a:ext cx="3198532" cy="276999"/>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Vermeden investeringen spooruitbreiding (€ totaal) Reistijdwinst (€/uur)</a:t>
            </a:r>
          </a:p>
        </p:txBody>
      </p:sp>
      <p:sp>
        <p:nvSpPr>
          <p:cNvPr id="105" name="RBContent28">
            <a:extLst>
              <a:ext uri="{FF2B5EF4-FFF2-40B4-BE49-F238E27FC236}">
                <a16:creationId xmlns:a16="http://schemas.microsoft.com/office/drawing/2014/main" id="{7C2D3D0D-548E-44C7-A271-FB021797EE5D}"/>
              </a:ext>
            </a:extLst>
          </p:cNvPr>
          <p:cNvSpPr txBox="1">
            <a:spLocks/>
          </p:cNvSpPr>
          <p:nvPr/>
        </p:nvSpPr>
        <p:spPr>
          <a:xfrm>
            <a:off x="3220692" y="3464443"/>
            <a:ext cx="3198531" cy="492443"/>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Extra banen (€/arbeidsplaats)</a:t>
            </a:r>
          </a:p>
          <a:p>
            <a:r>
              <a:rPr lang="nl-NL" dirty="0"/>
              <a:t>Grondexploitatie (€ winst)</a:t>
            </a:r>
          </a:p>
          <a:p>
            <a:r>
              <a:rPr lang="nl-NL" dirty="0"/>
              <a:t>Waardeverhoging bestaand vastgoed (€ totaal) </a:t>
            </a:r>
          </a:p>
        </p:txBody>
      </p:sp>
      <p:sp>
        <p:nvSpPr>
          <p:cNvPr id="107" name="RBContent28">
            <a:extLst>
              <a:ext uri="{FF2B5EF4-FFF2-40B4-BE49-F238E27FC236}">
                <a16:creationId xmlns:a16="http://schemas.microsoft.com/office/drawing/2014/main" id="{12188789-DA02-4233-8F99-CCC27CC6A91D}"/>
              </a:ext>
            </a:extLst>
          </p:cNvPr>
          <p:cNvSpPr txBox="1">
            <a:spLocks/>
          </p:cNvSpPr>
          <p:nvPr/>
        </p:nvSpPr>
        <p:spPr>
          <a:xfrm>
            <a:off x="3220693" y="2930689"/>
            <a:ext cx="3198530" cy="138499"/>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Vermeden investeringen in Schipholtunnel (€ totaal)</a:t>
            </a:r>
          </a:p>
        </p:txBody>
      </p:sp>
      <p:sp>
        <p:nvSpPr>
          <p:cNvPr id="108" name="RBContent28">
            <a:extLst>
              <a:ext uri="{FF2B5EF4-FFF2-40B4-BE49-F238E27FC236}">
                <a16:creationId xmlns:a16="http://schemas.microsoft.com/office/drawing/2014/main" id="{3B3134C3-53D7-4D2B-9B82-AD2D84A7B7D3}"/>
              </a:ext>
            </a:extLst>
          </p:cNvPr>
          <p:cNvSpPr txBox="1">
            <a:spLocks/>
          </p:cNvSpPr>
          <p:nvPr/>
        </p:nvSpPr>
        <p:spPr>
          <a:xfrm>
            <a:off x="3249041" y="4175166"/>
            <a:ext cx="3170182" cy="492443"/>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Extra banen</a:t>
            </a:r>
          </a:p>
          <a:p>
            <a:r>
              <a:rPr lang="nl-NL" dirty="0"/>
              <a:t>Grondexploitatie (€ winst)</a:t>
            </a:r>
          </a:p>
          <a:p>
            <a:r>
              <a:rPr lang="nl-NL" dirty="0"/>
              <a:t>Waardeverhoging bestaand vastgoed </a:t>
            </a:r>
          </a:p>
        </p:txBody>
      </p:sp>
      <p:sp>
        <p:nvSpPr>
          <p:cNvPr id="109" name="RBContent28">
            <a:extLst>
              <a:ext uri="{FF2B5EF4-FFF2-40B4-BE49-F238E27FC236}">
                <a16:creationId xmlns:a16="http://schemas.microsoft.com/office/drawing/2014/main" id="{5819DEAA-A678-4DF5-B4D1-717120FB4C83}"/>
              </a:ext>
            </a:extLst>
          </p:cNvPr>
          <p:cNvSpPr txBox="1">
            <a:spLocks/>
          </p:cNvSpPr>
          <p:nvPr/>
        </p:nvSpPr>
        <p:spPr>
          <a:xfrm>
            <a:off x="3220692" y="5560851"/>
            <a:ext cx="3198531" cy="669414"/>
          </a:xfrm>
          <a:prstGeom prst="rect">
            <a:avLst/>
          </a:prstGeom>
          <a:noFill/>
        </p:spPr>
        <p:txBody>
          <a:bodyPr vert="horz" wrap="square" lIns="0" tIns="0" rIns="0" bIns="0" rtlCol="0" anchor="ctr">
            <a:spAutoFit/>
          </a:bodyPr>
          <a:lstStyle>
            <a:defPPr>
              <a:defRPr lang="nl-NL"/>
            </a:defPPr>
            <a:lvl1pPr defTabSz="1179015">
              <a:spcBef>
                <a:spcPts val="300"/>
              </a:spcBef>
              <a:buClr>
                <a:schemeClr val="tx2"/>
              </a:buClr>
              <a:buSzPct val="100000"/>
              <a:defRPr sz="1000">
                <a:latin typeface="+mn-lt"/>
              </a:defRPr>
            </a:lvl1pPr>
          </a:lstStyle>
          <a:p>
            <a:r>
              <a:rPr lang="nl-NL" dirty="0"/>
              <a:t>Vermindering uitstoot CO2 (€/ton)</a:t>
            </a:r>
          </a:p>
          <a:p>
            <a:r>
              <a:rPr lang="nl-NL" dirty="0"/>
              <a:t>Verbetering luchtkwaliteit (€/kg of ton </a:t>
            </a:r>
            <a:r>
              <a:rPr lang="nl-NL" dirty="0" err="1"/>
              <a:t>afh</a:t>
            </a:r>
            <a:r>
              <a:rPr lang="nl-NL" dirty="0"/>
              <a:t>. van type)</a:t>
            </a:r>
          </a:p>
          <a:p>
            <a:r>
              <a:rPr lang="nl-NL" dirty="0" err="1"/>
              <a:t>Vermind</a:t>
            </a:r>
            <a:r>
              <a:rPr lang="nl-NL" dirty="0"/>
              <a:t>. geluidsoverlast (€/vermindering </a:t>
            </a:r>
            <a:r>
              <a:rPr lang="nl-NL" dirty="0" err="1"/>
              <a:t>db</a:t>
            </a:r>
            <a:r>
              <a:rPr lang="nl-NL" dirty="0"/>
              <a:t> categorie)</a:t>
            </a:r>
          </a:p>
          <a:p>
            <a:r>
              <a:rPr lang="nl-NL" dirty="0"/>
              <a:t>Verbeteren verkeersveiligheid (€/vermeden voertuig km)</a:t>
            </a:r>
          </a:p>
        </p:txBody>
      </p:sp>
    </p:spTree>
    <p:extLst>
      <p:ext uri="{BB962C8B-B14F-4D97-AF65-F5344CB8AC3E}">
        <p14:creationId xmlns:p14="http://schemas.microsoft.com/office/powerpoint/2010/main" val="18612838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2.36609999999999986997E+00&quot;&gt;&lt;m_msothmcolidx val=&quot;0&quot;/&gt;&lt;m_rgb r=&quot;BF&quot; g=&quot;21&quot; b=&quot;1E&quot;/&gt;&lt;/elem&gt;&lt;elem m_fUsage=&quot;1.72900000000000009237E+00&quot;&gt;&lt;m_msothmcolidx val=&quot;0&quot;/&gt;&lt;m_rgb r=&quot;17&quot; g=&quot;72&quot; b=&quot;2B&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96Bvgfo8Y162PTw2WnJe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tk8HZPI71V79eTQJDGnnK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LT36e8OIk9kgyZPhPSJ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7MqmEesHL17wKSAbTpe_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J_ZdmhznIKGHQ0sJJWJ2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g_4OFTBVIrxQwGdBAVrEu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1UNv7HCw1hsdBVmvsQ_Q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GK6N69HmN4FYuYbfxZsK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fRJg6hRxkcCg1Gfd_68ka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FMlWwfQ7IKw6p5elZ34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CgRAfrKlgvoZJ.NZv8RGE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7UEaEHaRbN2JH_nVNMoxR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340pn2fsE5fOkMDajU7i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4GRTr2xAgnQg2Zh37Nvqk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e7E4RNbnXVXvflsafkRj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JjM7nAIgXwGK_EfLk9z0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RUZ8He8VR0RGQvE.bzSG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WuatchefylhNHQ3W5UC2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GOEntNZ_Ne8WzOdft.m2e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j06cBZCIqix9hXZbT4F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JGZHXmb7hJTJUKeEdkCx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dGsEIxMnOUwwz5FavD9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f9cifvaZh3SD_W9DryJO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Gw5HjfJQ_GhEt2sDAiFm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geVuRTb_u05BXF3rbhbY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OtwWCi5XQ2HDi4ltCnLD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OtwWCi5XQ2HDi4ltCnL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kv9B6CbXVv3VExJIV1mqe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SChMCWjijGUGX4SBCRh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1q3tJGzjacadTUmeWJvfM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Fc0XtMOGC9ArlFu50b.q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tyjnqaayrbsI7Rgn0BSl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DkimRrJQZQ23yQuQjOqzW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_cm81CxYM8xgIKrn9jBnL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nYiifFfxL8WAn.UlznQwg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JJyBPs4svY.mdnKIOiN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B1LKrgOwC4NaSeS2Bep_d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unpwgJzIufODuIW6EobsO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BsxhdDb9JFmntyRhxpJO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CddGKBvV4S0s4.0EnJb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5j2q6lv1Yb6j2IvtsTlvZ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jaE5TwGwKdoW8Rw5_c96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3c0IL.YgjtfofsTm5iF5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9_J_drAXGORaNDoJyPk4A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4U6.sUwImlavbdG5syi_c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xVC6UGnq76uPdV1FdpRw9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nOJRsC3Rea8fEE0p0AGHg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7uFpo_JfGNINmANJ_.k6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uJJcvq0S1cx7xTbY_4hb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iJ4OU2EfuGvVGlsBLylN6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Vs.LPFS7p4JEOpuVprw6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MTRjYWHr7OAQEqSLWTXk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W1ROr_48bWdY.wmS8MtG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onYAnFH5qa5GyUN7LHJv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vX4h3Oeu06.ScLsK.yLtH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eiIlXT9JrzULbF2ONjSc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7aCsc4qeb_6.sjlPxTOv8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i_cNJs4Jjxm8CWGJMW9b.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xlL78f41tgvbEzQTbo7hj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aSVw.A5DLDl9nKF5vl2c4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3tpakudA7ybSddx9IYaF7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fsgFCr3Jj40rNL2MXOi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LdewSe6sipD4_fpzxKiQ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XV_dsJqZH93tDwrUiCfkc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vjti_ZYugjbytswJDh4V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DunV.t2jxFz_7wqDCslH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NtTdYjFq.jZy4UDcpWtNW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ZyONmxNGlV.Wz0UXmSAl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DBJiED1WLtrQMkZPJ40g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Xfcbo41kuHbaDET0O29VG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0Iy1Fqw2SacJf9gt2J8I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L3jn2E.5JPfbQ3.8w3S.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ANT.0.KMId0ehN0nkNLOx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aL3jn2E.5JPfbQ3.8w3S.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NT.0.KMId0ehN0nkNLOx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6KnrQ07LHhsBce7vdlSKT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0OOGJnrSTV6gautsDeWGs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oOgV4oneM2xMGpvRqpmF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ml0WneA9Jwb978xnODUeX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p8ZVSCIM40NCKzBb6OMKB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eD6JGaJBZ0Gy.yWbpsek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Au_S45QotIqK2cgFUajnv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xLVqys.0iuq94.cATlwh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N_qr9ZmxAq6GES7UYI6b5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ZURA6_gZAPugx60ogDkRg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Eu_aLXHl79lMjK20PQ3bC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FMUlP26Affd2Og1X0_Lrn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I7G._PjmCXEwn7Q_BPka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UgJkf8jt.le0F0blXW38z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ZFns3qavfFt0yNYL1gEwh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uyLUawc.gfsHElXa2SpA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5DKlIGfZnBtOKbnueIaeF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qdK_ngivHLasmoGzOwyx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G05Uc1QW3r4ZoRshEcdaC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aWyfVyarwIObWAoVp8aj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tb0Pf9jGuAynjs_tFn3s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6PyOOYW3o3PKhmytDvSp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UhBCO_IOwjhVUu5v4fabi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xGWNUMCxz_Yt3WbdbwuNE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QVVLHojuWO.GT82YI8SOL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66momByNq5UhVhfDyOLZy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JruSstfv.yyF2cd82OKn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_K.7tQVHclQfJ5PXTiOM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ggTpWk8dywluN8Fz0Ya9Q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zTfsMgyghw6cbpgFJ_3P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th71lXF61Y9skWRMrodR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BgS.o8n7oXnJt86zwuhbv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dUn4QCPnr4wmQgAx2IHSN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ZY0Ss7jfToOjJE16diNHJ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1gJufMXFK9m4DbJKrB9_J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WSoaG1S0F9MzdgQCmsaQ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7toD8reYPOuiuKvBwJtZ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OVFkiNpx6Bvv35ZkBHAU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pi.d3BNTfJVgzMZ9.ZBd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G5UXPGomVqJWmIQkWHKBR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33pdG9tuWXWRymqvcJyVy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itRg7bnMsNmO.VqQEofw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0XQP_N8jBSBndBSeEvmP2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6HuKlrzvds5xEzksE32zs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QZ4upvStgN0giTnE5a1w0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z669Bq4KD.2fDen2pgda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IFSbbmzSI3jRKgva7tHoq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NbRV9hQC10E2upLbW4Dk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48fymJzEqOIQV9yYVhgLN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J7ykmzBpmjbZ8ZgOQXxVJ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cDtyFW4sIcWBVHYlI5cn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q5SHRI1UR40hrgLobsm84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nEAns_KnAr0Aim5mHSZI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Sm4hw67lzj8Jz.gVGgb6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1gDtlc0J6T8imhseE5qx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H3VEeGDtT6b_3p0EeU_I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jzgaqUeZ7giTkjNB4i9.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dNNmX3BclaQ1.hkVGZU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WsktfvedBKKmsLc5dBgyz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qTRamPhCpykoiALDejnyO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oF85vJ1XNfe9xkgmvP91r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vvo.P9Uf2w9ElQybed0o2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n6eLDfeQw2UqeRXWBTEB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gfEEOZluUM0eReJCCCPr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xiESF0pTK078Wn5cA_kM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fl336gC00zh8NuYnSkN9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ybkcZVZ2pxZdF3hEV_dz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UBhmzSumC19S6mei0C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0eXYW12EJja3crosDi7CK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Nsvd_qZR1G01n.GcDQTg4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SX5Mfc6rOVh92QzCjskbz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RP92vQ2baAASp5uq3xKc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yszCXkfxz0v13FtNPrkxt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5SpHR1AJdtqqvZdNZ9Iyy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EXx.W4_2weDSxV9xqyVt9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tNveaZlDxBwbGtjPAI3mx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fJ36i_JbRyp8W.F2bhwMmQ"/>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vr09ck_yJx36faw4zLoiD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QuUXPJiFNcUaFW0MmSIan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ZAONSHGV_2KsyiNbj5qv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5wYHETXedKQ3NjGJCZFuz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7RBMRZINaDtmV_vOuMpn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qQetjX.YNRjOPf73IqYGY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aLYY20_AR1pgjTKX7af71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DnA_FPYDqKNrk_FQ_ZKy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TIBfyPfR4NmRTT.JQNde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Qi0msjvpuD7GOpW8LF_1D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WFp9FA0CzJPpTrw7Kenfc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xNLj9UY01gRyMfJpEUwmx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E8p7gpREtk_Asiiqp4Gqi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EsdWKAX9sR2KCgmu59szc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H.eD897zrXIB.xaU31mra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dlMiuc11M8aJ08cm_kc4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XXIGUiDtuQ173Dr1P2xQ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pUhgp2f3Hu2v4sii6MPb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gRxE14j12K1dDMx8oTy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zF7cN_sX6D6NaSnUEkNM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Q0e_A85KDJJJwphyMS082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FdUVBqdvcPgj4VsTGeWwc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zFAls1zoiJfoM7VCDQUzF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aW7Cib0HKGy4ZAi2KLeN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zRRUjSuMBv84NcN77cNO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UVgEzQenWWBO30edOauhi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H_WNQF38gxXXRPJXZJk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68O2RJ0pUUlDKp4.vEc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jwfdH8.P2_ZyJT9flzg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ETdFh1ZK76Wd07ev0nH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3NllfsHCj8JpGZ7ZXcQZ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JhlUNLTweVNsrOdwjVqZ8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xRP2HY.i5Ll43J_0Bb4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0B589bnqnFEPnlxl0KbC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7avFINy8rmT42WwitrN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OJ9YuuOIeOm2TVNRMseH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P8eqaB20K0bS0WWmCZue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A2QDS0Gf2WU6Zi8LatA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ECEgo4Dh_AyXniBpQT1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rq7q2_dXkNUHP28bClFf_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3ndt9FGKz9Ub9rQTCP.D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2Fgkt0SO6UVI1FfLKvP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iNQe2tcASKhrU.SV09B7f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Vl_HcDdNn7dQbXmoWo6u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apDf4x7eo1yotu0V8ge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lyyvpy6qmKJJqlhI5B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kXdSlEoNe1FyOdOxL89N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DJjJlF2PP5mnO2VE_Jf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T2pq2Z64io_YFSn1nPQI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CX6C2gXe0A1F8iDPJ.ymM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wz15hd66xpewcof03Gf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I4S2_ql0xP7ZL9Gr6GixE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T74ekIvY8IeZxnMRznxb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2LqW82LJ9jutkIqeUIP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c_1drDX.FJSHBOuQe4g.VA"/>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3182</Words>
  <Application>Microsoft Office PowerPoint</Application>
  <PresentationFormat>Widescreen</PresentationFormat>
  <Paragraphs>805</Paragraphs>
  <Slides>15</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Wingdings</vt:lpstr>
      <vt:lpstr>Franklin Gothic Book</vt:lpstr>
      <vt:lpstr>Corbel</vt:lpstr>
      <vt:lpstr>Arial</vt:lpstr>
      <vt:lpstr>itspublic 20200925</vt:lpstr>
      <vt:lpstr>think-cell Slide</vt:lpstr>
      <vt:lpstr>PowerPoint Presentation</vt:lpstr>
      <vt:lpstr>Een publieke business case </vt:lpstr>
      <vt:lpstr>Uitkomst van een business case is de netto contante waarde; deze geeft in één getal de waarde weer van de toekomstige geldstromen</vt:lpstr>
      <vt:lpstr>In een business case ontwikkel je scenario’s op basis van voorliggende keuzes</vt:lpstr>
      <vt:lpstr>Financiële en publieke business case, en maatschappelijke kosten- en baten analyse (MKBA) omvatten verschillende typen kosten en baten</vt:lpstr>
      <vt:lpstr>Voorbeeldcasus – Metro-uitbreiding: doortrekken Noord/Zuidlijn en sluiten Ringlijn metro Amsterdam</vt:lpstr>
      <vt:lpstr>Casus metro-uitbreiding – Directe baten zijn reizigersopbrengsten, directe kosten aanleg van de infrastructuur en operationele kosten</vt:lpstr>
      <vt:lpstr>Casus metro-uitbreiding – Indirecte financiële kosten zijn verminderde opbrengsten van andere OV-aanbieders</vt:lpstr>
      <vt:lpstr>Casus metro-uitbreiding – Grote verscheidenheid aan maatschappelijke baten waar mogelijk te monetariseren</vt:lpstr>
      <vt:lpstr>Publieke business case is toepasbaar op alle domeinen </vt:lpstr>
      <vt:lpstr>Voorbeeld – Gemeente stelt business case op voor een regiecentrale in het doelgroepenvervoer om de verbeteringen te evalueren</vt:lpstr>
      <vt:lpstr>Besluitvorming wordt ondersteund door evalueren saldo van verschillende scenario’s volgend uit de BuCa </vt:lpstr>
      <vt:lpstr>Ter ondersteuning hiervan kunnen verschillen tussen scenario’s nader worden uitgelegd</vt:lpstr>
      <vt:lpstr>Een goede business case bevat altijd een gevoeligheidsanalyse om de afhankelijkheid van de belangrijkste inputs te evalueren</vt:lpstr>
      <vt:lpstr>PowerPoint Presentation</vt:lpstr>
    </vt:vector>
  </TitlesOfParts>
  <Company>Gemeente Amsterda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a Nivard</dc:creator>
  <dc:description>Sjabloonversie 1.1b - 9 juli 2014_x000d_
Sjablonen: www.joulesunlimited.nl</dc:description>
  <cp:lastModifiedBy>Jan Willem Moesker</cp:lastModifiedBy>
  <cp:revision>599</cp:revision>
  <cp:lastPrinted>2021-03-16T12:17:21Z</cp:lastPrinted>
  <dcterms:created xsi:type="dcterms:W3CDTF">2021-02-16T14:48:45Z</dcterms:created>
  <dcterms:modified xsi:type="dcterms:W3CDTF">2021-03-30T07:58:50Z</dcterms:modified>
</cp:coreProperties>
</file>